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80" r:id="rId1"/>
  </p:sldMasterIdLst>
  <p:notesMasterIdLst>
    <p:notesMasterId r:id="rId20"/>
  </p:notesMasterIdLst>
  <p:sldIdLst>
    <p:sldId id="475" r:id="rId2"/>
    <p:sldId id="476" r:id="rId3"/>
    <p:sldId id="491" r:id="rId4"/>
    <p:sldId id="490" r:id="rId5"/>
    <p:sldId id="335" r:id="rId6"/>
    <p:sldId id="407" r:id="rId7"/>
    <p:sldId id="457" r:id="rId8"/>
    <p:sldId id="489" r:id="rId9"/>
    <p:sldId id="478" r:id="rId10"/>
    <p:sldId id="479" r:id="rId11"/>
    <p:sldId id="480" r:id="rId12"/>
    <p:sldId id="481" r:id="rId13"/>
    <p:sldId id="482" r:id="rId14"/>
    <p:sldId id="492" r:id="rId15"/>
    <p:sldId id="484" r:id="rId16"/>
    <p:sldId id="485" r:id="rId17"/>
    <p:sldId id="486" r:id="rId18"/>
    <p:sldId id="487" r:id="rId19"/>
  </p:sldIdLst>
  <p:sldSz cx="12192000" cy="6858000"/>
  <p:notesSz cx="6797675" cy="9926638"/>
  <p:custDataLst>
    <p:tags r:id="rId2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4C2EB17-D588-41C0-8F00-4B6916FC57BE}">
          <p14:sldIdLst>
            <p14:sldId id="475"/>
            <p14:sldId id="476"/>
            <p14:sldId id="491"/>
            <p14:sldId id="490"/>
            <p14:sldId id="335"/>
            <p14:sldId id="407"/>
            <p14:sldId id="457"/>
            <p14:sldId id="489"/>
            <p14:sldId id="478"/>
            <p14:sldId id="479"/>
            <p14:sldId id="480"/>
            <p14:sldId id="481"/>
            <p14:sldId id="482"/>
            <p14:sldId id="492"/>
            <p14:sldId id="484"/>
            <p14:sldId id="485"/>
            <p14:sldId id="486"/>
            <p14:sldId id="48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18" userDrawn="1">
          <p15:clr>
            <a:srgbClr val="A4A3A4"/>
          </p15:clr>
        </p15:guide>
        <p15:guide id="2" pos="234" userDrawn="1">
          <p15:clr>
            <a:srgbClr val="A4A3A4"/>
          </p15:clr>
        </p15:guide>
        <p15:guide id="3" pos="740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ева Татьяна Александровна" initials="АТА" lastIdx="4" clrIdx="0">
    <p:extLst>
      <p:ext uri="{19B8F6BF-5375-455C-9EA6-DF929625EA0E}">
        <p15:presenceInfo xmlns:p15="http://schemas.microsoft.com/office/powerpoint/2012/main" userId="S-1-5-21-2509222527-3473664192-1900209780-71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83ED"/>
    <a:srgbClr val="9165E8"/>
    <a:srgbClr val="191919"/>
    <a:srgbClr val="FFD633"/>
    <a:srgbClr val="84E0F7"/>
    <a:srgbClr val="FFCF4D"/>
    <a:srgbClr val="8670F2"/>
    <a:srgbClr val="866FF2"/>
    <a:srgbClr val="FF6464"/>
    <a:srgbClr val="E5D8D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828" autoAdjust="0"/>
    <p:restoredTop sz="96405"/>
  </p:normalViewPr>
  <p:slideViewPr>
    <p:cSldViewPr snapToGrid="0">
      <p:cViewPr>
        <p:scale>
          <a:sx n="75" d="100"/>
          <a:sy n="75" d="100"/>
        </p:scale>
        <p:origin x="1214" y="365"/>
      </p:cViewPr>
      <p:guideLst>
        <p:guide orient="horz" pos="618"/>
        <p:guide pos="234"/>
        <p:guide pos="740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3F9436-A9B8-4B98-BD44-CDF915E50313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DEDC38-8EB6-419F-924F-2F29B00D95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568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07836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25325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24658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45762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46230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DEDC38-8EB6-419F-924F-2F29B00D9580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99304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DEDC38-8EB6-419F-924F-2F29B00D9580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86128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5173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3059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5209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8067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6948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859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2973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6572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08391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7824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7701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BDA1A0-FDD0-4C35-BA76-FD41A7A10CAC}" type="datetimeFigureOut">
              <a:rPr lang="ru-RU" smtClean="0"/>
              <a:t>24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38551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64" name="Слайд think-cell" r:id="rId15" imgW="347" imgH="348" progId="TCLayout.ActiveDocument.1">
                  <p:embed/>
                </p:oleObj>
              </mc:Choice>
              <mc:Fallback>
                <p:oleObj name="Слайд think-cell" r:id="rId15" imgW="347" imgH="348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7056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6.png"/><Relationship Id="rId18" Type="http://schemas.openxmlformats.org/officeDocument/2006/relationships/image" Target="../media/image10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12" Type="http://schemas.openxmlformats.org/officeDocument/2006/relationships/image" Target="../media/image55.png"/><Relationship Id="rId17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59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11" Type="http://schemas.openxmlformats.org/officeDocument/2006/relationships/image" Target="../media/image39.png"/><Relationship Id="rId5" Type="http://schemas.openxmlformats.org/officeDocument/2006/relationships/image" Target="../media/image49.png"/><Relationship Id="rId15" Type="http://schemas.openxmlformats.org/officeDocument/2006/relationships/image" Target="../media/image58.png"/><Relationship Id="rId10" Type="http://schemas.openxmlformats.org/officeDocument/2006/relationships/image" Target="../media/image54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Relationship Id="rId14" Type="http://schemas.openxmlformats.org/officeDocument/2006/relationships/image" Target="../media/image5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png"/><Relationship Id="rId18" Type="http://schemas.openxmlformats.org/officeDocument/2006/relationships/image" Target="../media/image71.jpeg"/><Relationship Id="rId26" Type="http://schemas.openxmlformats.org/officeDocument/2006/relationships/image" Target="../media/image9.png"/><Relationship Id="rId3" Type="http://schemas.openxmlformats.org/officeDocument/2006/relationships/image" Target="../media/image60.png"/><Relationship Id="rId21" Type="http://schemas.openxmlformats.org/officeDocument/2006/relationships/image" Target="../media/image74.png"/><Relationship Id="rId7" Type="http://schemas.openxmlformats.org/officeDocument/2006/relationships/image" Target="NULL"/><Relationship Id="rId12" Type="http://schemas.openxmlformats.org/officeDocument/2006/relationships/image" Target="../media/image65.png"/><Relationship Id="rId17" Type="http://schemas.openxmlformats.org/officeDocument/2006/relationships/image" Target="../media/image70.png"/><Relationship Id="rId25" Type="http://schemas.openxmlformats.org/officeDocument/2006/relationships/image" Target="../media/image59.gif"/><Relationship Id="rId2" Type="http://schemas.openxmlformats.org/officeDocument/2006/relationships/image" Target="../media/image32.png"/><Relationship Id="rId16" Type="http://schemas.openxmlformats.org/officeDocument/2006/relationships/image" Target="../media/image69.png"/><Relationship Id="rId20" Type="http://schemas.openxmlformats.org/officeDocument/2006/relationships/image" Target="../media/image73.jpeg"/><Relationship Id="rId1" Type="http://schemas.openxmlformats.org/officeDocument/2006/relationships/slideLayout" Target="../slideLayouts/slideLayout2.xml"/><Relationship Id="rId11" Type="http://schemas.openxmlformats.org/officeDocument/2006/relationships/image" Target="../media/image64.png"/><Relationship Id="rId24" Type="http://schemas.openxmlformats.org/officeDocument/2006/relationships/image" Target="../media/image77.png"/><Relationship Id="rId15" Type="http://schemas.openxmlformats.org/officeDocument/2006/relationships/image" Target="../media/image68.jpeg"/><Relationship Id="rId23" Type="http://schemas.openxmlformats.org/officeDocument/2006/relationships/image" Target="../media/image76.png"/><Relationship Id="rId10" Type="http://schemas.openxmlformats.org/officeDocument/2006/relationships/image" Target="../media/image63.png"/><Relationship Id="rId19" Type="http://schemas.openxmlformats.org/officeDocument/2006/relationships/image" Target="../media/image72.png"/><Relationship Id="rId9" Type="http://schemas.openxmlformats.org/officeDocument/2006/relationships/image" Target="../media/image62.png"/><Relationship Id="rId14" Type="http://schemas.openxmlformats.org/officeDocument/2006/relationships/image" Target="../media/image67.jpeg"/><Relationship Id="rId22" Type="http://schemas.openxmlformats.org/officeDocument/2006/relationships/image" Target="../media/image75.png"/><Relationship Id="rId27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87.gif"/><Relationship Id="rId3" Type="http://schemas.openxmlformats.org/officeDocument/2006/relationships/image" Target="../media/image79.png"/><Relationship Id="rId7" Type="http://schemas.openxmlformats.org/officeDocument/2006/relationships/image" Target="../media/image82.png"/><Relationship Id="rId12" Type="http://schemas.openxmlformats.org/officeDocument/2006/relationships/image" Target="../media/image86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11" Type="http://schemas.openxmlformats.org/officeDocument/2006/relationships/image" Target="../media/image85.png"/><Relationship Id="rId5" Type="http://schemas.openxmlformats.org/officeDocument/2006/relationships/image" Target="../media/image81.jpeg"/><Relationship Id="rId15" Type="http://schemas.openxmlformats.org/officeDocument/2006/relationships/image" Target="../media/image10.png"/><Relationship Id="rId10" Type="http://schemas.openxmlformats.org/officeDocument/2006/relationships/image" Target="../media/image84.png"/><Relationship Id="rId4" Type="http://schemas.openxmlformats.org/officeDocument/2006/relationships/image" Target="../media/image80.jpeg"/><Relationship Id="rId9" Type="http://schemas.openxmlformats.org/officeDocument/2006/relationships/image" Target="../media/image83.png"/><Relationship Id="rId1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13" Type="http://schemas.openxmlformats.org/officeDocument/2006/relationships/image" Target="../media/image10.png"/><Relationship Id="rId3" Type="http://schemas.openxmlformats.org/officeDocument/2006/relationships/image" Target="../media/image89.jpeg"/><Relationship Id="rId7" Type="http://schemas.openxmlformats.org/officeDocument/2006/relationships/image" Target="../media/image92.png"/><Relationship Id="rId12" Type="http://schemas.openxmlformats.org/officeDocument/2006/relationships/image" Target="../media/image9.pn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11" Type="http://schemas.openxmlformats.org/officeDocument/2006/relationships/image" Target="../media/image87.gif"/><Relationship Id="rId5" Type="http://schemas.openxmlformats.org/officeDocument/2006/relationships/image" Target="../media/image91.jpeg"/><Relationship Id="rId10" Type="http://schemas.openxmlformats.org/officeDocument/2006/relationships/image" Target="../media/image95.png"/><Relationship Id="rId4" Type="http://schemas.openxmlformats.org/officeDocument/2006/relationships/image" Target="../media/image90.jpeg"/><Relationship Id="rId9" Type="http://schemas.openxmlformats.org/officeDocument/2006/relationships/image" Target="../media/image9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13" Type="http://schemas.openxmlformats.org/officeDocument/2006/relationships/image" Target="../media/image107.png"/><Relationship Id="rId18" Type="http://schemas.openxmlformats.org/officeDocument/2006/relationships/image" Target="../media/image112.png"/><Relationship Id="rId3" Type="http://schemas.openxmlformats.org/officeDocument/2006/relationships/image" Target="../media/image97.png"/><Relationship Id="rId21" Type="http://schemas.openxmlformats.org/officeDocument/2006/relationships/image" Target="../media/image13.png"/><Relationship Id="rId7" Type="http://schemas.openxmlformats.org/officeDocument/2006/relationships/image" Target="../media/image101.png"/><Relationship Id="rId12" Type="http://schemas.openxmlformats.org/officeDocument/2006/relationships/image" Target="../media/image106.png"/><Relationship Id="rId17" Type="http://schemas.openxmlformats.org/officeDocument/2006/relationships/image" Target="../media/image111.png"/><Relationship Id="rId2" Type="http://schemas.openxmlformats.org/officeDocument/2006/relationships/image" Target="../media/image96.png"/><Relationship Id="rId16" Type="http://schemas.openxmlformats.org/officeDocument/2006/relationships/image" Target="../media/image110.png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0.png"/><Relationship Id="rId11" Type="http://schemas.openxmlformats.org/officeDocument/2006/relationships/image" Target="../media/image105.jpeg"/><Relationship Id="rId5" Type="http://schemas.openxmlformats.org/officeDocument/2006/relationships/image" Target="../media/image99.png"/><Relationship Id="rId15" Type="http://schemas.openxmlformats.org/officeDocument/2006/relationships/image" Target="../media/image109.png"/><Relationship Id="rId10" Type="http://schemas.openxmlformats.org/officeDocument/2006/relationships/image" Target="../media/image104.png"/><Relationship Id="rId19" Type="http://schemas.openxmlformats.org/officeDocument/2006/relationships/image" Target="../media/image113.gif"/><Relationship Id="rId4" Type="http://schemas.openxmlformats.org/officeDocument/2006/relationships/image" Target="../media/image98.png"/><Relationship Id="rId9" Type="http://schemas.openxmlformats.org/officeDocument/2006/relationships/image" Target="../media/image103.png"/><Relationship Id="rId14" Type="http://schemas.openxmlformats.org/officeDocument/2006/relationships/image" Target="../media/image10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6.png"/><Relationship Id="rId5" Type="http://schemas.openxmlformats.org/officeDocument/2006/relationships/image" Target="../media/image115.gif"/><Relationship Id="rId4" Type="http://schemas.openxmlformats.org/officeDocument/2006/relationships/image" Target="../media/image11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png"/><Relationship Id="rId13" Type="http://schemas.openxmlformats.org/officeDocument/2006/relationships/image" Target="../media/image127.png"/><Relationship Id="rId18" Type="http://schemas.openxmlformats.org/officeDocument/2006/relationships/image" Target="../media/image132.png"/><Relationship Id="rId26" Type="http://schemas.openxmlformats.org/officeDocument/2006/relationships/image" Target="../media/image139.png"/><Relationship Id="rId3" Type="http://schemas.openxmlformats.org/officeDocument/2006/relationships/image" Target="../media/image117.png"/><Relationship Id="rId21" Type="http://schemas.openxmlformats.org/officeDocument/2006/relationships/image" Target="../media/image116.png"/><Relationship Id="rId7" Type="http://schemas.openxmlformats.org/officeDocument/2006/relationships/image" Target="../media/image121.png"/><Relationship Id="rId12" Type="http://schemas.openxmlformats.org/officeDocument/2006/relationships/image" Target="../media/image126.png"/><Relationship Id="rId17" Type="http://schemas.openxmlformats.org/officeDocument/2006/relationships/image" Target="../media/image131.png"/><Relationship Id="rId25" Type="http://schemas.openxmlformats.org/officeDocument/2006/relationships/image" Target="../media/image138.png"/><Relationship Id="rId2" Type="http://schemas.openxmlformats.org/officeDocument/2006/relationships/image" Target="../media/image7.png"/><Relationship Id="rId16" Type="http://schemas.openxmlformats.org/officeDocument/2006/relationships/image" Target="../media/image130.png"/><Relationship Id="rId20" Type="http://schemas.openxmlformats.org/officeDocument/2006/relationships/image" Target="../media/image134.png"/><Relationship Id="rId29" Type="http://schemas.openxmlformats.org/officeDocument/2006/relationships/image" Target="../media/image1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0.png"/><Relationship Id="rId11" Type="http://schemas.openxmlformats.org/officeDocument/2006/relationships/image" Target="../media/image125.png"/><Relationship Id="rId24" Type="http://schemas.openxmlformats.org/officeDocument/2006/relationships/image" Target="../media/image137.png"/><Relationship Id="rId5" Type="http://schemas.openxmlformats.org/officeDocument/2006/relationships/image" Target="../media/image119.png"/><Relationship Id="rId15" Type="http://schemas.openxmlformats.org/officeDocument/2006/relationships/image" Target="../media/image129.png"/><Relationship Id="rId23" Type="http://schemas.openxmlformats.org/officeDocument/2006/relationships/image" Target="../media/image136.png"/><Relationship Id="rId28" Type="http://schemas.openxmlformats.org/officeDocument/2006/relationships/image" Target="../media/image9.png"/><Relationship Id="rId10" Type="http://schemas.openxmlformats.org/officeDocument/2006/relationships/image" Target="../media/image124.png"/><Relationship Id="rId19" Type="http://schemas.openxmlformats.org/officeDocument/2006/relationships/image" Target="../media/image133.png"/><Relationship Id="rId4" Type="http://schemas.openxmlformats.org/officeDocument/2006/relationships/image" Target="../media/image118.png"/><Relationship Id="rId9" Type="http://schemas.openxmlformats.org/officeDocument/2006/relationships/image" Target="../media/image123.png"/><Relationship Id="rId14" Type="http://schemas.openxmlformats.org/officeDocument/2006/relationships/image" Target="../media/image128.png"/><Relationship Id="rId22" Type="http://schemas.openxmlformats.org/officeDocument/2006/relationships/image" Target="../media/image135.png"/><Relationship Id="rId27" Type="http://schemas.openxmlformats.org/officeDocument/2006/relationships/image" Target="../media/image14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gif"/><Relationship Id="rId2" Type="http://schemas.openxmlformats.org/officeDocument/2006/relationships/image" Target="../media/image142.gi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8.gif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4.gi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18" Type="http://schemas.openxmlformats.org/officeDocument/2006/relationships/image" Target="../media/image9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jpeg"/><Relationship Id="rId17" Type="http://schemas.openxmlformats.org/officeDocument/2006/relationships/image" Target="../media/image30.png"/><Relationship Id="rId2" Type="http://schemas.openxmlformats.org/officeDocument/2006/relationships/image" Target="../media/image13.png"/><Relationship Id="rId16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11" Type="http://schemas.openxmlformats.org/officeDocument/2006/relationships/image" Target="../media/image24.jpe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jpg"/><Relationship Id="rId19" Type="http://schemas.openxmlformats.org/officeDocument/2006/relationships/image" Target="../media/image10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png"/><Relationship Id="rId12" Type="http://schemas.openxmlformats.org/officeDocument/2006/relationships/image" Target="../media/image35.png"/><Relationship Id="rId17" Type="http://schemas.openxmlformats.org/officeDocument/2006/relationships/image" Target="../media/image13.png"/><Relationship Id="rId2" Type="http://schemas.openxmlformats.org/officeDocument/2006/relationships/tags" Target="../tags/tag6.xml"/><Relationship Id="rId16" Type="http://schemas.openxmlformats.org/officeDocument/2006/relationships/image" Target="../media/image4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34.pn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38.gif"/><Relationship Id="rId10" Type="http://schemas.openxmlformats.org/officeDocument/2006/relationships/image" Target="../media/image33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gif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gi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2.gif"/><Relationship Id="rId12" Type="http://schemas.openxmlformats.org/officeDocument/2006/relationships/image" Target="../media/image1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4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45.gif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44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0"/>
            <a:ext cx="12198350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3928" y="5248653"/>
            <a:ext cx="4343409" cy="1609347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496" y="649400"/>
            <a:ext cx="2056168" cy="440116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754496" y="3720897"/>
            <a:ext cx="4953130" cy="953233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745221" y="1826216"/>
            <a:ext cx="11090217" cy="3781425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944767" fontAlgn="auto">
              <a:lnSpc>
                <a:spcPts val="8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80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ак и чем</a:t>
            </a:r>
            <a:br>
              <a:rPr lang="ru-RU" sz="80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80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орпорация МСП  </a:t>
            </a:r>
            <a:r>
              <a:rPr lang="ru-RU" sz="80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могает</a:t>
            </a:r>
            <a:r>
              <a:rPr lang="ru-RU" sz="80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предпринимателям?</a:t>
            </a:r>
            <a:endParaRPr lang="ru-RU" sz="8000" dirty="0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5020887" y="739450"/>
            <a:ext cx="6197313" cy="273652"/>
            <a:chOff x="2858728" y="6286486"/>
            <a:chExt cx="7181174" cy="184666"/>
          </a:xfrm>
        </p:grpSpPr>
        <p:cxnSp>
          <p:nvCxnSpPr>
            <p:cNvPr id="9" name="Прямая соединительная линия 8"/>
            <p:cNvCxnSpPr/>
            <p:nvPr/>
          </p:nvCxnSpPr>
          <p:spPr>
            <a:xfrm>
              <a:off x="7678527" y="6378819"/>
              <a:ext cx="1762741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Прямоугольник 9"/>
            <p:cNvSpPr/>
            <p:nvPr/>
          </p:nvSpPr>
          <p:spPr>
            <a:xfrm>
              <a:off x="7015835" y="6286486"/>
              <a:ext cx="494879" cy="184666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defTabSz="944767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dirty="0" smtClean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Россия</a:t>
              </a:r>
              <a:endParaRPr lang="ru-RU" sz="12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9658387" y="6286486"/>
              <a:ext cx="381515" cy="184666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defTabSz="944767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smtClean="0">
                  <a:solidFill>
                    <a:schemeClr val="bg1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2023 </a:t>
              </a:r>
              <a:endParaRPr lang="ru-RU" sz="12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  <p:cxnSp>
          <p:nvCxnSpPr>
            <p:cNvPr id="16" name="Прямая соединительная линия 15"/>
            <p:cNvCxnSpPr/>
            <p:nvPr/>
          </p:nvCxnSpPr>
          <p:spPr>
            <a:xfrm>
              <a:off x="2858728" y="6378819"/>
              <a:ext cx="3985539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Группа 14"/>
          <p:cNvGrpSpPr/>
          <p:nvPr/>
        </p:nvGrpSpPr>
        <p:grpSpPr>
          <a:xfrm>
            <a:off x="0" y="5871512"/>
            <a:ext cx="12192000" cy="1008530"/>
            <a:chOff x="0" y="6578600"/>
            <a:chExt cx="12192000" cy="1008530"/>
          </a:xfrm>
        </p:grpSpPr>
        <p:grpSp>
          <p:nvGrpSpPr>
            <p:cNvPr id="17" name="Группа 16"/>
            <p:cNvGrpSpPr/>
            <p:nvPr/>
          </p:nvGrpSpPr>
          <p:grpSpPr>
            <a:xfrm>
              <a:off x="0" y="6587958"/>
              <a:ext cx="12192000" cy="999172"/>
              <a:chOff x="0" y="6587958"/>
              <a:chExt cx="12192000" cy="999172"/>
            </a:xfrm>
          </p:grpSpPr>
          <p:sp>
            <p:nvSpPr>
              <p:cNvPr id="19" name="Прямоугольник 18"/>
              <p:cNvSpPr/>
              <p:nvPr/>
            </p:nvSpPr>
            <p:spPr>
              <a:xfrm>
                <a:off x="0" y="7401495"/>
                <a:ext cx="12192000" cy="185635"/>
              </a:xfrm>
              <a:prstGeom prst="rect">
                <a:avLst/>
              </a:prstGeom>
              <a:solidFill>
                <a:srgbClr val="84E0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1" name="Freeform 152"/>
              <p:cNvSpPr>
                <a:spLocks/>
              </p:cNvSpPr>
              <p:nvPr/>
            </p:nvSpPr>
            <p:spPr bwMode="auto">
              <a:xfrm>
                <a:off x="6744823" y="6851646"/>
                <a:ext cx="313557" cy="600863"/>
              </a:xfrm>
              <a:custGeom>
                <a:avLst/>
                <a:gdLst>
                  <a:gd name="T0" fmla="*/ 205 w 215"/>
                  <a:gd name="T1" fmla="*/ 96 h 412"/>
                  <a:gd name="T2" fmla="*/ 195 w 215"/>
                  <a:gd name="T3" fmla="*/ 88 h 412"/>
                  <a:gd name="T4" fmla="*/ 187 w 215"/>
                  <a:gd name="T5" fmla="*/ 86 h 412"/>
                  <a:gd name="T6" fmla="*/ 131 w 215"/>
                  <a:gd name="T7" fmla="*/ 98 h 412"/>
                  <a:gd name="T8" fmla="*/ 115 w 215"/>
                  <a:gd name="T9" fmla="*/ 98 h 412"/>
                  <a:gd name="T10" fmla="*/ 86 w 215"/>
                  <a:gd name="T11" fmla="*/ 92 h 412"/>
                  <a:gd name="T12" fmla="*/ 82 w 215"/>
                  <a:gd name="T13" fmla="*/ 82 h 412"/>
                  <a:gd name="T14" fmla="*/ 94 w 215"/>
                  <a:gd name="T15" fmla="*/ 72 h 412"/>
                  <a:gd name="T16" fmla="*/ 102 w 215"/>
                  <a:gd name="T17" fmla="*/ 64 h 412"/>
                  <a:gd name="T18" fmla="*/ 100 w 215"/>
                  <a:gd name="T19" fmla="*/ 56 h 412"/>
                  <a:gd name="T20" fmla="*/ 90 w 215"/>
                  <a:gd name="T21" fmla="*/ 50 h 412"/>
                  <a:gd name="T22" fmla="*/ 62 w 215"/>
                  <a:gd name="T23" fmla="*/ 48 h 412"/>
                  <a:gd name="T24" fmla="*/ 54 w 215"/>
                  <a:gd name="T25" fmla="*/ 52 h 412"/>
                  <a:gd name="T26" fmla="*/ 46 w 215"/>
                  <a:gd name="T27" fmla="*/ 74 h 412"/>
                  <a:gd name="T28" fmla="*/ 38 w 215"/>
                  <a:gd name="T29" fmla="*/ 70 h 412"/>
                  <a:gd name="T30" fmla="*/ 32 w 215"/>
                  <a:gd name="T31" fmla="*/ 56 h 412"/>
                  <a:gd name="T32" fmla="*/ 20 w 215"/>
                  <a:gd name="T33" fmla="*/ 30 h 412"/>
                  <a:gd name="T34" fmla="*/ 20 w 215"/>
                  <a:gd name="T35" fmla="*/ 18 h 412"/>
                  <a:gd name="T36" fmla="*/ 24 w 215"/>
                  <a:gd name="T37" fmla="*/ 4 h 412"/>
                  <a:gd name="T38" fmla="*/ 14 w 215"/>
                  <a:gd name="T39" fmla="*/ 0 h 412"/>
                  <a:gd name="T40" fmla="*/ 8 w 215"/>
                  <a:gd name="T41" fmla="*/ 30 h 412"/>
                  <a:gd name="T42" fmla="*/ 10 w 215"/>
                  <a:gd name="T43" fmla="*/ 48 h 412"/>
                  <a:gd name="T44" fmla="*/ 12 w 215"/>
                  <a:gd name="T45" fmla="*/ 72 h 412"/>
                  <a:gd name="T46" fmla="*/ 28 w 215"/>
                  <a:gd name="T47" fmla="*/ 94 h 412"/>
                  <a:gd name="T48" fmla="*/ 34 w 215"/>
                  <a:gd name="T49" fmla="*/ 104 h 412"/>
                  <a:gd name="T50" fmla="*/ 32 w 215"/>
                  <a:gd name="T51" fmla="*/ 120 h 412"/>
                  <a:gd name="T52" fmla="*/ 32 w 215"/>
                  <a:gd name="T53" fmla="*/ 140 h 412"/>
                  <a:gd name="T54" fmla="*/ 32 w 215"/>
                  <a:gd name="T55" fmla="*/ 166 h 412"/>
                  <a:gd name="T56" fmla="*/ 36 w 215"/>
                  <a:gd name="T57" fmla="*/ 190 h 412"/>
                  <a:gd name="T58" fmla="*/ 42 w 215"/>
                  <a:gd name="T59" fmla="*/ 196 h 412"/>
                  <a:gd name="T60" fmla="*/ 42 w 215"/>
                  <a:gd name="T61" fmla="*/ 258 h 412"/>
                  <a:gd name="T62" fmla="*/ 52 w 215"/>
                  <a:gd name="T63" fmla="*/ 284 h 412"/>
                  <a:gd name="T64" fmla="*/ 58 w 215"/>
                  <a:gd name="T65" fmla="*/ 318 h 412"/>
                  <a:gd name="T66" fmla="*/ 68 w 215"/>
                  <a:gd name="T67" fmla="*/ 346 h 412"/>
                  <a:gd name="T68" fmla="*/ 68 w 215"/>
                  <a:gd name="T69" fmla="*/ 362 h 412"/>
                  <a:gd name="T70" fmla="*/ 12 w 215"/>
                  <a:gd name="T71" fmla="*/ 412 h 412"/>
                  <a:gd name="T72" fmla="*/ 173 w 215"/>
                  <a:gd name="T73" fmla="*/ 382 h 412"/>
                  <a:gd name="T74" fmla="*/ 173 w 215"/>
                  <a:gd name="T75" fmla="*/ 368 h 412"/>
                  <a:gd name="T76" fmla="*/ 171 w 215"/>
                  <a:gd name="T77" fmla="*/ 342 h 412"/>
                  <a:gd name="T78" fmla="*/ 179 w 215"/>
                  <a:gd name="T79" fmla="*/ 342 h 412"/>
                  <a:gd name="T80" fmla="*/ 187 w 215"/>
                  <a:gd name="T81" fmla="*/ 330 h 412"/>
                  <a:gd name="T82" fmla="*/ 169 w 215"/>
                  <a:gd name="T83" fmla="*/ 310 h 412"/>
                  <a:gd name="T84" fmla="*/ 115 w 215"/>
                  <a:gd name="T85" fmla="*/ 230 h 412"/>
                  <a:gd name="T86" fmla="*/ 105 w 215"/>
                  <a:gd name="T87" fmla="*/ 204 h 412"/>
                  <a:gd name="T88" fmla="*/ 86 w 215"/>
                  <a:gd name="T89" fmla="*/ 190 h 412"/>
                  <a:gd name="T90" fmla="*/ 94 w 215"/>
                  <a:gd name="T91" fmla="*/ 130 h 412"/>
                  <a:gd name="T92" fmla="*/ 123 w 215"/>
                  <a:gd name="T93" fmla="*/ 124 h 412"/>
                  <a:gd name="T94" fmla="*/ 181 w 215"/>
                  <a:gd name="T95" fmla="*/ 106 h 412"/>
                  <a:gd name="T96" fmla="*/ 197 w 215"/>
                  <a:gd name="T97" fmla="*/ 108 h 412"/>
                  <a:gd name="T98" fmla="*/ 213 w 215"/>
                  <a:gd name="T99" fmla="*/ 106 h 412"/>
                  <a:gd name="T100" fmla="*/ 215 w 215"/>
                  <a:gd name="T101" fmla="*/ 100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5" h="412">
                    <a:moveTo>
                      <a:pt x="211" y="98"/>
                    </a:moveTo>
                    <a:lnTo>
                      <a:pt x="211" y="98"/>
                    </a:lnTo>
                    <a:lnTo>
                      <a:pt x="205" y="96"/>
                    </a:lnTo>
                    <a:lnTo>
                      <a:pt x="201" y="92"/>
                    </a:lnTo>
                    <a:lnTo>
                      <a:pt x="199" y="90"/>
                    </a:lnTo>
                    <a:lnTo>
                      <a:pt x="195" y="88"/>
                    </a:lnTo>
                    <a:lnTo>
                      <a:pt x="195" y="88"/>
                    </a:lnTo>
                    <a:lnTo>
                      <a:pt x="191" y="86"/>
                    </a:lnTo>
                    <a:lnTo>
                      <a:pt x="187" y="86"/>
                    </a:lnTo>
                    <a:lnTo>
                      <a:pt x="179" y="88"/>
                    </a:lnTo>
                    <a:lnTo>
                      <a:pt x="179" y="88"/>
                    </a:lnTo>
                    <a:lnTo>
                      <a:pt x="131" y="98"/>
                    </a:lnTo>
                    <a:lnTo>
                      <a:pt x="131" y="98"/>
                    </a:lnTo>
                    <a:lnTo>
                      <a:pt x="125" y="98"/>
                    </a:lnTo>
                    <a:lnTo>
                      <a:pt x="115" y="98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86" y="92"/>
                    </a:lnTo>
                    <a:lnTo>
                      <a:pt x="80" y="92"/>
                    </a:lnTo>
                    <a:lnTo>
                      <a:pt x="82" y="82"/>
                    </a:lnTo>
                    <a:lnTo>
                      <a:pt x="82" y="82"/>
                    </a:lnTo>
                    <a:lnTo>
                      <a:pt x="88" y="74"/>
                    </a:lnTo>
                    <a:lnTo>
                      <a:pt x="88" y="74"/>
                    </a:lnTo>
                    <a:lnTo>
                      <a:pt x="94" y="72"/>
                    </a:lnTo>
                    <a:lnTo>
                      <a:pt x="100" y="70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3" y="62"/>
                    </a:lnTo>
                    <a:lnTo>
                      <a:pt x="102" y="60"/>
                    </a:lnTo>
                    <a:lnTo>
                      <a:pt x="100" y="56"/>
                    </a:lnTo>
                    <a:lnTo>
                      <a:pt x="94" y="56"/>
                    </a:lnTo>
                    <a:lnTo>
                      <a:pt x="94" y="56"/>
                    </a:lnTo>
                    <a:lnTo>
                      <a:pt x="90" y="50"/>
                    </a:lnTo>
                    <a:lnTo>
                      <a:pt x="82" y="48"/>
                    </a:lnTo>
                    <a:lnTo>
                      <a:pt x="74" y="46"/>
                    </a:lnTo>
                    <a:lnTo>
                      <a:pt x="62" y="48"/>
                    </a:lnTo>
                    <a:lnTo>
                      <a:pt x="62" y="48"/>
                    </a:lnTo>
                    <a:lnTo>
                      <a:pt x="58" y="50"/>
                    </a:lnTo>
                    <a:lnTo>
                      <a:pt x="54" y="52"/>
                    </a:lnTo>
                    <a:lnTo>
                      <a:pt x="48" y="62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46" y="74"/>
                    </a:lnTo>
                    <a:lnTo>
                      <a:pt x="40" y="72"/>
                    </a:lnTo>
                    <a:lnTo>
                      <a:pt x="38" y="70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2" y="56"/>
                    </a:lnTo>
                    <a:lnTo>
                      <a:pt x="26" y="46"/>
                    </a:lnTo>
                    <a:lnTo>
                      <a:pt x="22" y="38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8" y="24"/>
                    </a:lnTo>
                    <a:lnTo>
                      <a:pt x="20" y="1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6"/>
                    </a:lnTo>
                    <a:lnTo>
                      <a:pt x="10" y="48"/>
                    </a:lnTo>
                    <a:lnTo>
                      <a:pt x="10" y="6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4" y="78"/>
                    </a:lnTo>
                    <a:lnTo>
                      <a:pt x="18" y="82"/>
                    </a:lnTo>
                    <a:lnTo>
                      <a:pt x="28" y="94"/>
                    </a:lnTo>
                    <a:lnTo>
                      <a:pt x="28" y="94"/>
                    </a:lnTo>
                    <a:lnTo>
                      <a:pt x="32" y="100"/>
                    </a:lnTo>
                    <a:lnTo>
                      <a:pt x="34" y="104"/>
                    </a:lnTo>
                    <a:lnTo>
                      <a:pt x="34" y="112"/>
                    </a:lnTo>
                    <a:lnTo>
                      <a:pt x="32" y="120"/>
                    </a:lnTo>
                    <a:lnTo>
                      <a:pt x="32" y="120"/>
                    </a:lnTo>
                    <a:lnTo>
                      <a:pt x="28" y="128"/>
                    </a:lnTo>
                    <a:lnTo>
                      <a:pt x="30" y="134"/>
                    </a:lnTo>
                    <a:lnTo>
                      <a:pt x="32" y="140"/>
                    </a:lnTo>
                    <a:lnTo>
                      <a:pt x="32" y="146"/>
                    </a:lnTo>
                    <a:lnTo>
                      <a:pt x="32" y="146"/>
                    </a:lnTo>
                    <a:lnTo>
                      <a:pt x="32" y="166"/>
                    </a:lnTo>
                    <a:lnTo>
                      <a:pt x="32" y="166"/>
                    </a:lnTo>
                    <a:lnTo>
                      <a:pt x="32" y="180"/>
                    </a:lnTo>
                    <a:lnTo>
                      <a:pt x="36" y="190"/>
                    </a:lnTo>
                    <a:lnTo>
                      <a:pt x="40" y="194"/>
                    </a:lnTo>
                    <a:lnTo>
                      <a:pt x="42" y="196"/>
                    </a:lnTo>
                    <a:lnTo>
                      <a:pt x="42" y="196"/>
                    </a:lnTo>
                    <a:lnTo>
                      <a:pt x="40" y="224"/>
                    </a:lnTo>
                    <a:lnTo>
                      <a:pt x="40" y="246"/>
                    </a:lnTo>
                    <a:lnTo>
                      <a:pt x="42" y="258"/>
                    </a:lnTo>
                    <a:lnTo>
                      <a:pt x="46" y="268"/>
                    </a:lnTo>
                    <a:lnTo>
                      <a:pt x="46" y="268"/>
                    </a:lnTo>
                    <a:lnTo>
                      <a:pt x="52" y="284"/>
                    </a:lnTo>
                    <a:lnTo>
                      <a:pt x="56" y="296"/>
                    </a:lnTo>
                    <a:lnTo>
                      <a:pt x="58" y="318"/>
                    </a:lnTo>
                    <a:lnTo>
                      <a:pt x="58" y="318"/>
                    </a:lnTo>
                    <a:lnTo>
                      <a:pt x="62" y="336"/>
                    </a:lnTo>
                    <a:lnTo>
                      <a:pt x="68" y="346"/>
                    </a:lnTo>
                    <a:lnTo>
                      <a:pt x="68" y="346"/>
                    </a:lnTo>
                    <a:lnTo>
                      <a:pt x="68" y="352"/>
                    </a:lnTo>
                    <a:lnTo>
                      <a:pt x="68" y="356"/>
                    </a:lnTo>
                    <a:lnTo>
                      <a:pt x="68" y="362"/>
                    </a:lnTo>
                    <a:lnTo>
                      <a:pt x="50" y="386"/>
                    </a:lnTo>
                    <a:lnTo>
                      <a:pt x="12" y="386"/>
                    </a:lnTo>
                    <a:lnTo>
                      <a:pt x="12" y="412"/>
                    </a:lnTo>
                    <a:lnTo>
                      <a:pt x="193" y="412"/>
                    </a:lnTo>
                    <a:lnTo>
                      <a:pt x="193" y="382"/>
                    </a:lnTo>
                    <a:lnTo>
                      <a:pt x="173" y="382"/>
                    </a:lnTo>
                    <a:lnTo>
                      <a:pt x="171" y="366"/>
                    </a:lnTo>
                    <a:lnTo>
                      <a:pt x="171" y="366"/>
                    </a:lnTo>
                    <a:lnTo>
                      <a:pt x="173" y="368"/>
                    </a:lnTo>
                    <a:lnTo>
                      <a:pt x="173" y="364"/>
                    </a:lnTo>
                    <a:lnTo>
                      <a:pt x="173" y="356"/>
                    </a:lnTo>
                    <a:lnTo>
                      <a:pt x="171" y="342"/>
                    </a:lnTo>
                    <a:lnTo>
                      <a:pt x="171" y="342"/>
                    </a:lnTo>
                    <a:lnTo>
                      <a:pt x="175" y="342"/>
                    </a:lnTo>
                    <a:lnTo>
                      <a:pt x="179" y="342"/>
                    </a:lnTo>
                    <a:lnTo>
                      <a:pt x="181" y="338"/>
                    </a:lnTo>
                    <a:lnTo>
                      <a:pt x="181" y="338"/>
                    </a:lnTo>
                    <a:lnTo>
                      <a:pt x="187" y="330"/>
                    </a:lnTo>
                    <a:lnTo>
                      <a:pt x="187" y="330"/>
                    </a:lnTo>
                    <a:lnTo>
                      <a:pt x="179" y="322"/>
                    </a:lnTo>
                    <a:lnTo>
                      <a:pt x="169" y="310"/>
                    </a:lnTo>
                    <a:lnTo>
                      <a:pt x="145" y="276"/>
                    </a:lnTo>
                    <a:lnTo>
                      <a:pt x="115" y="230"/>
                    </a:lnTo>
                    <a:lnTo>
                      <a:pt x="115" y="230"/>
                    </a:lnTo>
                    <a:lnTo>
                      <a:pt x="113" y="220"/>
                    </a:lnTo>
                    <a:lnTo>
                      <a:pt x="109" y="212"/>
                    </a:lnTo>
                    <a:lnTo>
                      <a:pt x="105" y="204"/>
                    </a:lnTo>
                    <a:lnTo>
                      <a:pt x="100" y="200"/>
                    </a:lnTo>
                    <a:lnTo>
                      <a:pt x="90" y="192"/>
                    </a:lnTo>
                    <a:lnTo>
                      <a:pt x="86" y="190"/>
                    </a:lnTo>
                    <a:lnTo>
                      <a:pt x="86" y="190"/>
                    </a:lnTo>
                    <a:lnTo>
                      <a:pt x="92" y="154"/>
                    </a:lnTo>
                    <a:lnTo>
                      <a:pt x="94" y="130"/>
                    </a:lnTo>
                    <a:lnTo>
                      <a:pt x="94" y="130"/>
                    </a:lnTo>
                    <a:lnTo>
                      <a:pt x="123" y="124"/>
                    </a:lnTo>
                    <a:lnTo>
                      <a:pt x="123" y="124"/>
                    </a:lnTo>
                    <a:lnTo>
                      <a:pt x="163" y="112"/>
                    </a:lnTo>
                    <a:lnTo>
                      <a:pt x="163" y="112"/>
                    </a:lnTo>
                    <a:lnTo>
                      <a:pt x="181" y="106"/>
                    </a:lnTo>
                    <a:lnTo>
                      <a:pt x="189" y="106"/>
                    </a:lnTo>
                    <a:lnTo>
                      <a:pt x="197" y="108"/>
                    </a:lnTo>
                    <a:lnTo>
                      <a:pt x="197" y="108"/>
                    </a:lnTo>
                    <a:lnTo>
                      <a:pt x="201" y="110"/>
                    </a:lnTo>
                    <a:lnTo>
                      <a:pt x="205" y="110"/>
                    </a:lnTo>
                    <a:lnTo>
                      <a:pt x="213" y="106"/>
                    </a:lnTo>
                    <a:lnTo>
                      <a:pt x="215" y="104"/>
                    </a:lnTo>
                    <a:lnTo>
                      <a:pt x="215" y="102"/>
                    </a:lnTo>
                    <a:lnTo>
                      <a:pt x="215" y="100"/>
                    </a:lnTo>
                    <a:lnTo>
                      <a:pt x="211" y="98"/>
                    </a:lnTo>
                    <a:lnTo>
                      <a:pt x="211" y="98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" name="Line 153"/>
              <p:cNvSpPr>
                <a:spLocks noChangeShapeType="1"/>
              </p:cNvSpPr>
              <p:nvPr/>
            </p:nvSpPr>
            <p:spPr bwMode="auto">
              <a:xfrm flipV="1">
                <a:off x="6733156" y="6600800"/>
                <a:ext cx="160424" cy="312099"/>
              </a:xfrm>
              <a:prstGeom prst="line">
                <a:avLst/>
              </a:prstGeom>
              <a:noFill/>
              <a:ln w="12700">
                <a:solidFill>
                  <a:srgbClr val="191919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" name="AutoShape 155"/>
              <p:cNvSpPr>
                <a:spLocks noChangeAspect="1" noChangeArrowheads="1" noTextEdit="1"/>
              </p:cNvSpPr>
              <p:nvPr/>
            </p:nvSpPr>
            <p:spPr bwMode="auto">
              <a:xfrm>
                <a:off x="2260004" y="6869534"/>
                <a:ext cx="1155700" cy="5826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" name="Freeform 157"/>
              <p:cNvSpPr>
                <a:spLocks/>
              </p:cNvSpPr>
              <p:nvPr/>
            </p:nvSpPr>
            <p:spPr bwMode="auto">
              <a:xfrm>
                <a:off x="1621481" y="6976760"/>
                <a:ext cx="942964" cy="475369"/>
              </a:xfrm>
              <a:custGeom>
                <a:avLst/>
                <a:gdLst>
                  <a:gd name="T0" fmla="*/ 712 w 728"/>
                  <a:gd name="T1" fmla="*/ 195 h 367"/>
                  <a:gd name="T2" fmla="*/ 678 w 728"/>
                  <a:gd name="T3" fmla="*/ 166 h 367"/>
                  <a:gd name="T4" fmla="*/ 646 w 728"/>
                  <a:gd name="T5" fmla="*/ 195 h 367"/>
                  <a:gd name="T6" fmla="*/ 612 w 728"/>
                  <a:gd name="T7" fmla="*/ 166 h 367"/>
                  <a:gd name="T8" fmla="*/ 578 w 728"/>
                  <a:gd name="T9" fmla="*/ 195 h 367"/>
                  <a:gd name="T10" fmla="*/ 546 w 728"/>
                  <a:gd name="T11" fmla="*/ 166 h 367"/>
                  <a:gd name="T12" fmla="*/ 512 w 728"/>
                  <a:gd name="T13" fmla="*/ 195 h 367"/>
                  <a:gd name="T14" fmla="*/ 494 w 728"/>
                  <a:gd name="T15" fmla="*/ 82 h 367"/>
                  <a:gd name="T16" fmla="*/ 510 w 728"/>
                  <a:gd name="T17" fmla="*/ 28 h 367"/>
                  <a:gd name="T18" fmla="*/ 510 w 728"/>
                  <a:gd name="T19" fmla="*/ 0 h 367"/>
                  <a:gd name="T20" fmla="*/ 494 w 728"/>
                  <a:gd name="T21" fmla="*/ 28 h 367"/>
                  <a:gd name="T22" fmla="*/ 484 w 728"/>
                  <a:gd name="T23" fmla="*/ 0 h 367"/>
                  <a:gd name="T24" fmla="*/ 462 w 728"/>
                  <a:gd name="T25" fmla="*/ 28 h 367"/>
                  <a:gd name="T26" fmla="*/ 450 w 728"/>
                  <a:gd name="T27" fmla="*/ 0 h 367"/>
                  <a:gd name="T28" fmla="*/ 434 w 728"/>
                  <a:gd name="T29" fmla="*/ 28 h 367"/>
                  <a:gd name="T30" fmla="*/ 410 w 728"/>
                  <a:gd name="T31" fmla="*/ 104 h 367"/>
                  <a:gd name="T32" fmla="*/ 394 w 728"/>
                  <a:gd name="T33" fmla="*/ 132 h 367"/>
                  <a:gd name="T34" fmla="*/ 360 w 728"/>
                  <a:gd name="T35" fmla="*/ 104 h 367"/>
                  <a:gd name="T36" fmla="*/ 344 w 728"/>
                  <a:gd name="T37" fmla="*/ 132 h 367"/>
                  <a:gd name="T38" fmla="*/ 310 w 728"/>
                  <a:gd name="T39" fmla="*/ 104 h 367"/>
                  <a:gd name="T40" fmla="*/ 298 w 728"/>
                  <a:gd name="T41" fmla="*/ 132 h 367"/>
                  <a:gd name="T42" fmla="*/ 294 w 728"/>
                  <a:gd name="T43" fmla="*/ 0 h 367"/>
                  <a:gd name="T44" fmla="*/ 278 w 728"/>
                  <a:gd name="T45" fmla="*/ 28 h 367"/>
                  <a:gd name="T46" fmla="*/ 268 w 728"/>
                  <a:gd name="T47" fmla="*/ 0 h 367"/>
                  <a:gd name="T48" fmla="*/ 246 w 728"/>
                  <a:gd name="T49" fmla="*/ 28 h 367"/>
                  <a:gd name="T50" fmla="*/ 234 w 728"/>
                  <a:gd name="T51" fmla="*/ 0 h 367"/>
                  <a:gd name="T52" fmla="*/ 218 w 728"/>
                  <a:gd name="T53" fmla="*/ 56 h 367"/>
                  <a:gd name="T54" fmla="*/ 218 w 728"/>
                  <a:gd name="T55" fmla="*/ 82 h 367"/>
                  <a:gd name="T56" fmla="*/ 224 w 728"/>
                  <a:gd name="T57" fmla="*/ 195 h 367"/>
                  <a:gd name="T58" fmla="*/ 214 w 728"/>
                  <a:gd name="T59" fmla="*/ 166 h 367"/>
                  <a:gd name="T60" fmla="*/ 182 w 728"/>
                  <a:gd name="T61" fmla="*/ 195 h 367"/>
                  <a:gd name="T62" fmla="*/ 148 w 728"/>
                  <a:gd name="T63" fmla="*/ 166 h 367"/>
                  <a:gd name="T64" fmla="*/ 116 w 728"/>
                  <a:gd name="T65" fmla="*/ 195 h 367"/>
                  <a:gd name="T66" fmla="*/ 82 w 728"/>
                  <a:gd name="T67" fmla="*/ 166 h 367"/>
                  <a:gd name="T68" fmla="*/ 50 w 728"/>
                  <a:gd name="T69" fmla="*/ 195 h 367"/>
                  <a:gd name="T70" fmla="*/ 16 w 728"/>
                  <a:gd name="T71" fmla="*/ 166 h 367"/>
                  <a:gd name="T72" fmla="*/ 0 w 728"/>
                  <a:gd name="T73" fmla="*/ 195 h 367"/>
                  <a:gd name="T74" fmla="*/ 0 w 728"/>
                  <a:gd name="T75" fmla="*/ 367 h 367"/>
                  <a:gd name="T76" fmla="*/ 728 w 728"/>
                  <a:gd name="T77" fmla="*/ 223 h 367"/>
                  <a:gd name="T78" fmla="*/ 728 w 728"/>
                  <a:gd name="T79" fmla="*/ 166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28" h="367">
                    <a:moveTo>
                      <a:pt x="712" y="166"/>
                    </a:moveTo>
                    <a:lnTo>
                      <a:pt x="712" y="195"/>
                    </a:lnTo>
                    <a:lnTo>
                      <a:pt x="678" y="195"/>
                    </a:lnTo>
                    <a:lnTo>
                      <a:pt x="678" y="166"/>
                    </a:lnTo>
                    <a:lnTo>
                      <a:pt x="646" y="166"/>
                    </a:lnTo>
                    <a:lnTo>
                      <a:pt x="646" y="195"/>
                    </a:lnTo>
                    <a:lnTo>
                      <a:pt x="612" y="195"/>
                    </a:lnTo>
                    <a:lnTo>
                      <a:pt x="612" y="166"/>
                    </a:lnTo>
                    <a:lnTo>
                      <a:pt x="578" y="166"/>
                    </a:lnTo>
                    <a:lnTo>
                      <a:pt x="578" y="195"/>
                    </a:lnTo>
                    <a:lnTo>
                      <a:pt x="546" y="195"/>
                    </a:lnTo>
                    <a:lnTo>
                      <a:pt x="546" y="166"/>
                    </a:lnTo>
                    <a:lnTo>
                      <a:pt x="512" y="166"/>
                    </a:lnTo>
                    <a:lnTo>
                      <a:pt x="512" y="195"/>
                    </a:lnTo>
                    <a:lnTo>
                      <a:pt x="502" y="195"/>
                    </a:lnTo>
                    <a:lnTo>
                      <a:pt x="494" y="82"/>
                    </a:lnTo>
                    <a:lnTo>
                      <a:pt x="510" y="82"/>
                    </a:lnTo>
                    <a:lnTo>
                      <a:pt x="510" y="28"/>
                    </a:lnTo>
                    <a:lnTo>
                      <a:pt x="510" y="28"/>
                    </a:lnTo>
                    <a:lnTo>
                      <a:pt x="510" y="0"/>
                    </a:lnTo>
                    <a:lnTo>
                      <a:pt x="494" y="0"/>
                    </a:lnTo>
                    <a:lnTo>
                      <a:pt x="494" y="28"/>
                    </a:lnTo>
                    <a:lnTo>
                      <a:pt x="484" y="28"/>
                    </a:lnTo>
                    <a:lnTo>
                      <a:pt x="484" y="0"/>
                    </a:lnTo>
                    <a:lnTo>
                      <a:pt x="462" y="0"/>
                    </a:lnTo>
                    <a:lnTo>
                      <a:pt x="462" y="28"/>
                    </a:lnTo>
                    <a:lnTo>
                      <a:pt x="450" y="28"/>
                    </a:lnTo>
                    <a:lnTo>
                      <a:pt x="450" y="0"/>
                    </a:lnTo>
                    <a:lnTo>
                      <a:pt x="434" y="0"/>
                    </a:lnTo>
                    <a:lnTo>
                      <a:pt x="434" y="28"/>
                    </a:lnTo>
                    <a:lnTo>
                      <a:pt x="430" y="104"/>
                    </a:lnTo>
                    <a:lnTo>
                      <a:pt x="410" y="104"/>
                    </a:lnTo>
                    <a:lnTo>
                      <a:pt x="410" y="132"/>
                    </a:lnTo>
                    <a:lnTo>
                      <a:pt x="394" y="132"/>
                    </a:lnTo>
                    <a:lnTo>
                      <a:pt x="394" y="104"/>
                    </a:lnTo>
                    <a:lnTo>
                      <a:pt x="360" y="104"/>
                    </a:lnTo>
                    <a:lnTo>
                      <a:pt x="360" y="132"/>
                    </a:lnTo>
                    <a:lnTo>
                      <a:pt x="344" y="132"/>
                    </a:lnTo>
                    <a:lnTo>
                      <a:pt x="344" y="104"/>
                    </a:lnTo>
                    <a:lnTo>
                      <a:pt x="310" y="104"/>
                    </a:lnTo>
                    <a:lnTo>
                      <a:pt x="310" y="132"/>
                    </a:lnTo>
                    <a:lnTo>
                      <a:pt x="298" y="132"/>
                    </a:lnTo>
                    <a:lnTo>
                      <a:pt x="294" y="46"/>
                    </a:lnTo>
                    <a:lnTo>
                      <a:pt x="294" y="0"/>
                    </a:lnTo>
                    <a:lnTo>
                      <a:pt x="278" y="0"/>
                    </a:lnTo>
                    <a:lnTo>
                      <a:pt x="278" y="28"/>
                    </a:lnTo>
                    <a:lnTo>
                      <a:pt x="268" y="28"/>
                    </a:lnTo>
                    <a:lnTo>
                      <a:pt x="268" y="0"/>
                    </a:lnTo>
                    <a:lnTo>
                      <a:pt x="246" y="0"/>
                    </a:lnTo>
                    <a:lnTo>
                      <a:pt x="246" y="28"/>
                    </a:lnTo>
                    <a:lnTo>
                      <a:pt x="234" y="28"/>
                    </a:lnTo>
                    <a:lnTo>
                      <a:pt x="234" y="0"/>
                    </a:lnTo>
                    <a:lnTo>
                      <a:pt x="218" y="0"/>
                    </a:lnTo>
                    <a:lnTo>
                      <a:pt x="218" y="56"/>
                    </a:lnTo>
                    <a:lnTo>
                      <a:pt x="218" y="56"/>
                    </a:lnTo>
                    <a:lnTo>
                      <a:pt x="218" y="82"/>
                    </a:lnTo>
                    <a:lnTo>
                      <a:pt x="232" y="82"/>
                    </a:lnTo>
                    <a:lnTo>
                      <a:pt x="224" y="195"/>
                    </a:lnTo>
                    <a:lnTo>
                      <a:pt x="214" y="195"/>
                    </a:lnTo>
                    <a:lnTo>
                      <a:pt x="214" y="166"/>
                    </a:lnTo>
                    <a:lnTo>
                      <a:pt x="182" y="166"/>
                    </a:lnTo>
                    <a:lnTo>
                      <a:pt x="182" y="195"/>
                    </a:lnTo>
                    <a:lnTo>
                      <a:pt x="148" y="195"/>
                    </a:lnTo>
                    <a:lnTo>
                      <a:pt x="148" y="166"/>
                    </a:lnTo>
                    <a:lnTo>
                      <a:pt x="116" y="166"/>
                    </a:lnTo>
                    <a:lnTo>
                      <a:pt x="116" y="195"/>
                    </a:lnTo>
                    <a:lnTo>
                      <a:pt x="82" y="195"/>
                    </a:lnTo>
                    <a:lnTo>
                      <a:pt x="82" y="166"/>
                    </a:lnTo>
                    <a:lnTo>
                      <a:pt x="50" y="166"/>
                    </a:lnTo>
                    <a:lnTo>
                      <a:pt x="50" y="195"/>
                    </a:lnTo>
                    <a:lnTo>
                      <a:pt x="16" y="195"/>
                    </a:lnTo>
                    <a:lnTo>
                      <a:pt x="16" y="166"/>
                    </a:lnTo>
                    <a:lnTo>
                      <a:pt x="0" y="166"/>
                    </a:lnTo>
                    <a:lnTo>
                      <a:pt x="0" y="195"/>
                    </a:lnTo>
                    <a:lnTo>
                      <a:pt x="0" y="195"/>
                    </a:lnTo>
                    <a:lnTo>
                      <a:pt x="0" y="367"/>
                    </a:lnTo>
                    <a:lnTo>
                      <a:pt x="728" y="367"/>
                    </a:lnTo>
                    <a:lnTo>
                      <a:pt x="728" y="223"/>
                    </a:lnTo>
                    <a:lnTo>
                      <a:pt x="728" y="195"/>
                    </a:lnTo>
                    <a:lnTo>
                      <a:pt x="728" y="166"/>
                    </a:lnTo>
                    <a:lnTo>
                      <a:pt x="712" y="166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" name="Freeform 181"/>
              <p:cNvSpPr>
                <a:spLocks noEditPoints="1"/>
              </p:cNvSpPr>
              <p:nvPr/>
            </p:nvSpPr>
            <p:spPr bwMode="auto">
              <a:xfrm>
                <a:off x="10038139" y="6775833"/>
                <a:ext cx="257689" cy="655509"/>
              </a:xfrm>
              <a:custGeom>
                <a:avLst/>
                <a:gdLst>
                  <a:gd name="T0" fmla="*/ 256 w 274"/>
                  <a:gd name="T1" fmla="*/ 603 h 697"/>
                  <a:gd name="T2" fmla="*/ 232 w 274"/>
                  <a:gd name="T3" fmla="*/ 483 h 697"/>
                  <a:gd name="T4" fmla="*/ 200 w 274"/>
                  <a:gd name="T5" fmla="*/ 314 h 697"/>
                  <a:gd name="T6" fmla="*/ 220 w 274"/>
                  <a:gd name="T7" fmla="*/ 258 h 697"/>
                  <a:gd name="T8" fmla="*/ 220 w 274"/>
                  <a:gd name="T9" fmla="*/ 204 h 697"/>
                  <a:gd name="T10" fmla="*/ 184 w 274"/>
                  <a:gd name="T11" fmla="*/ 186 h 697"/>
                  <a:gd name="T12" fmla="*/ 208 w 274"/>
                  <a:gd name="T13" fmla="*/ 168 h 697"/>
                  <a:gd name="T14" fmla="*/ 194 w 274"/>
                  <a:gd name="T15" fmla="*/ 132 h 697"/>
                  <a:gd name="T16" fmla="*/ 194 w 274"/>
                  <a:gd name="T17" fmla="*/ 132 h 697"/>
                  <a:gd name="T18" fmla="*/ 190 w 274"/>
                  <a:gd name="T19" fmla="*/ 110 h 697"/>
                  <a:gd name="T20" fmla="*/ 182 w 274"/>
                  <a:gd name="T21" fmla="*/ 92 h 697"/>
                  <a:gd name="T22" fmla="*/ 168 w 274"/>
                  <a:gd name="T23" fmla="*/ 78 h 697"/>
                  <a:gd name="T24" fmla="*/ 152 w 274"/>
                  <a:gd name="T25" fmla="*/ 70 h 697"/>
                  <a:gd name="T26" fmla="*/ 144 w 274"/>
                  <a:gd name="T27" fmla="*/ 48 h 697"/>
                  <a:gd name="T28" fmla="*/ 136 w 274"/>
                  <a:gd name="T29" fmla="*/ 0 h 697"/>
                  <a:gd name="T30" fmla="*/ 128 w 274"/>
                  <a:gd name="T31" fmla="*/ 48 h 697"/>
                  <a:gd name="T32" fmla="*/ 128 w 274"/>
                  <a:gd name="T33" fmla="*/ 70 h 697"/>
                  <a:gd name="T34" fmla="*/ 112 w 274"/>
                  <a:gd name="T35" fmla="*/ 78 h 697"/>
                  <a:gd name="T36" fmla="*/ 100 w 274"/>
                  <a:gd name="T37" fmla="*/ 92 h 697"/>
                  <a:gd name="T38" fmla="*/ 92 w 274"/>
                  <a:gd name="T39" fmla="*/ 110 h 697"/>
                  <a:gd name="T40" fmla="*/ 88 w 274"/>
                  <a:gd name="T41" fmla="*/ 132 h 697"/>
                  <a:gd name="T42" fmla="*/ 86 w 274"/>
                  <a:gd name="T43" fmla="*/ 168 h 697"/>
                  <a:gd name="T44" fmla="*/ 72 w 274"/>
                  <a:gd name="T45" fmla="*/ 186 h 697"/>
                  <a:gd name="T46" fmla="*/ 96 w 274"/>
                  <a:gd name="T47" fmla="*/ 204 h 697"/>
                  <a:gd name="T48" fmla="*/ 62 w 274"/>
                  <a:gd name="T49" fmla="*/ 258 h 697"/>
                  <a:gd name="T50" fmla="*/ 58 w 274"/>
                  <a:gd name="T51" fmla="*/ 258 h 697"/>
                  <a:gd name="T52" fmla="*/ 70 w 274"/>
                  <a:gd name="T53" fmla="*/ 483 h 697"/>
                  <a:gd name="T54" fmla="*/ 36 w 274"/>
                  <a:gd name="T55" fmla="*/ 603 h 697"/>
                  <a:gd name="T56" fmla="*/ 0 w 274"/>
                  <a:gd name="T57" fmla="*/ 647 h 697"/>
                  <a:gd name="T58" fmla="*/ 20 w 274"/>
                  <a:gd name="T59" fmla="*/ 697 h 697"/>
                  <a:gd name="T60" fmla="*/ 120 w 274"/>
                  <a:gd name="T61" fmla="*/ 258 h 697"/>
                  <a:gd name="T62" fmla="*/ 158 w 274"/>
                  <a:gd name="T63" fmla="*/ 212 h 697"/>
                  <a:gd name="T64" fmla="*/ 120 w 274"/>
                  <a:gd name="T65" fmla="*/ 258 h 697"/>
                  <a:gd name="T66" fmla="*/ 212 w 274"/>
                  <a:gd name="T67" fmla="*/ 258 h 697"/>
                  <a:gd name="T68" fmla="*/ 184 w 274"/>
                  <a:gd name="T69" fmla="*/ 258 h 697"/>
                  <a:gd name="T70" fmla="*/ 212 w 274"/>
                  <a:gd name="T71" fmla="*/ 212 h 697"/>
                  <a:gd name="T72" fmla="*/ 128 w 274"/>
                  <a:gd name="T73" fmla="*/ 168 h 697"/>
                  <a:gd name="T74" fmla="*/ 114 w 274"/>
                  <a:gd name="T75" fmla="*/ 140 h 697"/>
                  <a:gd name="T76" fmla="*/ 136 w 274"/>
                  <a:gd name="T77" fmla="*/ 140 h 697"/>
                  <a:gd name="T78" fmla="*/ 146 w 274"/>
                  <a:gd name="T79" fmla="*/ 168 h 697"/>
                  <a:gd name="T80" fmla="*/ 136 w 274"/>
                  <a:gd name="T81" fmla="*/ 140 h 697"/>
                  <a:gd name="T82" fmla="*/ 166 w 274"/>
                  <a:gd name="T83" fmla="*/ 140 h 697"/>
                  <a:gd name="T84" fmla="*/ 154 w 274"/>
                  <a:gd name="T85" fmla="*/ 168 h 697"/>
                  <a:gd name="T86" fmla="*/ 174 w 274"/>
                  <a:gd name="T87" fmla="*/ 168 h 697"/>
                  <a:gd name="T88" fmla="*/ 186 w 274"/>
                  <a:gd name="T89" fmla="*/ 140 h 697"/>
                  <a:gd name="T90" fmla="*/ 174 w 274"/>
                  <a:gd name="T91" fmla="*/ 168 h 697"/>
                  <a:gd name="T92" fmla="*/ 94 w 274"/>
                  <a:gd name="T93" fmla="*/ 140 h 697"/>
                  <a:gd name="T94" fmla="*/ 106 w 274"/>
                  <a:gd name="T95" fmla="*/ 168 h 697"/>
                  <a:gd name="T96" fmla="*/ 120 w 274"/>
                  <a:gd name="T97" fmla="*/ 186 h 697"/>
                  <a:gd name="T98" fmla="*/ 158 w 274"/>
                  <a:gd name="T99" fmla="*/ 204 h 697"/>
                  <a:gd name="T100" fmla="*/ 120 w 274"/>
                  <a:gd name="T101" fmla="*/ 186 h 697"/>
                  <a:gd name="T102" fmla="*/ 70 w 274"/>
                  <a:gd name="T103" fmla="*/ 258 h 697"/>
                  <a:gd name="T104" fmla="*/ 96 w 274"/>
                  <a:gd name="T105" fmla="*/ 212 h 697"/>
                  <a:gd name="T106" fmla="*/ 70 w 274"/>
                  <a:gd name="T107" fmla="*/ 258 h 6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74" h="697">
                    <a:moveTo>
                      <a:pt x="274" y="697"/>
                    </a:moveTo>
                    <a:lnTo>
                      <a:pt x="256" y="603"/>
                    </a:lnTo>
                    <a:lnTo>
                      <a:pt x="248" y="603"/>
                    </a:lnTo>
                    <a:lnTo>
                      <a:pt x="232" y="483"/>
                    </a:lnTo>
                    <a:lnTo>
                      <a:pt x="220" y="483"/>
                    </a:lnTo>
                    <a:lnTo>
                      <a:pt x="200" y="314"/>
                    </a:lnTo>
                    <a:lnTo>
                      <a:pt x="220" y="258"/>
                    </a:lnTo>
                    <a:lnTo>
                      <a:pt x="220" y="258"/>
                    </a:lnTo>
                    <a:lnTo>
                      <a:pt x="220" y="258"/>
                    </a:lnTo>
                    <a:lnTo>
                      <a:pt x="220" y="204"/>
                    </a:lnTo>
                    <a:lnTo>
                      <a:pt x="184" y="204"/>
                    </a:lnTo>
                    <a:lnTo>
                      <a:pt x="184" y="186"/>
                    </a:lnTo>
                    <a:lnTo>
                      <a:pt x="208" y="186"/>
                    </a:lnTo>
                    <a:lnTo>
                      <a:pt x="208" y="168"/>
                    </a:lnTo>
                    <a:lnTo>
                      <a:pt x="194" y="168"/>
                    </a:lnTo>
                    <a:lnTo>
                      <a:pt x="194" y="132"/>
                    </a:lnTo>
                    <a:lnTo>
                      <a:pt x="194" y="132"/>
                    </a:lnTo>
                    <a:lnTo>
                      <a:pt x="194" y="132"/>
                    </a:lnTo>
                    <a:lnTo>
                      <a:pt x="192" y="120"/>
                    </a:lnTo>
                    <a:lnTo>
                      <a:pt x="190" y="110"/>
                    </a:lnTo>
                    <a:lnTo>
                      <a:pt x="186" y="100"/>
                    </a:lnTo>
                    <a:lnTo>
                      <a:pt x="182" y="92"/>
                    </a:lnTo>
                    <a:lnTo>
                      <a:pt x="176" y="84"/>
                    </a:lnTo>
                    <a:lnTo>
                      <a:pt x="168" y="78"/>
                    </a:lnTo>
                    <a:lnTo>
                      <a:pt x="160" y="74"/>
                    </a:lnTo>
                    <a:lnTo>
                      <a:pt x="152" y="70"/>
                    </a:lnTo>
                    <a:lnTo>
                      <a:pt x="152" y="48"/>
                    </a:lnTo>
                    <a:lnTo>
                      <a:pt x="144" y="48"/>
                    </a:lnTo>
                    <a:lnTo>
                      <a:pt x="144" y="0"/>
                    </a:lnTo>
                    <a:lnTo>
                      <a:pt x="136" y="0"/>
                    </a:lnTo>
                    <a:lnTo>
                      <a:pt x="136" y="48"/>
                    </a:lnTo>
                    <a:lnTo>
                      <a:pt x="128" y="48"/>
                    </a:lnTo>
                    <a:lnTo>
                      <a:pt x="128" y="70"/>
                    </a:lnTo>
                    <a:lnTo>
                      <a:pt x="128" y="70"/>
                    </a:lnTo>
                    <a:lnTo>
                      <a:pt x="120" y="74"/>
                    </a:lnTo>
                    <a:lnTo>
                      <a:pt x="112" y="78"/>
                    </a:lnTo>
                    <a:lnTo>
                      <a:pt x="106" y="84"/>
                    </a:lnTo>
                    <a:lnTo>
                      <a:pt x="100" y="92"/>
                    </a:lnTo>
                    <a:lnTo>
                      <a:pt x="94" y="100"/>
                    </a:lnTo>
                    <a:lnTo>
                      <a:pt x="92" y="110"/>
                    </a:lnTo>
                    <a:lnTo>
                      <a:pt x="88" y="120"/>
                    </a:lnTo>
                    <a:lnTo>
                      <a:pt x="88" y="132"/>
                    </a:lnTo>
                    <a:lnTo>
                      <a:pt x="86" y="132"/>
                    </a:lnTo>
                    <a:lnTo>
                      <a:pt x="86" y="168"/>
                    </a:lnTo>
                    <a:lnTo>
                      <a:pt x="72" y="168"/>
                    </a:lnTo>
                    <a:lnTo>
                      <a:pt x="72" y="186"/>
                    </a:lnTo>
                    <a:lnTo>
                      <a:pt x="96" y="186"/>
                    </a:lnTo>
                    <a:lnTo>
                      <a:pt x="96" y="204"/>
                    </a:lnTo>
                    <a:lnTo>
                      <a:pt x="62" y="204"/>
                    </a:lnTo>
                    <a:lnTo>
                      <a:pt x="62" y="258"/>
                    </a:lnTo>
                    <a:lnTo>
                      <a:pt x="62" y="258"/>
                    </a:lnTo>
                    <a:lnTo>
                      <a:pt x="58" y="258"/>
                    </a:lnTo>
                    <a:lnTo>
                      <a:pt x="84" y="314"/>
                    </a:lnTo>
                    <a:lnTo>
                      <a:pt x="70" y="483"/>
                    </a:lnTo>
                    <a:lnTo>
                      <a:pt x="56" y="483"/>
                    </a:lnTo>
                    <a:lnTo>
                      <a:pt x="36" y="603"/>
                    </a:lnTo>
                    <a:lnTo>
                      <a:pt x="0" y="603"/>
                    </a:lnTo>
                    <a:lnTo>
                      <a:pt x="0" y="647"/>
                    </a:lnTo>
                    <a:lnTo>
                      <a:pt x="20" y="647"/>
                    </a:lnTo>
                    <a:lnTo>
                      <a:pt x="20" y="697"/>
                    </a:lnTo>
                    <a:lnTo>
                      <a:pt x="274" y="697"/>
                    </a:lnTo>
                    <a:close/>
                    <a:moveTo>
                      <a:pt x="120" y="258"/>
                    </a:moveTo>
                    <a:lnTo>
                      <a:pt x="120" y="212"/>
                    </a:lnTo>
                    <a:lnTo>
                      <a:pt x="158" y="212"/>
                    </a:lnTo>
                    <a:lnTo>
                      <a:pt x="158" y="258"/>
                    </a:lnTo>
                    <a:lnTo>
                      <a:pt x="120" y="258"/>
                    </a:lnTo>
                    <a:close/>
                    <a:moveTo>
                      <a:pt x="212" y="212"/>
                    </a:moveTo>
                    <a:lnTo>
                      <a:pt x="212" y="258"/>
                    </a:lnTo>
                    <a:lnTo>
                      <a:pt x="212" y="258"/>
                    </a:lnTo>
                    <a:lnTo>
                      <a:pt x="184" y="258"/>
                    </a:lnTo>
                    <a:lnTo>
                      <a:pt x="184" y="212"/>
                    </a:lnTo>
                    <a:lnTo>
                      <a:pt x="212" y="212"/>
                    </a:lnTo>
                    <a:close/>
                    <a:moveTo>
                      <a:pt x="128" y="140"/>
                    </a:moveTo>
                    <a:lnTo>
                      <a:pt x="128" y="168"/>
                    </a:lnTo>
                    <a:lnTo>
                      <a:pt x="114" y="168"/>
                    </a:lnTo>
                    <a:lnTo>
                      <a:pt x="114" y="140"/>
                    </a:lnTo>
                    <a:lnTo>
                      <a:pt x="128" y="140"/>
                    </a:lnTo>
                    <a:close/>
                    <a:moveTo>
                      <a:pt x="136" y="140"/>
                    </a:moveTo>
                    <a:lnTo>
                      <a:pt x="146" y="140"/>
                    </a:lnTo>
                    <a:lnTo>
                      <a:pt x="146" y="168"/>
                    </a:lnTo>
                    <a:lnTo>
                      <a:pt x="136" y="168"/>
                    </a:lnTo>
                    <a:lnTo>
                      <a:pt x="136" y="140"/>
                    </a:lnTo>
                    <a:close/>
                    <a:moveTo>
                      <a:pt x="154" y="140"/>
                    </a:moveTo>
                    <a:lnTo>
                      <a:pt x="166" y="140"/>
                    </a:lnTo>
                    <a:lnTo>
                      <a:pt x="166" y="168"/>
                    </a:lnTo>
                    <a:lnTo>
                      <a:pt x="154" y="168"/>
                    </a:lnTo>
                    <a:lnTo>
                      <a:pt x="154" y="140"/>
                    </a:lnTo>
                    <a:close/>
                    <a:moveTo>
                      <a:pt x="174" y="168"/>
                    </a:moveTo>
                    <a:lnTo>
                      <a:pt x="174" y="140"/>
                    </a:lnTo>
                    <a:lnTo>
                      <a:pt x="186" y="140"/>
                    </a:lnTo>
                    <a:lnTo>
                      <a:pt x="186" y="168"/>
                    </a:lnTo>
                    <a:lnTo>
                      <a:pt x="174" y="168"/>
                    </a:lnTo>
                    <a:close/>
                    <a:moveTo>
                      <a:pt x="94" y="168"/>
                    </a:moveTo>
                    <a:lnTo>
                      <a:pt x="94" y="140"/>
                    </a:lnTo>
                    <a:lnTo>
                      <a:pt x="106" y="140"/>
                    </a:lnTo>
                    <a:lnTo>
                      <a:pt x="106" y="168"/>
                    </a:lnTo>
                    <a:lnTo>
                      <a:pt x="94" y="168"/>
                    </a:lnTo>
                    <a:close/>
                    <a:moveTo>
                      <a:pt x="120" y="186"/>
                    </a:moveTo>
                    <a:lnTo>
                      <a:pt x="158" y="186"/>
                    </a:lnTo>
                    <a:lnTo>
                      <a:pt x="158" y="204"/>
                    </a:lnTo>
                    <a:lnTo>
                      <a:pt x="120" y="204"/>
                    </a:lnTo>
                    <a:lnTo>
                      <a:pt x="120" y="186"/>
                    </a:lnTo>
                    <a:close/>
                    <a:moveTo>
                      <a:pt x="70" y="258"/>
                    </a:moveTo>
                    <a:lnTo>
                      <a:pt x="70" y="258"/>
                    </a:lnTo>
                    <a:lnTo>
                      <a:pt x="70" y="212"/>
                    </a:lnTo>
                    <a:lnTo>
                      <a:pt x="96" y="212"/>
                    </a:lnTo>
                    <a:lnTo>
                      <a:pt x="96" y="258"/>
                    </a:lnTo>
                    <a:lnTo>
                      <a:pt x="70" y="258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6" name="Freeform 187"/>
              <p:cNvSpPr>
                <a:spLocks/>
              </p:cNvSpPr>
              <p:nvPr/>
            </p:nvSpPr>
            <p:spPr bwMode="auto">
              <a:xfrm>
                <a:off x="11715512" y="6769338"/>
                <a:ext cx="329892" cy="632054"/>
              </a:xfrm>
              <a:custGeom>
                <a:avLst/>
                <a:gdLst>
                  <a:gd name="T0" fmla="*/ 335 w 345"/>
                  <a:gd name="T1" fmla="*/ 619 h 661"/>
                  <a:gd name="T2" fmla="*/ 329 w 345"/>
                  <a:gd name="T3" fmla="*/ 597 h 661"/>
                  <a:gd name="T4" fmla="*/ 321 w 345"/>
                  <a:gd name="T5" fmla="*/ 599 h 661"/>
                  <a:gd name="T6" fmla="*/ 319 w 345"/>
                  <a:gd name="T7" fmla="*/ 609 h 661"/>
                  <a:gd name="T8" fmla="*/ 313 w 345"/>
                  <a:gd name="T9" fmla="*/ 577 h 661"/>
                  <a:gd name="T10" fmla="*/ 305 w 345"/>
                  <a:gd name="T11" fmla="*/ 575 h 661"/>
                  <a:gd name="T12" fmla="*/ 303 w 345"/>
                  <a:gd name="T13" fmla="*/ 583 h 661"/>
                  <a:gd name="T14" fmla="*/ 297 w 345"/>
                  <a:gd name="T15" fmla="*/ 563 h 661"/>
                  <a:gd name="T16" fmla="*/ 291 w 345"/>
                  <a:gd name="T17" fmla="*/ 561 h 661"/>
                  <a:gd name="T18" fmla="*/ 285 w 345"/>
                  <a:gd name="T19" fmla="*/ 583 h 661"/>
                  <a:gd name="T20" fmla="*/ 217 w 345"/>
                  <a:gd name="T21" fmla="*/ 232 h 661"/>
                  <a:gd name="T22" fmla="*/ 211 w 345"/>
                  <a:gd name="T23" fmla="*/ 214 h 661"/>
                  <a:gd name="T24" fmla="*/ 207 w 345"/>
                  <a:gd name="T25" fmla="*/ 130 h 661"/>
                  <a:gd name="T26" fmla="*/ 197 w 345"/>
                  <a:gd name="T27" fmla="*/ 96 h 661"/>
                  <a:gd name="T28" fmla="*/ 195 w 345"/>
                  <a:gd name="T29" fmla="*/ 86 h 661"/>
                  <a:gd name="T30" fmla="*/ 195 w 345"/>
                  <a:gd name="T31" fmla="*/ 72 h 661"/>
                  <a:gd name="T32" fmla="*/ 255 w 345"/>
                  <a:gd name="T33" fmla="*/ 56 h 661"/>
                  <a:gd name="T34" fmla="*/ 269 w 345"/>
                  <a:gd name="T35" fmla="*/ 54 h 661"/>
                  <a:gd name="T36" fmla="*/ 281 w 345"/>
                  <a:gd name="T37" fmla="*/ 52 h 661"/>
                  <a:gd name="T38" fmla="*/ 293 w 345"/>
                  <a:gd name="T39" fmla="*/ 48 h 661"/>
                  <a:gd name="T40" fmla="*/ 283 w 345"/>
                  <a:gd name="T41" fmla="*/ 40 h 661"/>
                  <a:gd name="T42" fmla="*/ 279 w 345"/>
                  <a:gd name="T43" fmla="*/ 36 h 661"/>
                  <a:gd name="T44" fmla="*/ 263 w 345"/>
                  <a:gd name="T45" fmla="*/ 40 h 661"/>
                  <a:gd name="T46" fmla="*/ 225 w 345"/>
                  <a:gd name="T47" fmla="*/ 44 h 661"/>
                  <a:gd name="T48" fmla="*/ 211 w 345"/>
                  <a:gd name="T49" fmla="*/ 38 h 661"/>
                  <a:gd name="T50" fmla="*/ 201 w 345"/>
                  <a:gd name="T51" fmla="*/ 36 h 661"/>
                  <a:gd name="T52" fmla="*/ 191 w 345"/>
                  <a:gd name="T53" fmla="*/ 20 h 661"/>
                  <a:gd name="T54" fmla="*/ 187 w 345"/>
                  <a:gd name="T55" fmla="*/ 6 h 661"/>
                  <a:gd name="T56" fmla="*/ 173 w 345"/>
                  <a:gd name="T57" fmla="*/ 0 h 661"/>
                  <a:gd name="T58" fmla="*/ 158 w 345"/>
                  <a:gd name="T59" fmla="*/ 8 h 661"/>
                  <a:gd name="T60" fmla="*/ 154 w 345"/>
                  <a:gd name="T61" fmla="*/ 24 h 661"/>
                  <a:gd name="T62" fmla="*/ 146 w 345"/>
                  <a:gd name="T63" fmla="*/ 36 h 661"/>
                  <a:gd name="T64" fmla="*/ 136 w 345"/>
                  <a:gd name="T65" fmla="*/ 38 h 661"/>
                  <a:gd name="T66" fmla="*/ 122 w 345"/>
                  <a:gd name="T67" fmla="*/ 44 h 661"/>
                  <a:gd name="T68" fmla="*/ 84 w 345"/>
                  <a:gd name="T69" fmla="*/ 40 h 661"/>
                  <a:gd name="T70" fmla="*/ 68 w 345"/>
                  <a:gd name="T71" fmla="*/ 36 h 661"/>
                  <a:gd name="T72" fmla="*/ 64 w 345"/>
                  <a:gd name="T73" fmla="*/ 40 h 661"/>
                  <a:gd name="T74" fmla="*/ 54 w 345"/>
                  <a:gd name="T75" fmla="*/ 48 h 661"/>
                  <a:gd name="T76" fmla="*/ 66 w 345"/>
                  <a:gd name="T77" fmla="*/ 52 h 661"/>
                  <a:gd name="T78" fmla="*/ 78 w 345"/>
                  <a:gd name="T79" fmla="*/ 54 h 661"/>
                  <a:gd name="T80" fmla="*/ 90 w 345"/>
                  <a:gd name="T81" fmla="*/ 56 h 661"/>
                  <a:gd name="T82" fmla="*/ 150 w 345"/>
                  <a:gd name="T83" fmla="*/ 72 h 661"/>
                  <a:gd name="T84" fmla="*/ 152 w 345"/>
                  <a:gd name="T85" fmla="*/ 82 h 661"/>
                  <a:gd name="T86" fmla="*/ 154 w 345"/>
                  <a:gd name="T87" fmla="*/ 84 h 661"/>
                  <a:gd name="T88" fmla="*/ 140 w 345"/>
                  <a:gd name="T89" fmla="*/ 128 h 661"/>
                  <a:gd name="T90" fmla="*/ 136 w 345"/>
                  <a:gd name="T91" fmla="*/ 184 h 661"/>
                  <a:gd name="T92" fmla="*/ 130 w 345"/>
                  <a:gd name="T93" fmla="*/ 232 h 661"/>
                  <a:gd name="T94" fmla="*/ 64 w 345"/>
                  <a:gd name="T95" fmla="*/ 583 h 661"/>
                  <a:gd name="T96" fmla="*/ 60 w 345"/>
                  <a:gd name="T97" fmla="*/ 563 h 661"/>
                  <a:gd name="T98" fmla="*/ 52 w 345"/>
                  <a:gd name="T99" fmla="*/ 561 h 661"/>
                  <a:gd name="T100" fmla="*/ 46 w 345"/>
                  <a:gd name="T101" fmla="*/ 583 h 661"/>
                  <a:gd name="T102" fmla="*/ 46 w 345"/>
                  <a:gd name="T103" fmla="*/ 589 h 661"/>
                  <a:gd name="T104" fmla="*/ 40 w 345"/>
                  <a:gd name="T105" fmla="*/ 575 h 661"/>
                  <a:gd name="T106" fmla="*/ 34 w 345"/>
                  <a:gd name="T107" fmla="*/ 577 h 661"/>
                  <a:gd name="T108" fmla="*/ 30 w 345"/>
                  <a:gd name="T109" fmla="*/ 597 h 661"/>
                  <a:gd name="T110" fmla="*/ 24 w 345"/>
                  <a:gd name="T111" fmla="*/ 599 h 661"/>
                  <a:gd name="T112" fmla="*/ 20 w 345"/>
                  <a:gd name="T113" fmla="*/ 595 h 661"/>
                  <a:gd name="T114" fmla="*/ 16 w 345"/>
                  <a:gd name="T115" fmla="*/ 599 h 661"/>
                  <a:gd name="T116" fmla="*/ 8 w 345"/>
                  <a:gd name="T117" fmla="*/ 639 h 661"/>
                  <a:gd name="T118" fmla="*/ 345 w 345"/>
                  <a:gd name="T119" fmla="*/ 661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45" h="661">
                    <a:moveTo>
                      <a:pt x="337" y="639"/>
                    </a:moveTo>
                    <a:lnTo>
                      <a:pt x="337" y="639"/>
                    </a:lnTo>
                    <a:lnTo>
                      <a:pt x="335" y="619"/>
                    </a:lnTo>
                    <a:lnTo>
                      <a:pt x="329" y="599"/>
                    </a:lnTo>
                    <a:lnTo>
                      <a:pt x="329" y="599"/>
                    </a:lnTo>
                    <a:lnTo>
                      <a:pt x="329" y="597"/>
                    </a:lnTo>
                    <a:lnTo>
                      <a:pt x="325" y="595"/>
                    </a:lnTo>
                    <a:lnTo>
                      <a:pt x="323" y="597"/>
                    </a:lnTo>
                    <a:lnTo>
                      <a:pt x="321" y="599"/>
                    </a:lnTo>
                    <a:lnTo>
                      <a:pt x="321" y="599"/>
                    </a:lnTo>
                    <a:lnTo>
                      <a:pt x="319" y="609"/>
                    </a:lnTo>
                    <a:lnTo>
                      <a:pt x="319" y="609"/>
                    </a:lnTo>
                    <a:lnTo>
                      <a:pt x="317" y="593"/>
                    </a:lnTo>
                    <a:lnTo>
                      <a:pt x="313" y="577"/>
                    </a:lnTo>
                    <a:lnTo>
                      <a:pt x="313" y="577"/>
                    </a:lnTo>
                    <a:lnTo>
                      <a:pt x="311" y="575"/>
                    </a:lnTo>
                    <a:lnTo>
                      <a:pt x="309" y="575"/>
                    </a:lnTo>
                    <a:lnTo>
                      <a:pt x="305" y="575"/>
                    </a:lnTo>
                    <a:lnTo>
                      <a:pt x="305" y="577"/>
                    </a:lnTo>
                    <a:lnTo>
                      <a:pt x="305" y="577"/>
                    </a:lnTo>
                    <a:lnTo>
                      <a:pt x="303" y="583"/>
                    </a:lnTo>
                    <a:lnTo>
                      <a:pt x="303" y="583"/>
                    </a:lnTo>
                    <a:lnTo>
                      <a:pt x="297" y="563"/>
                    </a:lnTo>
                    <a:lnTo>
                      <a:pt x="297" y="563"/>
                    </a:lnTo>
                    <a:lnTo>
                      <a:pt x="295" y="561"/>
                    </a:lnTo>
                    <a:lnTo>
                      <a:pt x="293" y="561"/>
                    </a:lnTo>
                    <a:lnTo>
                      <a:pt x="291" y="561"/>
                    </a:lnTo>
                    <a:lnTo>
                      <a:pt x="289" y="563"/>
                    </a:lnTo>
                    <a:lnTo>
                      <a:pt x="289" y="563"/>
                    </a:lnTo>
                    <a:lnTo>
                      <a:pt x="285" y="583"/>
                    </a:lnTo>
                    <a:lnTo>
                      <a:pt x="235" y="583"/>
                    </a:lnTo>
                    <a:lnTo>
                      <a:pt x="223" y="232"/>
                    </a:lnTo>
                    <a:lnTo>
                      <a:pt x="217" y="232"/>
                    </a:lnTo>
                    <a:lnTo>
                      <a:pt x="217" y="214"/>
                    </a:lnTo>
                    <a:lnTo>
                      <a:pt x="211" y="214"/>
                    </a:lnTo>
                    <a:lnTo>
                      <a:pt x="211" y="214"/>
                    </a:lnTo>
                    <a:lnTo>
                      <a:pt x="211" y="186"/>
                    </a:lnTo>
                    <a:lnTo>
                      <a:pt x="209" y="160"/>
                    </a:lnTo>
                    <a:lnTo>
                      <a:pt x="207" y="130"/>
                    </a:lnTo>
                    <a:lnTo>
                      <a:pt x="207" y="130"/>
                    </a:lnTo>
                    <a:lnTo>
                      <a:pt x="201" y="108"/>
                    </a:lnTo>
                    <a:lnTo>
                      <a:pt x="197" y="96"/>
                    </a:lnTo>
                    <a:lnTo>
                      <a:pt x="193" y="86"/>
                    </a:lnTo>
                    <a:lnTo>
                      <a:pt x="193" y="86"/>
                    </a:lnTo>
                    <a:lnTo>
                      <a:pt x="195" y="86"/>
                    </a:lnTo>
                    <a:lnTo>
                      <a:pt x="195" y="84"/>
                    </a:lnTo>
                    <a:lnTo>
                      <a:pt x="195" y="72"/>
                    </a:lnTo>
                    <a:lnTo>
                      <a:pt x="195" y="72"/>
                    </a:lnTo>
                    <a:lnTo>
                      <a:pt x="223" y="66"/>
                    </a:lnTo>
                    <a:lnTo>
                      <a:pt x="247" y="60"/>
                    </a:lnTo>
                    <a:lnTo>
                      <a:pt x="255" y="56"/>
                    </a:lnTo>
                    <a:lnTo>
                      <a:pt x="263" y="52"/>
                    </a:lnTo>
                    <a:lnTo>
                      <a:pt x="263" y="52"/>
                    </a:lnTo>
                    <a:lnTo>
                      <a:pt x="269" y="54"/>
                    </a:lnTo>
                    <a:lnTo>
                      <a:pt x="275" y="54"/>
                    </a:lnTo>
                    <a:lnTo>
                      <a:pt x="281" y="52"/>
                    </a:lnTo>
                    <a:lnTo>
                      <a:pt x="281" y="52"/>
                    </a:lnTo>
                    <a:lnTo>
                      <a:pt x="293" y="50"/>
                    </a:lnTo>
                    <a:lnTo>
                      <a:pt x="293" y="50"/>
                    </a:lnTo>
                    <a:lnTo>
                      <a:pt x="293" y="48"/>
                    </a:lnTo>
                    <a:lnTo>
                      <a:pt x="293" y="44"/>
                    </a:lnTo>
                    <a:lnTo>
                      <a:pt x="291" y="42"/>
                    </a:lnTo>
                    <a:lnTo>
                      <a:pt x="283" y="40"/>
                    </a:lnTo>
                    <a:lnTo>
                      <a:pt x="283" y="40"/>
                    </a:lnTo>
                    <a:lnTo>
                      <a:pt x="281" y="36"/>
                    </a:lnTo>
                    <a:lnTo>
                      <a:pt x="279" y="36"/>
                    </a:lnTo>
                    <a:lnTo>
                      <a:pt x="273" y="38"/>
                    </a:lnTo>
                    <a:lnTo>
                      <a:pt x="273" y="38"/>
                    </a:lnTo>
                    <a:lnTo>
                      <a:pt x="263" y="40"/>
                    </a:lnTo>
                    <a:lnTo>
                      <a:pt x="263" y="40"/>
                    </a:lnTo>
                    <a:lnTo>
                      <a:pt x="241" y="42"/>
                    </a:lnTo>
                    <a:lnTo>
                      <a:pt x="225" y="44"/>
                    </a:lnTo>
                    <a:lnTo>
                      <a:pt x="215" y="42"/>
                    </a:lnTo>
                    <a:lnTo>
                      <a:pt x="215" y="42"/>
                    </a:lnTo>
                    <a:lnTo>
                      <a:pt x="211" y="38"/>
                    </a:lnTo>
                    <a:lnTo>
                      <a:pt x="207" y="36"/>
                    </a:lnTo>
                    <a:lnTo>
                      <a:pt x="201" y="36"/>
                    </a:lnTo>
                    <a:lnTo>
                      <a:pt x="201" y="36"/>
                    </a:lnTo>
                    <a:lnTo>
                      <a:pt x="191" y="36"/>
                    </a:lnTo>
                    <a:lnTo>
                      <a:pt x="191" y="36"/>
                    </a:lnTo>
                    <a:lnTo>
                      <a:pt x="191" y="20"/>
                    </a:lnTo>
                    <a:lnTo>
                      <a:pt x="191" y="20"/>
                    </a:lnTo>
                    <a:lnTo>
                      <a:pt x="191" y="12"/>
                    </a:lnTo>
                    <a:lnTo>
                      <a:pt x="187" y="6"/>
                    </a:lnTo>
                    <a:lnTo>
                      <a:pt x="181" y="2"/>
                    </a:lnTo>
                    <a:lnTo>
                      <a:pt x="173" y="0"/>
                    </a:lnTo>
                    <a:lnTo>
                      <a:pt x="173" y="0"/>
                    </a:lnTo>
                    <a:lnTo>
                      <a:pt x="168" y="0"/>
                    </a:lnTo>
                    <a:lnTo>
                      <a:pt x="164" y="2"/>
                    </a:lnTo>
                    <a:lnTo>
                      <a:pt x="158" y="8"/>
                    </a:lnTo>
                    <a:lnTo>
                      <a:pt x="156" y="14"/>
                    </a:lnTo>
                    <a:lnTo>
                      <a:pt x="154" y="24"/>
                    </a:lnTo>
                    <a:lnTo>
                      <a:pt x="154" y="24"/>
                    </a:lnTo>
                    <a:lnTo>
                      <a:pt x="158" y="36"/>
                    </a:lnTo>
                    <a:lnTo>
                      <a:pt x="158" y="36"/>
                    </a:lnTo>
                    <a:lnTo>
                      <a:pt x="146" y="36"/>
                    </a:lnTo>
                    <a:lnTo>
                      <a:pt x="146" y="36"/>
                    </a:lnTo>
                    <a:lnTo>
                      <a:pt x="140" y="36"/>
                    </a:lnTo>
                    <a:lnTo>
                      <a:pt x="136" y="38"/>
                    </a:lnTo>
                    <a:lnTo>
                      <a:pt x="130" y="42"/>
                    </a:lnTo>
                    <a:lnTo>
                      <a:pt x="130" y="42"/>
                    </a:lnTo>
                    <a:lnTo>
                      <a:pt x="122" y="44"/>
                    </a:lnTo>
                    <a:lnTo>
                      <a:pt x="106" y="42"/>
                    </a:lnTo>
                    <a:lnTo>
                      <a:pt x="84" y="40"/>
                    </a:lnTo>
                    <a:lnTo>
                      <a:pt x="84" y="40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68" y="36"/>
                    </a:lnTo>
                    <a:lnTo>
                      <a:pt x="64" y="36"/>
                    </a:lnTo>
                    <a:lnTo>
                      <a:pt x="64" y="40"/>
                    </a:lnTo>
                    <a:lnTo>
                      <a:pt x="64" y="40"/>
                    </a:lnTo>
                    <a:lnTo>
                      <a:pt x="56" y="42"/>
                    </a:lnTo>
                    <a:lnTo>
                      <a:pt x="54" y="44"/>
                    </a:lnTo>
                    <a:lnTo>
                      <a:pt x="54" y="48"/>
                    </a:lnTo>
                    <a:lnTo>
                      <a:pt x="54" y="50"/>
                    </a:lnTo>
                    <a:lnTo>
                      <a:pt x="54" y="50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72" y="54"/>
                    </a:lnTo>
                    <a:lnTo>
                      <a:pt x="78" y="54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90" y="56"/>
                    </a:lnTo>
                    <a:lnTo>
                      <a:pt x="100" y="60"/>
                    </a:lnTo>
                    <a:lnTo>
                      <a:pt x="122" y="66"/>
                    </a:lnTo>
                    <a:lnTo>
                      <a:pt x="150" y="72"/>
                    </a:lnTo>
                    <a:lnTo>
                      <a:pt x="150" y="72"/>
                    </a:lnTo>
                    <a:lnTo>
                      <a:pt x="150" y="78"/>
                    </a:lnTo>
                    <a:lnTo>
                      <a:pt x="152" y="82"/>
                    </a:lnTo>
                    <a:lnTo>
                      <a:pt x="152" y="84"/>
                    </a:lnTo>
                    <a:lnTo>
                      <a:pt x="154" y="84"/>
                    </a:lnTo>
                    <a:lnTo>
                      <a:pt x="154" y="84"/>
                    </a:lnTo>
                    <a:lnTo>
                      <a:pt x="148" y="94"/>
                    </a:lnTo>
                    <a:lnTo>
                      <a:pt x="144" y="106"/>
                    </a:lnTo>
                    <a:lnTo>
                      <a:pt x="140" y="128"/>
                    </a:lnTo>
                    <a:lnTo>
                      <a:pt x="140" y="128"/>
                    </a:lnTo>
                    <a:lnTo>
                      <a:pt x="136" y="156"/>
                    </a:lnTo>
                    <a:lnTo>
                      <a:pt x="136" y="184"/>
                    </a:lnTo>
                    <a:lnTo>
                      <a:pt x="136" y="214"/>
                    </a:lnTo>
                    <a:lnTo>
                      <a:pt x="130" y="214"/>
                    </a:lnTo>
                    <a:lnTo>
                      <a:pt x="130" y="232"/>
                    </a:lnTo>
                    <a:lnTo>
                      <a:pt x="120" y="232"/>
                    </a:lnTo>
                    <a:lnTo>
                      <a:pt x="114" y="583"/>
                    </a:lnTo>
                    <a:lnTo>
                      <a:pt x="64" y="583"/>
                    </a:lnTo>
                    <a:lnTo>
                      <a:pt x="64" y="583"/>
                    </a:lnTo>
                    <a:lnTo>
                      <a:pt x="60" y="563"/>
                    </a:lnTo>
                    <a:lnTo>
                      <a:pt x="60" y="563"/>
                    </a:lnTo>
                    <a:lnTo>
                      <a:pt x="58" y="561"/>
                    </a:lnTo>
                    <a:lnTo>
                      <a:pt x="56" y="561"/>
                    </a:lnTo>
                    <a:lnTo>
                      <a:pt x="52" y="561"/>
                    </a:lnTo>
                    <a:lnTo>
                      <a:pt x="52" y="563"/>
                    </a:lnTo>
                    <a:lnTo>
                      <a:pt x="52" y="563"/>
                    </a:lnTo>
                    <a:lnTo>
                      <a:pt x="46" y="583"/>
                    </a:lnTo>
                    <a:lnTo>
                      <a:pt x="46" y="583"/>
                    </a:lnTo>
                    <a:lnTo>
                      <a:pt x="46" y="589"/>
                    </a:lnTo>
                    <a:lnTo>
                      <a:pt x="46" y="589"/>
                    </a:lnTo>
                    <a:lnTo>
                      <a:pt x="42" y="577"/>
                    </a:lnTo>
                    <a:lnTo>
                      <a:pt x="42" y="577"/>
                    </a:lnTo>
                    <a:lnTo>
                      <a:pt x="40" y="575"/>
                    </a:lnTo>
                    <a:lnTo>
                      <a:pt x="38" y="575"/>
                    </a:lnTo>
                    <a:lnTo>
                      <a:pt x="36" y="575"/>
                    </a:lnTo>
                    <a:lnTo>
                      <a:pt x="34" y="577"/>
                    </a:lnTo>
                    <a:lnTo>
                      <a:pt x="34" y="577"/>
                    </a:lnTo>
                    <a:lnTo>
                      <a:pt x="30" y="597"/>
                    </a:lnTo>
                    <a:lnTo>
                      <a:pt x="30" y="597"/>
                    </a:lnTo>
                    <a:lnTo>
                      <a:pt x="28" y="609"/>
                    </a:lnTo>
                    <a:lnTo>
                      <a:pt x="28" y="609"/>
                    </a:lnTo>
                    <a:lnTo>
                      <a:pt x="24" y="599"/>
                    </a:lnTo>
                    <a:lnTo>
                      <a:pt x="24" y="599"/>
                    </a:lnTo>
                    <a:lnTo>
                      <a:pt x="24" y="597"/>
                    </a:lnTo>
                    <a:lnTo>
                      <a:pt x="20" y="595"/>
                    </a:lnTo>
                    <a:lnTo>
                      <a:pt x="18" y="597"/>
                    </a:lnTo>
                    <a:lnTo>
                      <a:pt x="16" y="599"/>
                    </a:lnTo>
                    <a:lnTo>
                      <a:pt x="16" y="599"/>
                    </a:lnTo>
                    <a:lnTo>
                      <a:pt x="12" y="619"/>
                    </a:lnTo>
                    <a:lnTo>
                      <a:pt x="12" y="619"/>
                    </a:lnTo>
                    <a:lnTo>
                      <a:pt x="8" y="639"/>
                    </a:lnTo>
                    <a:lnTo>
                      <a:pt x="0" y="639"/>
                    </a:lnTo>
                    <a:lnTo>
                      <a:pt x="0" y="661"/>
                    </a:lnTo>
                    <a:lnTo>
                      <a:pt x="345" y="661"/>
                    </a:lnTo>
                    <a:lnTo>
                      <a:pt x="345" y="639"/>
                    </a:lnTo>
                    <a:lnTo>
                      <a:pt x="337" y="639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7" name="Freeform 191"/>
              <p:cNvSpPr>
                <a:spLocks/>
              </p:cNvSpPr>
              <p:nvPr/>
            </p:nvSpPr>
            <p:spPr bwMode="auto">
              <a:xfrm>
                <a:off x="5421891" y="6800691"/>
                <a:ext cx="1283569" cy="610127"/>
              </a:xfrm>
              <a:custGeom>
                <a:avLst/>
                <a:gdLst>
                  <a:gd name="T0" fmla="*/ 42 w 892"/>
                  <a:gd name="T1" fmla="*/ 424 h 424"/>
                  <a:gd name="T2" fmla="*/ 40 w 892"/>
                  <a:gd name="T3" fmla="*/ 424 h 424"/>
                  <a:gd name="T4" fmla="*/ 6 w 892"/>
                  <a:gd name="T5" fmla="*/ 400 h 424"/>
                  <a:gd name="T6" fmla="*/ 2 w 892"/>
                  <a:gd name="T7" fmla="*/ 394 h 424"/>
                  <a:gd name="T8" fmla="*/ 0 w 892"/>
                  <a:gd name="T9" fmla="*/ 386 h 424"/>
                  <a:gd name="T10" fmla="*/ 2 w 892"/>
                  <a:gd name="T11" fmla="*/ 382 h 424"/>
                  <a:gd name="T12" fmla="*/ 8 w 892"/>
                  <a:gd name="T13" fmla="*/ 376 h 424"/>
                  <a:gd name="T14" fmla="*/ 14 w 892"/>
                  <a:gd name="T15" fmla="*/ 376 h 424"/>
                  <a:gd name="T16" fmla="*/ 86 w 892"/>
                  <a:gd name="T17" fmla="*/ 360 h 424"/>
                  <a:gd name="T18" fmla="*/ 110 w 892"/>
                  <a:gd name="T19" fmla="*/ 356 h 424"/>
                  <a:gd name="T20" fmla="*/ 136 w 892"/>
                  <a:gd name="T21" fmla="*/ 350 h 424"/>
                  <a:gd name="T22" fmla="*/ 182 w 892"/>
                  <a:gd name="T23" fmla="*/ 334 h 424"/>
                  <a:gd name="T24" fmla="*/ 242 w 892"/>
                  <a:gd name="T25" fmla="*/ 304 h 424"/>
                  <a:gd name="T26" fmla="*/ 310 w 892"/>
                  <a:gd name="T27" fmla="*/ 254 h 424"/>
                  <a:gd name="T28" fmla="*/ 364 w 892"/>
                  <a:gd name="T29" fmla="*/ 198 h 424"/>
                  <a:gd name="T30" fmla="*/ 404 w 892"/>
                  <a:gd name="T31" fmla="*/ 142 h 424"/>
                  <a:gd name="T32" fmla="*/ 432 w 892"/>
                  <a:gd name="T33" fmla="*/ 94 h 424"/>
                  <a:gd name="T34" fmla="*/ 454 w 892"/>
                  <a:gd name="T35" fmla="*/ 40 h 424"/>
                  <a:gd name="T36" fmla="*/ 458 w 892"/>
                  <a:gd name="T37" fmla="*/ 28 h 424"/>
                  <a:gd name="T38" fmla="*/ 462 w 892"/>
                  <a:gd name="T39" fmla="*/ 26 h 424"/>
                  <a:gd name="T40" fmla="*/ 476 w 892"/>
                  <a:gd name="T41" fmla="*/ 22 h 424"/>
                  <a:gd name="T42" fmla="*/ 506 w 892"/>
                  <a:gd name="T43" fmla="*/ 10 h 424"/>
                  <a:gd name="T44" fmla="*/ 522 w 892"/>
                  <a:gd name="T45" fmla="*/ 0 h 424"/>
                  <a:gd name="T46" fmla="*/ 522 w 892"/>
                  <a:gd name="T47" fmla="*/ 0 h 424"/>
                  <a:gd name="T48" fmla="*/ 530 w 892"/>
                  <a:gd name="T49" fmla="*/ 2 h 424"/>
                  <a:gd name="T50" fmla="*/ 532 w 892"/>
                  <a:gd name="T51" fmla="*/ 6 h 424"/>
                  <a:gd name="T52" fmla="*/ 532 w 892"/>
                  <a:gd name="T53" fmla="*/ 10 h 424"/>
                  <a:gd name="T54" fmla="*/ 432 w 892"/>
                  <a:gd name="T55" fmla="*/ 198 h 424"/>
                  <a:gd name="T56" fmla="*/ 396 w 892"/>
                  <a:gd name="T57" fmla="*/ 282 h 424"/>
                  <a:gd name="T58" fmla="*/ 366 w 892"/>
                  <a:gd name="T59" fmla="*/ 362 h 424"/>
                  <a:gd name="T60" fmla="*/ 888 w 892"/>
                  <a:gd name="T61" fmla="*/ 392 h 424"/>
                  <a:gd name="T62" fmla="*/ 892 w 892"/>
                  <a:gd name="T63" fmla="*/ 396 h 424"/>
                  <a:gd name="T64" fmla="*/ 892 w 892"/>
                  <a:gd name="T65" fmla="*/ 420 h 424"/>
                  <a:gd name="T66" fmla="*/ 888 w 892"/>
                  <a:gd name="T67" fmla="*/ 424 h 4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92" h="424">
                    <a:moveTo>
                      <a:pt x="888" y="424"/>
                    </a:moveTo>
                    <a:lnTo>
                      <a:pt x="42" y="424"/>
                    </a:lnTo>
                    <a:lnTo>
                      <a:pt x="42" y="424"/>
                    </a:lnTo>
                    <a:lnTo>
                      <a:pt x="40" y="424"/>
                    </a:lnTo>
                    <a:lnTo>
                      <a:pt x="6" y="400"/>
                    </a:lnTo>
                    <a:lnTo>
                      <a:pt x="6" y="400"/>
                    </a:lnTo>
                    <a:lnTo>
                      <a:pt x="4" y="398"/>
                    </a:lnTo>
                    <a:lnTo>
                      <a:pt x="2" y="394"/>
                    </a:lnTo>
                    <a:lnTo>
                      <a:pt x="0" y="390"/>
                    </a:lnTo>
                    <a:lnTo>
                      <a:pt x="0" y="386"/>
                    </a:lnTo>
                    <a:lnTo>
                      <a:pt x="0" y="386"/>
                    </a:lnTo>
                    <a:lnTo>
                      <a:pt x="2" y="382"/>
                    </a:lnTo>
                    <a:lnTo>
                      <a:pt x="6" y="378"/>
                    </a:lnTo>
                    <a:lnTo>
                      <a:pt x="8" y="376"/>
                    </a:lnTo>
                    <a:lnTo>
                      <a:pt x="14" y="376"/>
                    </a:lnTo>
                    <a:lnTo>
                      <a:pt x="14" y="376"/>
                    </a:lnTo>
                    <a:lnTo>
                      <a:pt x="44" y="370"/>
                    </a:lnTo>
                    <a:lnTo>
                      <a:pt x="86" y="360"/>
                    </a:lnTo>
                    <a:lnTo>
                      <a:pt x="86" y="360"/>
                    </a:lnTo>
                    <a:lnTo>
                      <a:pt x="110" y="356"/>
                    </a:lnTo>
                    <a:lnTo>
                      <a:pt x="110" y="356"/>
                    </a:lnTo>
                    <a:lnTo>
                      <a:pt x="136" y="350"/>
                    </a:lnTo>
                    <a:lnTo>
                      <a:pt x="158" y="342"/>
                    </a:lnTo>
                    <a:lnTo>
                      <a:pt x="182" y="334"/>
                    </a:lnTo>
                    <a:lnTo>
                      <a:pt x="204" y="324"/>
                    </a:lnTo>
                    <a:lnTo>
                      <a:pt x="242" y="304"/>
                    </a:lnTo>
                    <a:lnTo>
                      <a:pt x="278" y="280"/>
                    </a:lnTo>
                    <a:lnTo>
                      <a:pt x="310" y="254"/>
                    </a:lnTo>
                    <a:lnTo>
                      <a:pt x="340" y="226"/>
                    </a:lnTo>
                    <a:lnTo>
                      <a:pt x="364" y="198"/>
                    </a:lnTo>
                    <a:lnTo>
                      <a:pt x="386" y="170"/>
                    </a:lnTo>
                    <a:lnTo>
                      <a:pt x="404" y="142"/>
                    </a:lnTo>
                    <a:lnTo>
                      <a:pt x="420" y="116"/>
                    </a:lnTo>
                    <a:lnTo>
                      <a:pt x="432" y="94"/>
                    </a:lnTo>
                    <a:lnTo>
                      <a:pt x="442" y="72"/>
                    </a:lnTo>
                    <a:lnTo>
                      <a:pt x="454" y="40"/>
                    </a:lnTo>
                    <a:lnTo>
                      <a:pt x="458" y="28"/>
                    </a:lnTo>
                    <a:lnTo>
                      <a:pt x="458" y="28"/>
                    </a:lnTo>
                    <a:lnTo>
                      <a:pt x="460" y="26"/>
                    </a:lnTo>
                    <a:lnTo>
                      <a:pt x="462" y="26"/>
                    </a:lnTo>
                    <a:lnTo>
                      <a:pt x="462" y="26"/>
                    </a:lnTo>
                    <a:lnTo>
                      <a:pt x="476" y="22"/>
                    </a:lnTo>
                    <a:lnTo>
                      <a:pt x="492" y="18"/>
                    </a:lnTo>
                    <a:lnTo>
                      <a:pt x="506" y="10"/>
                    </a:lnTo>
                    <a:lnTo>
                      <a:pt x="522" y="0"/>
                    </a:lnTo>
                    <a:lnTo>
                      <a:pt x="522" y="0"/>
                    </a:lnTo>
                    <a:lnTo>
                      <a:pt x="522" y="0"/>
                    </a:lnTo>
                    <a:lnTo>
                      <a:pt x="522" y="0"/>
                    </a:lnTo>
                    <a:lnTo>
                      <a:pt x="526" y="0"/>
                    </a:lnTo>
                    <a:lnTo>
                      <a:pt x="530" y="2"/>
                    </a:lnTo>
                    <a:lnTo>
                      <a:pt x="530" y="2"/>
                    </a:lnTo>
                    <a:lnTo>
                      <a:pt x="532" y="6"/>
                    </a:lnTo>
                    <a:lnTo>
                      <a:pt x="532" y="10"/>
                    </a:lnTo>
                    <a:lnTo>
                      <a:pt x="532" y="10"/>
                    </a:lnTo>
                    <a:lnTo>
                      <a:pt x="478" y="108"/>
                    </a:lnTo>
                    <a:lnTo>
                      <a:pt x="432" y="198"/>
                    </a:lnTo>
                    <a:lnTo>
                      <a:pt x="414" y="240"/>
                    </a:lnTo>
                    <a:lnTo>
                      <a:pt x="396" y="282"/>
                    </a:lnTo>
                    <a:lnTo>
                      <a:pt x="380" y="322"/>
                    </a:lnTo>
                    <a:lnTo>
                      <a:pt x="366" y="362"/>
                    </a:lnTo>
                    <a:lnTo>
                      <a:pt x="888" y="392"/>
                    </a:lnTo>
                    <a:lnTo>
                      <a:pt x="888" y="392"/>
                    </a:lnTo>
                    <a:lnTo>
                      <a:pt x="890" y="392"/>
                    </a:lnTo>
                    <a:lnTo>
                      <a:pt x="892" y="396"/>
                    </a:lnTo>
                    <a:lnTo>
                      <a:pt x="892" y="420"/>
                    </a:lnTo>
                    <a:lnTo>
                      <a:pt x="892" y="420"/>
                    </a:lnTo>
                    <a:lnTo>
                      <a:pt x="890" y="424"/>
                    </a:lnTo>
                    <a:lnTo>
                      <a:pt x="888" y="424"/>
                    </a:lnTo>
                    <a:lnTo>
                      <a:pt x="888" y="424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8" name="Freeform 195"/>
              <p:cNvSpPr>
                <a:spLocks/>
              </p:cNvSpPr>
              <p:nvPr/>
            </p:nvSpPr>
            <p:spPr bwMode="auto">
              <a:xfrm>
                <a:off x="2520797" y="7026108"/>
                <a:ext cx="2101850" cy="528637"/>
              </a:xfrm>
              <a:custGeom>
                <a:avLst/>
                <a:gdLst>
                  <a:gd name="T0" fmla="*/ 1324 w 1324"/>
                  <a:gd name="T1" fmla="*/ 195 h 333"/>
                  <a:gd name="T2" fmla="*/ 1016 w 1324"/>
                  <a:gd name="T3" fmla="*/ 195 h 333"/>
                  <a:gd name="T4" fmla="*/ 1016 w 1324"/>
                  <a:gd name="T5" fmla="*/ 0 h 333"/>
                  <a:gd name="T6" fmla="*/ 980 w 1324"/>
                  <a:gd name="T7" fmla="*/ 0 h 333"/>
                  <a:gd name="T8" fmla="*/ 980 w 1324"/>
                  <a:gd name="T9" fmla="*/ 195 h 333"/>
                  <a:gd name="T10" fmla="*/ 362 w 1324"/>
                  <a:gd name="T11" fmla="*/ 195 h 333"/>
                  <a:gd name="T12" fmla="*/ 362 w 1324"/>
                  <a:gd name="T13" fmla="*/ 0 h 333"/>
                  <a:gd name="T14" fmla="*/ 328 w 1324"/>
                  <a:gd name="T15" fmla="*/ 0 h 333"/>
                  <a:gd name="T16" fmla="*/ 328 w 1324"/>
                  <a:gd name="T17" fmla="*/ 195 h 333"/>
                  <a:gd name="T18" fmla="*/ 0 w 1324"/>
                  <a:gd name="T19" fmla="*/ 195 h 333"/>
                  <a:gd name="T20" fmla="*/ 0 w 1324"/>
                  <a:gd name="T21" fmla="*/ 219 h 333"/>
                  <a:gd name="T22" fmla="*/ 328 w 1324"/>
                  <a:gd name="T23" fmla="*/ 219 h 333"/>
                  <a:gd name="T24" fmla="*/ 328 w 1324"/>
                  <a:gd name="T25" fmla="*/ 333 h 333"/>
                  <a:gd name="T26" fmla="*/ 362 w 1324"/>
                  <a:gd name="T27" fmla="*/ 333 h 333"/>
                  <a:gd name="T28" fmla="*/ 362 w 1324"/>
                  <a:gd name="T29" fmla="*/ 219 h 333"/>
                  <a:gd name="T30" fmla="*/ 980 w 1324"/>
                  <a:gd name="T31" fmla="*/ 219 h 333"/>
                  <a:gd name="T32" fmla="*/ 980 w 1324"/>
                  <a:gd name="T33" fmla="*/ 333 h 333"/>
                  <a:gd name="T34" fmla="*/ 1016 w 1324"/>
                  <a:gd name="T35" fmla="*/ 333 h 333"/>
                  <a:gd name="T36" fmla="*/ 1016 w 1324"/>
                  <a:gd name="T37" fmla="*/ 219 h 333"/>
                  <a:gd name="T38" fmla="*/ 1324 w 1324"/>
                  <a:gd name="T39" fmla="*/ 219 h 333"/>
                  <a:gd name="T40" fmla="*/ 1324 w 1324"/>
                  <a:gd name="T41" fmla="*/ 195 h 3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24" h="333">
                    <a:moveTo>
                      <a:pt x="1324" y="195"/>
                    </a:moveTo>
                    <a:lnTo>
                      <a:pt x="1016" y="195"/>
                    </a:lnTo>
                    <a:lnTo>
                      <a:pt x="1016" y="0"/>
                    </a:lnTo>
                    <a:lnTo>
                      <a:pt x="980" y="0"/>
                    </a:lnTo>
                    <a:lnTo>
                      <a:pt x="980" y="195"/>
                    </a:lnTo>
                    <a:lnTo>
                      <a:pt x="362" y="195"/>
                    </a:lnTo>
                    <a:lnTo>
                      <a:pt x="362" y="0"/>
                    </a:lnTo>
                    <a:lnTo>
                      <a:pt x="328" y="0"/>
                    </a:lnTo>
                    <a:lnTo>
                      <a:pt x="328" y="195"/>
                    </a:lnTo>
                    <a:lnTo>
                      <a:pt x="0" y="195"/>
                    </a:lnTo>
                    <a:lnTo>
                      <a:pt x="0" y="219"/>
                    </a:lnTo>
                    <a:lnTo>
                      <a:pt x="328" y="219"/>
                    </a:lnTo>
                    <a:lnTo>
                      <a:pt x="328" y="333"/>
                    </a:lnTo>
                    <a:lnTo>
                      <a:pt x="362" y="333"/>
                    </a:lnTo>
                    <a:lnTo>
                      <a:pt x="362" y="219"/>
                    </a:lnTo>
                    <a:lnTo>
                      <a:pt x="980" y="219"/>
                    </a:lnTo>
                    <a:lnTo>
                      <a:pt x="980" y="333"/>
                    </a:lnTo>
                    <a:lnTo>
                      <a:pt x="1016" y="333"/>
                    </a:lnTo>
                    <a:lnTo>
                      <a:pt x="1016" y="219"/>
                    </a:lnTo>
                    <a:lnTo>
                      <a:pt x="1324" y="219"/>
                    </a:lnTo>
                    <a:lnTo>
                      <a:pt x="1324" y="195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9" name="Freeform 196"/>
              <p:cNvSpPr>
                <a:spLocks/>
              </p:cNvSpPr>
              <p:nvPr/>
            </p:nvSpPr>
            <p:spPr bwMode="auto">
              <a:xfrm>
                <a:off x="2616047" y="7061033"/>
                <a:ext cx="450850" cy="274637"/>
              </a:xfrm>
              <a:custGeom>
                <a:avLst/>
                <a:gdLst>
                  <a:gd name="T0" fmla="*/ 0 w 284"/>
                  <a:gd name="T1" fmla="*/ 173 h 173"/>
                  <a:gd name="T2" fmla="*/ 284 w 284"/>
                  <a:gd name="T3" fmla="*/ 0 h 173"/>
                  <a:gd name="T4" fmla="*/ 58 w 284"/>
                  <a:gd name="T5" fmla="*/ 173 h 173"/>
                  <a:gd name="T6" fmla="*/ 108 w 284"/>
                  <a:gd name="T7" fmla="*/ 173 h 173"/>
                  <a:gd name="T8" fmla="*/ 284 w 284"/>
                  <a:gd name="T9" fmla="*/ 0 h 173"/>
                  <a:gd name="T10" fmla="*/ 284 w 284"/>
                  <a:gd name="T11" fmla="*/ 0 h 173"/>
                  <a:gd name="T12" fmla="*/ 158 w 284"/>
                  <a:gd name="T13" fmla="*/ 173 h 173"/>
                  <a:gd name="T14" fmla="*/ 202 w 284"/>
                  <a:gd name="T15" fmla="*/ 173 h 173"/>
                  <a:gd name="T16" fmla="*/ 284 w 284"/>
                  <a:gd name="T17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4" h="173">
                    <a:moveTo>
                      <a:pt x="0" y="173"/>
                    </a:moveTo>
                    <a:lnTo>
                      <a:pt x="284" y="0"/>
                    </a:lnTo>
                    <a:lnTo>
                      <a:pt x="58" y="173"/>
                    </a:lnTo>
                    <a:lnTo>
                      <a:pt x="108" y="173"/>
                    </a:lnTo>
                    <a:lnTo>
                      <a:pt x="284" y="0"/>
                    </a:lnTo>
                    <a:lnTo>
                      <a:pt x="284" y="0"/>
                    </a:lnTo>
                    <a:lnTo>
                      <a:pt x="158" y="173"/>
                    </a:lnTo>
                    <a:lnTo>
                      <a:pt x="202" y="173"/>
                    </a:lnTo>
                    <a:lnTo>
                      <a:pt x="284" y="0"/>
                    </a:lnTo>
                  </a:path>
                </a:pathLst>
              </a:custGeom>
              <a:noFill/>
              <a:ln w="12700" cap="rnd">
                <a:solidFill>
                  <a:srgbClr val="84E0F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0" name="Freeform 197"/>
              <p:cNvSpPr>
                <a:spLocks/>
              </p:cNvSpPr>
              <p:nvPr/>
            </p:nvSpPr>
            <p:spPr bwMode="auto">
              <a:xfrm>
                <a:off x="3066897" y="7061033"/>
                <a:ext cx="450850" cy="274637"/>
              </a:xfrm>
              <a:custGeom>
                <a:avLst/>
                <a:gdLst>
                  <a:gd name="T0" fmla="*/ 284 w 284"/>
                  <a:gd name="T1" fmla="*/ 173 h 173"/>
                  <a:gd name="T2" fmla="*/ 0 w 284"/>
                  <a:gd name="T3" fmla="*/ 0 h 173"/>
                  <a:gd name="T4" fmla="*/ 226 w 284"/>
                  <a:gd name="T5" fmla="*/ 173 h 173"/>
                  <a:gd name="T6" fmla="*/ 178 w 284"/>
                  <a:gd name="T7" fmla="*/ 173 h 173"/>
                  <a:gd name="T8" fmla="*/ 0 w 284"/>
                  <a:gd name="T9" fmla="*/ 0 h 173"/>
                  <a:gd name="T10" fmla="*/ 0 w 284"/>
                  <a:gd name="T11" fmla="*/ 0 h 173"/>
                  <a:gd name="T12" fmla="*/ 126 w 284"/>
                  <a:gd name="T13" fmla="*/ 173 h 173"/>
                  <a:gd name="T14" fmla="*/ 82 w 284"/>
                  <a:gd name="T15" fmla="*/ 173 h 173"/>
                  <a:gd name="T16" fmla="*/ 0 w 284"/>
                  <a:gd name="T17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4" h="173">
                    <a:moveTo>
                      <a:pt x="284" y="173"/>
                    </a:moveTo>
                    <a:lnTo>
                      <a:pt x="0" y="0"/>
                    </a:lnTo>
                    <a:lnTo>
                      <a:pt x="226" y="173"/>
                    </a:lnTo>
                    <a:lnTo>
                      <a:pt x="178" y="17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26" y="173"/>
                    </a:lnTo>
                    <a:lnTo>
                      <a:pt x="82" y="173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rgbClr val="84E0F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1" name="Freeform 198"/>
              <p:cNvSpPr>
                <a:spLocks/>
              </p:cNvSpPr>
              <p:nvPr/>
            </p:nvSpPr>
            <p:spPr bwMode="auto">
              <a:xfrm>
                <a:off x="3654272" y="7061033"/>
                <a:ext cx="450850" cy="274637"/>
              </a:xfrm>
              <a:custGeom>
                <a:avLst/>
                <a:gdLst>
                  <a:gd name="T0" fmla="*/ 0 w 284"/>
                  <a:gd name="T1" fmla="*/ 173 h 173"/>
                  <a:gd name="T2" fmla="*/ 284 w 284"/>
                  <a:gd name="T3" fmla="*/ 0 h 173"/>
                  <a:gd name="T4" fmla="*/ 58 w 284"/>
                  <a:gd name="T5" fmla="*/ 173 h 173"/>
                  <a:gd name="T6" fmla="*/ 106 w 284"/>
                  <a:gd name="T7" fmla="*/ 173 h 173"/>
                  <a:gd name="T8" fmla="*/ 284 w 284"/>
                  <a:gd name="T9" fmla="*/ 0 h 173"/>
                  <a:gd name="T10" fmla="*/ 284 w 284"/>
                  <a:gd name="T11" fmla="*/ 0 h 173"/>
                  <a:gd name="T12" fmla="*/ 158 w 284"/>
                  <a:gd name="T13" fmla="*/ 173 h 173"/>
                  <a:gd name="T14" fmla="*/ 202 w 284"/>
                  <a:gd name="T15" fmla="*/ 173 h 173"/>
                  <a:gd name="T16" fmla="*/ 284 w 284"/>
                  <a:gd name="T17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4" h="173">
                    <a:moveTo>
                      <a:pt x="0" y="173"/>
                    </a:moveTo>
                    <a:lnTo>
                      <a:pt x="284" y="0"/>
                    </a:lnTo>
                    <a:lnTo>
                      <a:pt x="58" y="173"/>
                    </a:lnTo>
                    <a:lnTo>
                      <a:pt x="106" y="173"/>
                    </a:lnTo>
                    <a:lnTo>
                      <a:pt x="284" y="0"/>
                    </a:lnTo>
                    <a:lnTo>
                      <a:pt x="284" y="0"/>
                    </a:lnTo>
                    <a:lnTo>
                      <a:pt x="158" y="173"/>
                    </a:lnTo>
                    <a:lnTo>
                      <a:pt x="202" y="173"/>
                    </a:lnTo>
                    <a:lnTo>
                      <a:pt x="284" y="0"/>
                    </a:lnTo>
                  </a:path>
                </a:pathLst>
              </a:custGeom>
              <a:noFill/>
              <a:ln w="12700" cap="rnd">
                <a:solidFill>
                  <a:srgbClr val="84E0F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2" name="Freeform 199"/>
              <p:cNvSpPr>
                <a:spLocks/>
              </p:cNvSpPr>
              <p:nvPr/>
            </p:nvSpPr>
            <p:spPr bwMode="auto">
              <a:xfrm>
                <a:off x="4105122" y="7061033"/>
                <a:ext cx="450850" cy="274637"/>
              </a:xfrm>
              <a:custGeom>
                <a:avLst/>
                <a:gdLst>
                  <a:gd name="T0" fmla="*/ 284 w 284"/>
                  <a:gd name="T1" fmla="*/ 173 h 173"/>
                  <a:gd name="T2" fmla="*/ 0 w 284"/>
                  <a:gd name="T3" fmla="*/ 0 h 173"/>
                  <a:gd name="T4" fmla="*/ 226 w 284"/>
                  <a:gd name="T5" fmla="*/ 173 h 173"/>
                  <a:gd name="T6" fmla="*/ 176 w 284"/>
                  <a:gd name="T7" fmla="*/ 173 h 173"/>
                  <a:gd name="T8" fmla="*/ 0 w 284"/>
                  <a:gd name="T9" fmla="*/ 0 h 173"/>
                  <a:gd name="T10" fmla="*/ 0 w 284"/>
                  <a:gd name="T11" fmla="*/ 0 h 173"/>
                  <a:gd name="T12" fmla="*/ 124 w 284"/>
                  <a:gd name="T13" fmla="*/ 173 h 173"/>
                  <a:gd name="T14" fmla="*/ 82 w 284"/>
                  <a:gd name="T15" fmla="*/ 173 h 173"/>
                  <a:gd name="T16" fmla="*/ 0 w 284"/>
                  <a:gd name="T17" fmla="*/ 0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4" h="173">
                    <a:moveTo>
                      <a:pt x="284" y="173"/>
                    </a:moveTo>
                    <a:lnTo>
                      <a:pt x="0" y="0"/>
                    </a:lnTo>
                    <a:lnTo>
                      <a:pt x="226" y="173"/>
                    </a:lnTo>
                    <a:lnTo>
                      <a:pt x="176" y="17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24" y="173"/>
                    </a:lnTo>
                    <a:lnTo>
                      <a:pt x="82" y="173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rgbClr val="84E0F7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3" name="Freeform 203"/>
              <p:cNvSpPr>
                <a:spLocks/>
              </p:cNvSpPr>
              <p:nvPr/>
            </p:nvSpPr>
            <p:spPr bwMode="auto">
              <a:xfrm>
                <a:off x="7131578" y="6831480"/>
                <a:ext cx="1268412" cy="639763"/>
              </a:xfrm>
              <a:custGeom>
                <a:avLst/>
                <a:gdLst>
                  <a:gd name="T0" fmla="*/ 769 w 799"/>
                  <a:gd name="T1" fmla="*/ 182 h 403"/>
                  <a:gd name="T2" fmla="*/ 737 w 799"/>
                  <a:gd name="T3" fmla="*/ 182 h 403"/>
                  <a:gd name="T4" fmla="*/ 696 w 799"/>
                  <a:gd name="T5" fmla="*/ 243 h 403"/>
                  <a:gd name="T6" fmla="*/ 719 w 799"/>
                  <a:gd name="T7" fmla="*/ 250 h 403"/>
                  <a:gd name="T8" fmla="*/ 681 w 799"/>
                  <a:gd name="T9" fmla="*/ 261 h 403"/>
                  <a:gd name="T10" fmla="*/ 639 w 799"/>
                  <a:gd name="T11" fmla="*/ 240 h 403"/>
                  <a:gd name="T12" fmla="*/ 606 w 799"/>
                  <a:gd name="T13" fmla="*/ 213 h 403"/>
                  <a:gd name="T14" fmla="*/ 577 w 799"/>
                  <a:gd name="T15" fmla="*/ 185 h 403"/>
                  <a:gd name="T16" fmla="*/ 517 w 799"/>
                  <a:gd name="T17" fmla="*/ 149 h 403"/>
                  <a:gd name="T18" fmla="*/ 437 w 799"/>
                  <a:gd name="T19" fmla="*/ 129 h 403"/>
                  <a:gd name="T20" fmla="*/ 452 w 799"/>
                  <a:gd name="T21" fmla="*/ 99 h 403"/>
                  <a:gd name="T22" fmla="*/ 456 w 799"/>
                  <a:gd name="T23" fmla="*/ 91 h 403"/>
                  <a:gd name="T24" fmla="*/ 460 w 799"/>
                  <a:gd name="T25" fmla="*/ 88 h 403"/>
                  <a:gd name="T26" fmla="*/ 459 w 799"/>
                  <a:gd name="T27" fmla="*/ 79 h 403"/>
                  <a:gd name="T28" fmla="*/ 444 w 799"/>
                  <a:gd name="T29" fmla="*/ 79 h 403"/>
                  <a:gd name="T30" fmla="*/ 422 w 799"/>
                  <a:gd name="T31" fmla="*/ 71 h 403"/>
                  <a:gd name="T32" fmla="*/ 411 w 799"/>
                  <a:gd name="T33" fmla="*/ 53 h 403"/>
                  <a:gd name="T34" fmla="*/ 410 w 799"/>
                  <a:gd name="T35" fmla="*/ 47 h 403"/>
                  <a:gd name="T36" fmla="*/ 404 w 799"/>
                  <a:gd name="T37" fmla="*/ 43 h 403"/>
                  <a:gd name="T38" fmla="*/ 403 w 799"/>
                  <a:gd name="T39" fmla="*/ 12 h 403"/>
                  <a:gd name="T40" fmla="*/ 406 w 799"/>
                  <a:gd name="T41" fmla="*/ 9 h 403"/>
                  <a:gd name="T42" fmla="*/ 407 w 799"/>
                  <a:gd name="T43" fmla="*/ 3 h 403"/>
                  <a:gd name="T44" fmla="*/ 403 w 799"/>
                  <a:gd name="T45" fmla="*/ 0 h 403"/>
                  <a:gd name="T46" fmla="*/ 399 w 799"/>
                  <a:gd name="T47" fmla="*/ 0 h 403"/>
                  <a:gd name="T48" fmla="*/ 395 w 799"/>
                  <a:gd name="T49" fmla="*/ 7 h 403"/>
                  <a:gd name="T50" fmla="*/ 397 w 799"/>
                  <a:gd name="T51" fmla="*/ 11 h 403"/>
                  <a:gd name="T52" fmla="*/ 400 w 799"/>
                  <a:gd name="T53" fmla="*/ 43 h 403"/>
                  <a:gd name="T54" fmla="*/ 393 w 799"/>
                  <a:gd name="T55" fmla="*/ 49 h 403"/>
                  <a:gd name="T56" fmla="*/ 392 w 799"/>
                  <a:gd name="T57" fmla="*/ 71 h 403"/>
                  <a:gd name="T58" fmla="*/ 377 w 799"/>
                  <a:gd name="T59" fmla="*/ 71 h 403"/>
                  <a:gd name="T60" fmla="*/ 351 w 799"/>
                  <a:gd name="T61" fmla="*/ 79 h 403"/>
                  <a:gd name="T62" fmla="*/ 340 w 799"/>
                  <a:gd name="T63" fmla="*/ 79 h 403"/>
                  <a:gd name="T64" fmla="*/ 339 w 799"/>
                  <a:gd name="T65" fmla="*/ 88 h 403"/>
                  <a:gd name="T66" fmla="*/ 343 w 799"/>
                  <a:gd name="T67" fmla="*/ 91 h 403"/>
                  <a:gd name="T68" fmla="*/ 351 w 799"/>
                  <a:gd name="T69" fmla="*/ 110 h 403"/>
                  <a:gd name="T70" fmla="*/ 365 w 799"/>
                  <a:gd name="T71" fmla="*/ 129 h 403"/>
                  <a:gd name="T72" fmla="*/ 308 w 799"/>
                  <a:gd name="T73" fmla="*/ 140 h 403"/>
                  <a:gd name="T74" fmla="*/ 240 w 799"/>
                  <a:gd name="T75" fmla="*/ 172 h 403"/>
                  <a:gd name="T76" fmla="*/ 191 w 799"/>
                  <a:gd name="T77" fmla="*/ 213 h 403"/>
                  <a:gd name="T78" fmla="*/ 170 w 799"/>
                  <a:gd name="T79" fmla="*/ 232 h 403"/>
                  <a:gd name="T80" fmla="*/ 121 w 799"/>
                  <a:gd name="T81" fmla="*/ 261 h 403"/>
                  <a:gd name="T82" fmla="*/ 92 w 799"/>
                  <a:gd name="T83" fmla="*/ 250 h 403"/>
                  <a:gd name="T84" fmla="*/ 103 w 799"/>
                  <a:gd name="T85" fmla="*/ 231 h 403"/>
                  <a:gd name="T86" fmla="*/ 73 w 799"/>
                  <a:gd name="T87" fmla="*/ 182 h 403"/>
                  <a:gd name="T88" fmla="*/ 41 w 799"/>
                  <a:gd name="T89" fmla="*/ 182 h 403"/>
                  <a:gd name="T90" fmla="*/ 0 w 799"/>
                  <a:gd name="T91" fmla="*/ 243 h 403"/>
                  <a:gd name="T92" fmla="*/ 19 w 799"/>
                  <a:gd name="T93" fmla="*/ 250 h 403"/>
                  <a:gd name="T94" fmla="*/ 784 w 799"/>
                  <a:gd name="T95" fmla="*/ 250 h 403"/>
                  <a:gd name="T96" fmla="*/ 799 w 799"/>
                  <a:gd name="T97" fmla="*/ 243 h 4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799" h="403">
                    <a:moveTo>
                      <a:pt x="785" y="231"/>
                    </a:moveTo>
                    <a:lnTo>
                      <a:pt x="760" y="182"/>
                    </a:lnTo>
                    <a:lnTo>
                      <a:pt x="769" y="182"/>
                    </a:lnTo>
                    <a:lnTo>
                      <a:pt x="747" y="153"/>
                    </a:lnTo>
                    <a:lnTo>
                      <a:pt x="727" y="183"/>
                    </a:lnTo>
                    <a:lnTo>
                      <a:pt x="737" y="182"/>
                    </a:lnTo>
                    <a:lnTo>
                      <a:pt x="711" y="231"/>
                    </a:lnTo>
                    <a:lnTo>
                      <a:pt x="696" y="231"/>
                    </a:lnTo>
                    <a:lnTo>
                      <a:pt x="696" y="243"/>
                    </a:lnTo>
                    <a:lnTo>
                      <a:pt x="707" y="243"/>
                    </a:lnTo>
                    <a:lnTo>
                      <a:pt x="707" y="250"/>
                    </a:lnTo>
                    <a:lnTo>
                      <a:pt x="719" y="250"/>
                    </a:lnTo>
                    <a:lnTo>
                      <a:pt x="719" y="261"/>
                    </a:lnTo>
                    <a:lnTo>
                      <a:pt x="681" y="261"/>
                    </a:lnTo>
                    <a:lnTo>
                      <a:pt x="681" y="261"/>
                    </a:lnTo>
                    <a:lnTo>
                      <a:pt x="666" y="255"/>
                    </a:lnTo>
                    <a:lnTo>
                      <a:pt x="650" y="246"/>
                    </a:lnTo>
                    <a:lnTo>
                      <a:pt x="639" y="240"/>
                    </a:lnTo>
                    <a:lnTo>
                      <a:pt x="629" y="232"/>
                    </a:lnTo>
                    <a:lnTo>
                      <a:pt x="619" y="223"/>
                    </a:lnTo>
                    <a:lnTo>
                      <a:pt x="606" y="213"/>
                    </a:lnTo>
                    <a:lnTo>
                      <a:pt x="606" y="213"/>
                    </a:lnTo>
                    <a:lnTo>
                      <a:pt x="591" y="198"/>
                    </a:lnTo>
                    <a:lnTo>
                      <a:pt x="577" y="185"/>
                    </a:lnTo>
                    <a:lnTo>
                      <a:pt x="559" y="171"/>
                    </a:lnTo>
                    <a:lnTo>
                      <a:pt x="539" y="159"/>
                    </a:lnTo>
                    <a:lnTo>
                      <a:pt x="517" y="149"/>
                    </a:lnTo>
                    <a:lnTo>
                      <a:pt x="494" y="140"/>
                    </a:lnTo>
                    <a:lnTo>
                      <a:pt x="467" y="133"/>
                    </a:lnTo>
                    <a:lnTo>
                      <a:pt x="437" y="129"/>
                    </a:lnTo>
                    <a:lnTo>
                      <a:pt x="437" y="110"/>
                    </a:lnTo>
                    <a:lnTo>
                      <a:pt x="448" y="110"/>
                    </a:lnTo>
                    <a:lnTo>
                      <a:pt x="452" y="99"/>
                    </a:lnTo>
                    <a:lnTo>
                      <a:pt x="456" y="99"/>
                    </a:lnTo>
                    <a:lnTo>
                      <a:pt x="456" y="91"/>
                    </a:lnTo>
                    <a:lnTo>
                      <a:pt x="456" y="91"/>
                    </a:lnTo>
                    <a:lnTo>
                      <a:pt x="456" y="91"/>
                    </a:lnTo>
                    <a:lnTo>
                      <a:pt x="459" y="90"/>
                    </a:lnTo>
                    <a:lnTo>
                      <a:pt x="460" y="88"/>
                    </a:lnTo>
                    <a:lnTo>
                      <a:pt x="460" y="81"/>
                    </a:lnTo>
                    <a:lnTo>
                      <a:pt x="460" y="81"/>
                    </a:lnTo>
                    <a:lnTo>
                      <a:pt x="459" y="79"/>
                    </a:lnTo>
                    <a:lnTo>
                      <a:pt x="456" y="79"/>
                    </a:lnTo>
                    <a:lnTo>
                      <a:pt x="444" y="79"/>
                    </a:lnTo>
                    <a:lnTo>
                      <a:pt x="444" y="79"/>
                    </a:lnTo>
                    <a:lnTo>
                      <a:pt x="434" y="73"/>
                    </a:lnTo>
                    <a:lnTo>
                      <a:pt x="427" y="71"/>
                    </a:lnTo>
                    <a:lnTo>
                      <a:pt x="422" y="71"/>
                    </a:lnTo>
                    <a:lnTo>
                      <a:pt x="422" y="71"/>
                    </a:lnTo>
                    <a:lnTo>
                      <a:pt x="411" y="71"/>
                    </a:lnTo>
                    <a:lnTo>
                      <a:pt x="411" y="53"/>
                    </a:lnTo>
                    <a:lnTo>
                      <a:pt x="411" y="53"/>
                    </a:lnTo>
                    <a:lnTo>
                      <a:pt x="411" y="50"/>
                    </a:lnTo>
                    <a:lnTo>
                      <a:pt x="410" y="47"/>
                    </a:lnTo>
                    <a:lnTo>
                      <a:pt x="407" y="45"/>
                    </a:lnTo>
                    <a:lnTo>
                      <a:pt x="404" y="43"/>
                    </a:lnTo>
                    <a:lnTo>
                      <a:pt x="404" y="43"/>
                    </a:lnTo>
                    <a:lnTo>
                      <a:pt x="403" y="43"/>
                    </a:lnTo>
                    <a:lnTo>
                      <a:pt x="403" y="12"/>
                    </a:lnTo>
                    <a:lnTo>
                      <a:pt x="403" y="12"/>
                    </a:lnTo>
                    <a:lnTo>
                      <a:pt x="404" y="11"/>
                    </a:lnTo>
                    <a:lnTo>
                      <a:pt x="404" y="11"/>
                    </a:lnTo>
                    <a:lnTo>
                      <a:pt x="406" y="9"/>
                    </a:lnTo>
                    <a:lnTo>
                      <a:pt x="407" y="8"/>
                    </a:lnTo>
                    <a:lnTo>
                      <a:pt x="407" y="5"/>
                    </a:lnTo>
                    <a:lnTo>
                      <a:pt x="407" y="3"/>
                    </a:lnTo>
                    <a:lnTo>
                      <a:pt x="407" y="3"/>
                    </a:lnTo>
                    <a:lnTo>
                      <a:pt x="406" y="1"/>
                    </a:lnTo>
                    <a:lnTo>
                      <a:pt x="403" y="0"/>
                    </a:lnTo>
                    <a:lnTo>
                      <a:pt x="400" y="0"/>
                    </a:lnTo>
                    <a:lnTo>
                      <a:pt x="399" y="0"/>
                    </a:lnTo>
                    <a:lnTo>
                      <a:pt x="399" y="0"/>
                    </a:lnTo>
                    <a:lnTo>
                      <a:pt x="396" y="3"/>
                    </a:lnTo>
                    <a:lnTo>
                      <a:pt x="395" y="4"/>
                    </a:lnTo>
                    <a:lnTo>
                      <a:pt x="395" y="7"/>
                    </a:lnTo>
                    <a:lnTo>
                      <a:pt x="396" y="9"/>
                    </a:lnTo>
                    <a:lnTo>
                      <a:pt x="396" y="9"/>
                    </a:lnTo>
                    <a:lnTo>
                      <a:pt x="397" y="11"/>
                    </a:lnTo>
                    <a:lnTo>
                      <a:pt x="400" y="12"/>
                    </a:lnTo>
                    <a:lnTo>
                      <a:pt x="400" y="43"/>
                    </a:lnTo>
                    <a:lnTo>
                      <a:pt x="400" y="43"/>
                    </a:lnTo>
                    <a:lnTo>
                      <a:pt x="396" y="45"/>
                    </a:lnTo>
                    <a:lnTo>
                      <a:pt x="393" y="49"/>
                    </a:lnTo>
                    <a:lnTo>
                      <a:pt x="393" y="49"/>
                    </a:lnTo>
                    <a:lnTo>
                      <a:pt x="392" y="52"/>
                    </a:lnTo>
                    <a:lnTo>
                      <a:pt x="392" y="52"/>
                    </a:lnTo>
                    <a:lnTo>
                      <a:pt x="392" y="71"/>
                    </a:lnTo>
                    <a:lnTo>
                      <a:pt x="392" y="71"/>
                    </a:lnTo>
                    <a:lnTo>
                      <a:pt x="377" y="71"/>
                    </a:lnTo>
                    <a:lnTo>
                      <a:pt x="377" y="71"/>
                    </a:lnTo>
                    <a:lnTo>
                      <a:pt x="368" y="71"/>
                    </a:lnTo>
                    <a:lnTo>
                      <a:pt x="361" y="73"/>
                    </a:lnTo>
                    <a:lnTo>
                      <a:pt x="351" y="79"/>
                    </a:lnTo>
                    <a:lnTo>
                      <a:pt x="343" y="79"/>
                    </a:lnTo>
                    <a:lnTo>
                      <a:pt x="343" y="79"/>
                    </a:lnTo>
                    <a:lnTo>
                      <a:pt x="340" y="79"/>
                    </a:lnTo>
                    <a:lnTo>
                      <a:pt x="339" y="81"/>
                    </a:lnTo>
                    <a:lnTo>
                      <a:pt x="339" y="88"/>
                    </a:lnTo>
                    <a:lnTo>
                      <a:pt x="339" y="88"/>
                    </a:lnTo>
                    <a:lnTo>
                      <a:pt x="340" y="90"/>
                    </a:lnTo>
                    <a:lnTo>
                      <a:pt x="343" y="91"/>
                    </a:lnTo>
                    <a:lnTo>
                      <a:pt x="343" y="91"/>
                    </a:lnTo>
                    <a:lnTo>
                      <a:pt x="343" y="99"/>
                    </a:lnTo>
                    <a:lnTo>
                      <a:pt x="347" y="99"/>
                    </a:lnTo>
                    <a:lnTo>
                      <a:pt x="351" y="110"/>
                    </a:lnTo>
                    <a:lnTo>
                      <a:pt x="364" y="110"/>
                    </a:lnTo>
                    <a:lnTo>
                      <a:pt x="364" y="129"/>
                    </a:lnTo>
                    <a:lnTo>
                      <a:pt x="365" y="129"/>
                    </a:lnTo>
                    <a:lnTo>
                      <a:pt x="365" y="129"/>
                    </a:lnTo>
                    <a:lnTo>
                      <a:pt x="335" y="133"/>
                    </a:lnTo>
                    <a:lnTo>
                      <a:pt x="308" y="140"/>
                    </a:lnTo>
                    <a:lnTo>
                      <a:pt x="284" y="149"/>
                    </a:lnTo>
                    <a:lnTo>
                      <a:pt x="260" y="160"/>
                    </a:lnTo>
                    <a:lnTo>
                      <a:pt x="240" y="172"/>
                    </a:lnTo>
                    <a:lnTo>
                      <a:pt x="222" y="185"/>
                    </a:lnTo>
                    <a:lnTo>
                      <a:pt x="206" y="198"/>
                    </a:lnTo>
                    <a:lnTo>
                      <a:pt x="191" y="213"/>
                    </a:lnTo>
                    <a:lnTo>
                      <a:pt x="191" y="213"/>
                    </a:lnTo>
                    <a:lnTo>
                      <a:pt x="180" y="224"/>
                    </a:lnTo>
                    <a:lnTo>
                      <a:pt x="170" y="232"/>
                    </a:lnTo>
                    <a:lnTo>
                      <a:pt x="151" y="247"/>
                    </a:lnTo>
                    <a:lnTo>
                      <a:pt x="134" y="255"/>
                    </a:lnTo>
                    <a:lnTo>
                      <a:pt x="121" y="261"/>
                    </a:lnTo>
                    <a:lnTo>
                      <a:pt x="85" y="261"/>
                    </a:lnTo>
                    <a:lnTo>
                      <a:pt x="85" y="250"/>
                    </a:lnTo>
                    <a:lnTo>
                      <a:pt x="92" y="250"/>
                    </a:lnTo>
                    <a:lnTo>
                      <a:pt x="92" y="243"/>
                    </a:lnTo>
                    <a:lnTo>
                      <a:pt x="103" y="243"/>
                    </a:lnTo>
                    <a:lnTo>
                      <a:pt x="103" y="231"/>
                    </a:lnTo>
                    <a:lnTo>
                      <a:pt x="88" y="231"/>
                    </a:lnTo>
                    <a:lnTo>
                      <a:pt x="62" y="182"/>
                    </a:lnTo>
                    <a:lnTo>
                      <a:pt x="73" y="182"/>
                    </a:lnTo>
                    <a:lnTo>
                      <a:pt x="52" y="153"/>
                    </a:lnTo>
                    <a:lnTo>
                      <a:pt x="31" y="183"/>
                    </a:lnTo>
                    <a:lnTo>
                      <a:pt x="41" y="182"/>
                    </a:lnTo>
                    <a:lnTo>
                      <a:pt x="14" y="231"/>
                    </a:lnTo>
                    <a:lnTo>
                      <a:pt x="0" y="231"/>
                    </a:lnTo>
                    <a:lnTo>
                      <a:pt x="0" y="243"/>
                    </a:lnTo>
                    <a:lnTo>
                      <a:pt x="11" y="243"/>
                    </a:lnTo>
                    <a:lnTo>
                      <a:pt x="11" y="250"/>
                    </a:lnTo>
                    <a:lnTo>
                      <a:pt x="19" y="250"/>
                    </a:lnTo>
                    <a:lnTo>
                      <a:pt x="19" y="403"/>
                    </a:lnTo>
                    <a:lnTo>
                      <a:pt x="784" y="403"/>
                    </a:lnTo>
                    <a:lnTo>
                      <a:pt x="784" y="250"/>
                    </a:lnTo>
                    <a:lnTo>
                      <a:pt x="788" y="250"/>
                    </a:lnTo>
                    <a:lnTo>
                      <a:pt x="788" y="243"/>
                    </a:lnTo>
                    <a:lnTo>
                      <a:pt x="799" y="243"/>
                    </a:lnTo>
                    <a:lnTo>
                      <a:pt x="799" y="231"/>
                    </a:lnTo>
                    <a:lnTo>
                      <a:pt x="785" y="231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4" name="Freeform 208"/>
              <p:cNvSpPr>
                <a:spLocks/>
              </p:cNvSpPr>
              <p:nvPr/>
            </p:nvSpPr>
            <p:spPr bwMode="auto">
              <a:xfrm>
                <a:off x="4731578" y="6887702"/>
                <a:ext cx="605993" cy="559017"/>
              </a:xfrm>
              <a:custGeom>
                <a:avLst/>
                <a:gdLst>
                  <a:gd name="T0" fmla="*/ 486 w 516"/>
                  <a:gd name="T1" fmla="*/ 372 h 476"/>
                  <a:gd name="T2" fmla="*/ 486 w 516"/>
                  <a:gd name="T3" fmla="*/ 330 h 476"/>
                  <a:gd name="T4" fmla="*/ 486 w 516"/>
                  <a:gd name="T5" fmla="*/ 228 h 476"/>
                  <a:gd name="T6" fmla="*/ 486 w 516"/>
                  <a:gd name="T7" fmla="*/ 172 h 476"/>
                  <a:gd name="T8" fmla="*/ 486 w 516"/>
                  <a:gd name="T9" fmla="*/ 172 h 476"/>
                  <a:gd name="T10" fmla="*/ 486 w 516"/>
                  <a:gd name="T11" fmla="*/ 170 h 476"/>
                  <a:gd name="T12" fmla="*/ 484 w 516"/>
                  <a:gd name="T13" fmla="*/ 168 h 476"/>
                  <a:gd name="T14" fmla="*/ 482 w 516"/>
                  <a:gd name="T15" fmla="*/ 168 h 476"/>
                  <a:gd name="T16" fmla="*/ 478 w 516"/>
                  <a:gd name="T17" fmla="*/ 168 h 476"/>
                  <a:gd name="T18" fmla="*/ 418 w 516"/>
                  <a:gd name="T19" fmla="*/ 226 h 476"/>
                  <a:gd name="T20" fmla="*/ 410 w 516"/>
                  <a:gd name="T21" fmla="*/ 68 h 476"/>
                  <a:gd name="T22" fmla="*/ 370 w 516"/>
                  <a:gd name="T23" fmla="*/ 68 h 476"/>
                  <a:gd name="T24" fmla="*/ 366 w 516"/>
                  <a:gd name="T25" fmla="*/ 172 h 476"/>
                  <a:gd name="T26" fmla="*/ 304 w 516"/>
                  <a:gd name="T27" fmla="*/ 228 h 476"/>
                  <a:gd name="T28" fmla="*/ 304 w 516"/>
                  <a:gd name="T29" fmla="*/ 228 h 476"/>
                  <a:gd name="T30" fmla="*/ 298 w 516"/>
                  <a:gd name="T31" fmla="*/ 0 h 476"/>
                  <a:gd name="T32" fmla="*/ 266 w 516"/>
                  <a:gd name="T33" fmla="*/ 0 h 476"/>
                  <a:gd name="T34" fmla="*/ 262 w 516"/>
                  <a:gd name="T35" fmla="*/ 168 h 476"/>
                  <a:gd name="T36" fmla="*/ 262 w 516"/>
                  <a:gd name="T37" fmla="*/ 168 h 476"/>
                  <a:gd name="T38" fmla="*/ 260 w 516"/>
                  <a:gd name="T39" fmla="*/ 168 h 476"/>
                  <a:gd name="T40" fmla="*/ 258 w 516"/>
                  <a:gd name="T41" fmla="*/ 168 h 476"/>
                  <a:gd name="T42" fmla="*/ 194 w 516"/>
                  <a:gd name="T43" fmla="*/ 228 h 476"/>
                  <a:gd name="T44" fmla="*/ 146 w 516"/>
                  <a:gd name="T45" fmla="*/ 228 h 476"/>
                  <a:gd name="T46" fmla="*/ 138 w 516"/>
                  <a:gd name="T47" fmla="*/ 42 h 476"/>
                  <a:gd name="T48" fmla="*/ 92 w 516"/>
                  <a:gd name="T49" fmla="*/ 42 h 476"/>
                  <a:gd name="T50" fmla="*/ 84 w 516"/>
                  <a:gd name="T51" fmla="*/ 228 h 476"/>
                  <a:gd name="T52" fmla="*/ 28 w 516"/>
                  <a:gd name="T53" fmla="*/ 228 h 476"/>
                  <a:gd name="T54" fmla="*/ 28 w 516"/>
                  <a:gd name="T55" fmla="*/ 312 h 476"/>
                  <a:gd name="T56" fmla="*/ 0 w 516"/>
                  <a:gd name="T57" fmla="*/ 312 h 476"/>
                  <a:gd name="T58" fmla="*/ 0 w 516"/>
                  <a:gd name="T59" fmla="*/ 476 h 476"/>
                  <a:gd name="T60" fmla="*/ 104 w 516"/>
                  <a:gd name="T61" fmla="*/ 476 h 476"/>
                  <a:gd name="T62" fmla="*/ 162 w 516"/>
                  <a:gd name="T63" fmla="*/ 476 h 476"/>
                  <a:gd name="T64" fmla="*/ 516 w 516"/>
                  <a:gd name="T65" fmla="*/ 476 h 476"/>
                  <a:gd name="T66" fmla="*/ 516 w 516"/>
                  <a:gd name="T67" fmla="*/ 372 h 476"/>
                  <a:gd name="T68" fmla="*/ 486 w 516"/>
                  <a:gd name="T69" fmla="*/ 372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16" h="476">
                    <a:moveTo>
                      <a:pt x="486" y="372"/>
                    </a:moveTo>
                    <a:lnTo>
                      <a:pt x="486" y="330"/>
                    </a:lnTo>
                    <a:lnTo>
                      <a:pt x="486" y="228"/>
                    </a:lnTo>
                    <a:lnTo>
                      <a:pt x="486" y="172"/>
                    </a:lnTo>
                    <a:lnTo>
                      <a:pt x="486" y="172"/>
                    </a:lnTo>
                    <a:lnTo>
                      <a:pt x="486" y="170"/>
                    </a:lnTo>
                    <a:lnTo>
                      <a:pt x="484" y="168"/>
                    </a:lnTo>
                    <a:lnTo>
                      <a:pt x="482" y="168"/>
                    </a:lnTo>
                    <a:lnTo>
                      <a:pt x="478" y="168"/>
                    </a:lnTo>
                    <a:lnTo>
                      <a:pt x="418" y="226"/>
                    </a:lnTo>
                    <a:lnTo>
                      <a:pt x="410" y="68"/>
                    </a:lnTo>
                    <a:lnTo>
                      <a:pt x="370" y="68"/>
                    </a:lnTo>
                    <a:lnTo>
                      <a:pt x="366" y="172"/>
                    </a:lnTo>
                    <a:lnTo>
                      <a:pt x="304" y="228"/>
                    </a:lnTo>
                    <a:lnTo>
                      <a:pt x="304" y="228"/>
                    </a:lnTo>
                    <a:lnTo>
                      <a:pt x="298" y="0"/>
                    </a:lnTo>
                    <a:lnTo>
                      <a:pt x="266" y="0"/>
                    </a:lnTo>
                    <a:lnTo>
                      <a:pt x="262" y="168"/>
                    </a:lnTo>
                    <a:lnTo>
                      <a:pt x="262" y="168"/>
                    </a:lnTo>
                    <a:lnTo>
                      <a:pt x="260" y="168"/>
                    </a:lnTo>
                    <a:lnTo>
                      <a:pt x="258" y="168"/>
                    </a:lnTo>
                    <a:lnTo>
                      <a:pt x="194" y="228"/>
                    </a:lnTo>
                    <a:lnTo>
                      <a:pt x="146" y="228"/>
                    </a:lnTo>
                    <a:lnTo>
                      <a:pt x="138" y="42"/>
                    </a:lnTo>
                    <a:lnTo>
                      <a:pt x="92" y="42"/>
                    </a:lnTo>
                    <a:lnTo>
                      <a:pt x="84" y="228"/>
                    </a:lnTo>
                    <a:lnTo>
                      <a:pt x="28" y="228"/>
                    </a:lnTo>
                    <a:lnTo>
                      <a:pt x="28" y="312"/>
                    </a:lnTo>
                    <a:lnTo>
                      <a:pt x="0" y="312"/>
                    </a:lnTo>
                    <a:lnTo>
                      <a:pt x="0" y="476"/>
                    </a:lnTo>
                    <a:lnTo>
                      <a:pt x="104" y="476"/>
                    </a:lnTo>
                    <a:lnTo>
                      <a:pt x="162" y="476"/>
                    </a:lnTo>
                    <a:lnTo>
                      <a:pt x="516" y="476"/>
                    </a:lnTo>
                    <a:lnTo>
                      <a:pt x="516" y="372"/>
                    </a:lnTo>
                    <a:lnTo>
                      <a:pt x="486" y="372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5" name="Freeform 212"/>
              <p:cNvSpPr>
                <a:spLocks/>
              </p:cNvSpPr>
              <p:nvPr/>
            </p:nvSpPr>
            <p:spPr bwMode="auto">
              <a:xfrm>
                <a:off x="328613" y="6587958"/>
                <a:ext cx="663400" cy="921481"/>
              </a:xfrm>
              <a:custGeom>
                <a:avLst/>
                <a:gdLst>
                  <a:gd name="T0" fmla="*/ 391 w 401"/>
                  <a:gd name="T1" fmla="*/ 201 h 557"/>
                  <a:gd name="T2" fmla="*/ 397 w 401"/>
                  <a:gd name="T3" fmla="*/ 150 h 557"/>
                  <a:gd name="T4" fmla="*/ 365 w 401"/>
                  <a:gd name="T5" fmla="*/ 140 h 557"/>
                  <a:gd name="T6" fmla="*/ 350 w 401"/>
                  <a:gd name="T7" fmla="*/ 118 h 557"/>
                  <a:gd name="T8" fmla="*/ 334 w 401"/>
                  <a:gd name="T9" fmla="*/ 118 h 557"/>
                  <a:gd name="T10" fmla="*/ 332 w 401"/>
                  <a:gd name="T11" fmla="*/ 101 h 557"/>
                  <a:gd name="T12" fmla="*/ 319 w 401"/>
                  <a:gd name="T13" fmla="*/ 34 h 557"/>
                  <a:gd name="T14" fmla="*/ 328 w 401"/>
                  <a:gd name="T15" fmla="*/ 17 h 557"/>
                  <a:gd name="T16" fmla="*/ 324 w 401"/>
                  <a:gd name="T17" fmla="*/ 6 h 557"/>
                  <a:gd name="T18" fmla="*/ 318 w 401"/>
                  <a:gd name="T19" fmla="*/ 0 h 557"/>
                  <a:gd name="T20" fmla="*/ 314 w 401"/>
                  <a:gd name="T21" fmla="*/ 12 h 557"/>
                  <a:gd name="T22" fmla="*/ 311 w 401"/>
                  <a:gd name="T23" fmla="*/ 28 h 557"/>
                  <a:gd name="T24" fmla="*/ 305 w 401"/>
                  <a:gd name="T25" fmla="*/ 73 h 557"/>
                  <a:gd name="T26" fmla="*/ 299 w 401"/>
                  <a:gd name="T27" fmla="*/ 106 h 557"/>
                  <a:gd name="T28" fmla="*/ 292 w 401"/>
                  <a:gd name="T29" fmla="*/ 117 h 557"/>
                  <a:gd name="T30" fmla="*/ 270 w 401"/>
                  <a:gd name="T31" fmla="*/ 137 h 557"/>
                  <a:gd name="T32" fmla="*/ 241 w 401"/>
                  <a:gd name="T33" fmla="*/ 140 h 557"/>
                  <a:gd name="T34" fmla="*/ 235 w 401"/>
                  <a:gd name="T35" fmla="*/ 118 h 557"/>
                  <a:gd name="T36" fmla="*/ 204 w 401"/>
                  <a:gd name="T37" fmla="*/ 86 h 557"/>
                  <a:gd name="T38" fmla="*/ 175 w 401"/>
                  <a:gd name="T39" fmla="*/ 111 h 557"/>
                  <a:gd name="T40" fmla="*/ 165 w 401"/>
                  <a:gd name="T41" fmla="*/ 137 h 557"/>
                  <a:gd name="T42" fmla="*/ 139 w 401"/>
                  <a:gd name="T43" fmla="*/ 140 h 557"/>
                  <a:gd name="T44" fmla="*/ 128 w 401"/>
                  <a:gd name="T45" fmla="*/ 122 h 557"/>
                  <a:gd name="T46" fmla="*/ 105 w 401"/>
                  <a:gd name="T47" fmla="*/ 118 h 557"/>
                  <a:gd name="T48" fmla="*/ 104 w 401"/>
                  <a:gd name="T49" fmla="*/ 101 h 557"/>
                  <a:gd name="T50" fmla="*/ 96 w 401"/>
                  <a:gd name="T51" fmla="*/ 54 h 557"/>
                  <a:gd name="T52" fmla="*/ 99 w 401"/>
                  <a:gd name="T53" fmla="*/ 20 h 557"/>
                  <a:gd name="T54" fmla="*/ 95 w 401"/>
                  <a:gd name="T55" fmla="*/ 6 h 557"/>
                  <a:gd name="T56" fmla="*/ 89 w 401"/>
                  <a:gd name="T57" fmla="*/ 0 h 557"/>
                  <a:gd name="T58" fmla="*/ 83 w 401"/>
                  <a:gd name="T59" fmla="*/ 6 h 557"/>
                  <a:gd name="T60" fmla="*/ 82 w 401"/>
                  <a:gd name="T61" fmla="*/ 23 h 557"/>
                  <a:gd name="T62" fmla="*/ 79 w 401"/>
                  <a:gd name="T63" fmla="*/ 54 h 557"/>
                  <a:gd name="T64" fmla="*/ 71 w 401"/>
                  <a:gd name="T65" fmla="*/ 101 h 557"/>
                  <a:gd name="T66" fmla="*/ 70 w 401"/>
                  <a:gd name="T67" fmla="*/ 118 h 557"/>
                  <a:gd name="T68" fmla="*/ 48 w 401"/>
                  <a:gd name="T69" fmla="*/ 124 h 557"/>
                  <a:gd name="T70" fmla="*/ 0 w 401"/>
                  <a:gd name="T71" fmla="*/ 140 h 557"/>
                  <a:gd name="T72" fmla="*/ 6 w 401"/>
                  <a:gd name="T73" fmla="*/ 200 h 557"/>
                  <a:gd name="T74" fmla="*/ 13 w 401"/>
                  <a:gd name="T75" fmla="*/ 203 h 557"/>
                  <a:gd name="T76" fmla="*/ 16 w 401"/>
                  <a:gd name="T77" fmla="*/ 268 h 557"/>
                  <a:gd name="T78" fmla="*/ 4 w 401"/>
                  <a:gd name="T79" fmla="*/ 271 h 557"/>
                  <a:gd name="T80" fmla="*/ 12 w 401"/>
                  <a:gd name="T81" fmla="*/ 286 h 557"/>
                  <a:gd name="T82" fmla="*/ 10 w 401"/>
                  <a:gd name="T83" fmla="*/ 470 h 557"/>
                  <a:gd name="T84" fmla="*/ 10 w 401"/>
                  <a:gd name="T85" fmla="*/ 557 h 557"/>
                  <a:gd name="T86" fmla="*/ 136 w 401"/>
                  <a:gd name="T87" fmla="*/ 474 h 557"/>
                  <a:gd name="T88" fmla="*/ 128 w 401"/>
                  <a:gd name="T89" fmla="*/ 328 h 557"/>
                  <a:gd name="T90" fmla="*/ 139 w 401"/>
                  <a:gd name="T91" fmla="*/ 284 h 557"/>
                  <a:gd name="T92" fmla="*/ 168 w 401"/>
                  <a:gd name="T93" fmla="*/ 258 h 557"/>
                  <a:gd name="T94" fmla="*/ 211 w 401"/>
                  <a:gd name="T95" fmla="*/ 252 h 557"/>
                  <a:gd name="T96" fmla="*/ 255 w 401"/>
                  <a:gd name="T97" fmla="*/ 271 h 557"/>
                  <a:gd name="T98" fmla="*/ 279 w 401"/>
                  <a:gd name="T99" fmla="*/ 319 h 557"/>
                  <a:gd name="T100" fmla="*/ 271 w 401"/>
                  <a:gd name="T101" fmla="*/ 474 h 557"/>
                  <a:gd name="T102" fmla="*/ 392 w 401"/>
                  <a:gd name="T103" fmla="*/ 557 h 557"/>
                  <a:gd name="T104" fmla="*/ 391 w 401"/>
                  <a:gd name="T105" fmla="*/ 470 h 557"/>
                  <a:gd name="T106" fmla="*/ 389 w 401"/>
                  <a:gd name="T107" fmla="*/ 286 h 557"/>
                  <a:gd name="T108" fmla="*/ 398 w 401"/>
                  <a:gd name="T109" fmla="*/ 271 h 557"/>
                  <a:gd name="T110" fmla="*/ 388 w 401"/>
                  <a:gd name="T111" fmla="*/ 270 h 5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01" h="557">
                    <a:moveTo>
                      <a:pt x="388" y="220"/>
                    </a:moveTo>
                    <a:lnTo>
                      <a:pt x="388" y="203"/>
                    </a:lnTo>
                    <a:lnTo>
                      <a:pt x="388" y="203"/>
                    </a:lnTo>
                    <a:lnTo>
                      <a:pt x="389" y="201"/>
                    </a:lnTo>
                    <a:lnTo>
                      <a:pt x="391" y="201"/>
                    </a:lnTo>
                    <a:lnTo>
                      <a:pt x="395" y="200"/>
                    </a:lnTo>
                    <a:lnTo>
                      <a:pt x="395" y="200"/>
                    </a:lnTo>
                    <a:lnTo>
                      <a:pt x="397" y="200"/>
                    </a:lnTo>
                    <a:lnTo>
                      <a:pt x="397" y="198"/>
                    </a:lnTo>
                    <a:lnTo>
                      <a:pt x="397" y="150"/>
                    </a:lnTo>
                    <a:lnTo>
                      <a:pt x="401" y="149"/>
                    </a:lnTo>
                    <a:lnTo>
                      <a:pt x="401" y="140"/>
                    </a:lnTo>
                    <a:lnTo>
                      <a:pt x="367" y="140"/>
                    </a:lnTo>
                    <a:lnTo>
                      <a:pt x="367" y="140"/>
                    </a:lnTo>
                    <a:lnTo>
                      <a:pt x="365" y="140"/>
                    </a:lnTo>
                    <a:lnTo>
                      <a:pt x="365" y="137"/>
                    </a:lnTo>
                    <a:lnTo>
                      <a:pt x="365" y="137"/>
                    </a:lnTo>
                    <a:lnTo>
                      <a:pt x="362" y="130"/>
                    </a:lnTo>
                    <a:lnTo>
                      <a:pt x="357" y="122"/>
                    </a:lnTo>
                    <a:lnTo>
                      <a:pt x="350" y="118"/>
                    </a:lnTo>
                    <a:lnTo>
                      <a:pt x="343" y="117"/>
                    </a:lnTo>
                    <a:lnTo>
                      <a:pt x="343" y="117"/>
                    </a:lnTo>
                    <a:lnTo>
                      <a:pt x="338" y="117"/>
                    </a:lnTo>
                    <a:lnTo>
                      <a:pt x="334" y="118"/>
                    </a:lnTo>
                    <a:lnTo>
                      <a:pt x="334" y="118"/>
                    </a:lnTo>
                    <a:lnTo>
                      <a:pt x="334" y="111"/>
                    </a:lnTo>
                    <a:lnTo>
                      <a:pt x="334" y="111"/>
                    </a:lnTo>
                    <a:lnTo>
                      <a:pt x="334" y="106"/>
                    </a:lnTo>
                    <a:lnTo>
                      <a:pt x="332" y="101"/>
                    </a:lnTo>
                    <a:lnTo>
                      <a:pt x="332" y="101"/>
                    </a:lnTo>
                    <a:lnTo>
                      <a:pt x="332" y="101"/>
                    </a:lnTo>
                    <a:lnTo>
                      <a:pt x="332" y="101"/>
                    </a:lnTo>
                    <a:lnTo>
                      <a:pt x="328" y="73"/>
                    </a:lnTo>
                    <a:lnTo>
                      <a:pt x="325" y="54"/>
                    </a:lnTo>
                    <a:lnTo>
                      <a:pt x="319" y="34"/>
                    </a:lnTo>
                    <a:lnTo>
                      <a:pt x="327" y="34"/>
                    </a:lnTo>
                    <a:lnTo>
                      <a:pt x="322" y="29"/>
                    </a:lnTo>
                    <a:lnTo>
                      <a:pt x="322" y="23"/>
                    </a:lnTo>
                    <a:lnTo>
                      <a:pt x="327" y="20"/>
                    </a:lnTo>
                    <a:lnTo>
                      <a:pt x="328" y="17"/>
                    </a:lnTo>
                    <a:lnTo>
                      <a:pt x="337" y="12"/>
                    </a:lnTo>
                    <a:lnTo>
                      <a:pt x="322" y="12"/>
                    </a:lnTo>
                    <a:lnTo>
                      <a:pt x="322" y="12"/>
                    </a:lnTo>
                    <a:lnTo>
                      <a:pt x="324" y="6"/>
                    </a:lnTo>
                    <a:lnTo>
                      <a:pt x="324" y="6"/>
                    </a:lnTo>
                    <a:lnTo>
                      <a:pt x="324" y="3"/>
                    </a:lnTo>
                    <a:lnTo>
                      <a:pt x="322" y="1"/>
                    </a:lnTo>
                    <a:lnTo>
                      <a:pt x="321" y="0"/>
                    </a:lnTo>
                    <a:lnTo>
                      <a:pt x="318" y="0"/>
                    </a:lnTo>
                    <a:lnTo>
                      <a:pt x="318" y="0"/>
                    </a:lnTo>
                    <a:lnTo>
                      <a:pt x="314" y="0"/>
                    </a:lnTo>
                    <a:lnTo>
                      <a:pt x="312" y="1"/>
                    </a:lnTo>
                    <a:lnTo>
                      <a:pt x="312" y="6"/>
                    </a:lnTo>
                    <a:lnTo>
                      <a:pt x="312" y="6"/>
                    </a:lnTo>
                    <a:lnTo>
                      <a:pt x="314" y="12"/>
                    </a:lnTo>
                    <a:lnTo>
                      <a:pt x="299" y="12"/>
                    </a:lnTo>
                    <a:lnTo>
                      <a:pt x="305" y="17"/>
                    </a:lnTo>
                    <a:lnTo>
                      <a:pt x="306" y="20"/>
                    </a:lnTo>
                    <a:lnTo>
                      <a:pt x="309" y="23"/>
                    </a:lnTo>
                    <a:lnTo>
                      <a:pt x="311" y="28"/>
                    </a:lnTo>
                    <a:lnTo>
                      <a:pt x="305" y="34"/>
                    </a:lnTo>
                    <a:lnTo>
                      <a:pt x="314" y="34"/>
                    </a:lnTo>
                    <a:lnTo>
                      <a:pt x="314" y="34"/>
                    </a:lnTo>
                    <a:lnTo>
                      <a:pt x="308" y="54"/>
                    </a:lnTo>
                    <a:lnTo>
                      <a:pt x="305" y="73"/>
                    </a:lnTo>
                    <a:lnTo>
                      <a:pt x="300" y="101"/>
                    </a:lnTo>
                    <a:lnTo>
                      <a:pt x="300" y="101"/>
                    </a:lnTo>
                    <a:lnTo>
                      <a:pt x="300" y="101"/>
                    </a:lnTo>
                    <a:lnTo>
                      <a:pt x="300" y="101"/>
                    </a:lnTo>
                    <a:lnTo>
                      <a:pt x="299" y="106"/>
                    </a:lnTo>
                    <a:lnTo>
                      <a:pt x="299" y="111"/>
                    </a:lnTo>
                    <a:lnTo>
                      <a:pt x="299" y="111"/>
                    </a:lnTo>
                    <a:lnTo>
                      <a:pt x="299" y="118"/>
                    </a:lnTo>
                    <a:lnTo>
                      <a:pt x="299" y="118"/>
                    </a:lnTo>
                    <a:lnTo>
                      <a:pt x="292" y="117"/>
                    </a:lnTo>
                    <a:lnTo>
                      <a:pt x="292" y="117"/>
                    </a:lnTo>
                    <a:lnTo>
                      <a:pt x="284" y="118"/>
                    </a:lnTo>
                    <a:lnTo>
                      <a:pt x="277" y="122"/>
                    </a:lnTo>
                    <a:lnTo>
                      <a:pt x="273" y="130"/>
                    </a:lnTo>
                    <a:lnTo>
                      <a:pt x="270" y="137"/>
                    </a:lnTo>
                    <a:lnTo>
                      <a:pt x="270" y="137"/>
                    </a:lnTo>
                    <a:lnTo>
                      <a:pt x="270" y="140"/>
                    </a:lnTo>
                    <a:lnTo>
                      <a:pt x="268" y="140"/>
                    </a:lnTo>
                    <a:lnTo>
                      <a:pt x="241" y="140"/>
                    </a:lnTo>
                    <a:lnTo>
                      <a:pt x="241" y="140"/>
                    </a:lnTo>
                    <a:lnTo>
                      <a:pt x="239" y="140"/>
                    </a:lnTo>
                    <a:lnTo>
                      <a:pt x="238" y="137"/>
                    </a:lnTo>
                    <a:lnTo>
                      <a:pt x="238" y="137"/>
                    </a:lnTo>
                    <a:lnTo>
                      <a:pt x="238" y="127"/>
                    </a:lnTo>
                    <a:lnTo>
                      <a:pt x="235" y="118"/>
                    </a:lnTo>
                    <a:lnTo>
                      <a:pt x="232" y="114"/>
                    </a:lnTo>
                    <a:lnTo>
                      <a:pt x="227" y="108"/>
                    </a:lnTo>
                    <a:lnTo>
                      <a:pt x="227" y="108"/>
                    </a:lnTo>
                    <a:lnTo>
                      <a:pt x="204" y="86"/>
                    </a:lnTo>
                    <a:lnTo>
                      <a:pt x="204" y="86"/>
                    </a:lnTo>
                    <a:lnTo>
                      <a:pt x="203" y="86"/>
                    </a:lnTo>
                    <a:lnTo>
                      <a:pt x="201" y="86"/>
                    </a:lnTo>
                    <a:lnTo>
                      <a:pt x="201" y="86"/>
                    </a:lnTo>
                    <a:lnTo>
                      <a:pt x="190" y="96"/>
                    </a:lnTo>
                    <a:lnTo>
                      <a:pt x="175" y="111"/>
                    </a:lnTo>
                    <a:lnTo>
                      <a:pt x="175" y="111"/>
                    </a:lnTo>
                    <a:lnTo>
                      <a:pt x="169" y="118"/>
                    </a:lnTo>
                    <a:lnTo>
                      <a:pt x="166" y="125"/>
                    </a:lnTo>
                    <a:lnTo>
                      <a:pt x="165" y="133"/>
                    </a:lnTo>
                    <a:lnTo>
                      <a:pt x="165" y="137"/>
                    </a:lnTo>
                    <a:lnTo>
                      <a:pt x="165" y="137"/>
                    </a:lnTo>
                    <a:lnTo>
                      <a:pt x="165" y="139"/>
                    </a:lnTo>
                    <a:lnTo>
                      <a:pt x="163" y="140"/>
                    </a:lnTo>
                    <a:lnTo>
                      <a:pt x="139" y="140"/>
                    </a:lnTo>
                    <a:lnTo>
                      <a:pt x="139" y="140"/>
                    </a:lnTo>
                    <a:lnTo>
                      <a:pt x="137" y="140"/>
                    </a:lnTo>
                    <a:lnTo>
                      <a:pt x="136" y="137"/>
                    </a:lnTo>
                    <a:lnTo>
                      <a:pt x="136" y="137"/>
                    </a:lnTo>
                    <a:lnTo>
                      <a:pt x="133" y="130"/>
                    </a:lnTo>
                    <a:lnTo>
                      <a:pt x="128" y="122"/>
                    </a:lnTo>
                    <a:lnTo>
                      <a:pt x="121" y="118"/>
                    </a:lnTo>
                    <a:lnTo>
                      <a:pt x="114" y="117"/>
                    </a:lnTo>
                    <a:lnTo>
                      <a:pt x="114" y="117"/>
                    </a:lnTo>
                    <a:lnTo>
                      <a:pt x="109" y="117"/>
                    </a:lnTo>
                    <a:lnTo>
                      <a:pt x="105" y="118"/>
                    </a:lnTo>
                    <a:lnTo>
                      <a:pt x="105" y="118"/>
                    </a:lnTo>
                    <a:lnTo>
                      <a:pt x="105" y="111"/>
                    </a:lnTo>
                    <a:lnTo>
                      <a:pt x="105" y="111"/>
                    </a:lnTo>
                    <a:lnTo>
                      <a:pt x="105" y="106"/>
                    </a:lnTo>
                    <a:lnTo>
                      <a:pt x="104" y="101"/>
                    </a:lnTo>
                    <a:lnTo>
                      <a:pt x="104" y="101"/>
                    </a:lnTo>
                    <a:lnTo>
                      <a:pt x="104" y="101"/>
                    </a:lnTo>
                    <a:lnTo>
                      <a:pt x="104" y="101"/>
                    </a:lnTo>
                    <a:lnTo>
                      <a:pt x="101" y="73"/>
                    </a:lnTo>
                    <a:lnTo>
                      <a:pt x="96" y="54"/>
                    </a:lnTo>
                    <a:lnTo>
                      <a:pt x="90" y="34"/>
                    </a:lnTo>
                    <a:lnTo>
                      <a:pt x="98" y="34"/>
                    </a:lnTo>
                    <a:lnTo>
                      <a:pt x="95" y="29"/>
                    </a:lnTo>
                    <a:lnTo>
                      <a:pt x="95" y="23"/>
                    </a:lnTo>
                    <a:lnTo>
                      <a:pt x="99" y="20"/>
                    </a:lnTo>
                    <a:lnTo>
                      <a:pt x="99" y="17"/>
                    </a:lnTo>
                    <a:lnTo>
                      <a:pt x="108" y="12"/>
                    </a:lnTo>
                    <a:lnTo>
                      <a:pt x="93" y="12"/>
                    </a:lnTo>
                    <a:lnTo>
                      <a:pt x="93" y="12"/>
                    </a:lnTo>
                    <a:lnTo>
                      <a:pt x="95" y="6"/>
                    </a:lnTo>
                    <a:lnTo>
                      <a:pt x="95" y="6"/>
                    </a:lnTo>
                    <a:lnTo>
                      <a:pt x="95" y="3"/>
                    </a:lnTo>
                    <a:lnTo>
                      <a:pt x="93" y="1"/>
                    </a:lnTo>
                    <a:lnTo>
                      <a:pt x="92" y="0"/>
                    </a:lnTo>
                    <a:lnTo>
                      <a:pt x="89" y="0"/>
                    </a:lnTo>
                    <a:lnTo>
                      <a:pt x="89" y="0"/>
                    </a:lnTo>
                    <a:lnTo>
                      <a:pt x="85" y="0"/>
                    </a:lnTo>
                    <a:lnTo>
                      <a:pt x="83" y="1"/>
                    </a:lnTo>
                    <a:lnTo>
                      <a:pt x="83" y="6"/>
                    </a:lnTo>
                    <a:lnTo>
                      <a:pt x="83" y="6"/>
                    </a:lnTo>
                    <a:lnTo>
                      <a:pt x="85" y="12"/>
                    </a:lnTo>
                    <a:lnTo>
                      <a:pt x="70" y="12"/>
                    </a:lnTo>
                    <a:lnTo>
                      <a:pt x="77" y="17"/>
                    </a:lnTo>
                    <a:lnTo>
                      <a:pt x="77" y="20"/>
                    </a:lnTo>
                    <a:lnTo>
                      <a:pt x="82" y="23"/>
                    </a:lnTo>
                    <a:lnTo>
                      <a:pt x="83" y="28"/>
                    </a:lnTo>
                    <a:lnTo>
                      <a:pt x="77" y="34"/>
                    </a:lnTo>
                    <a:lnTo>
                      <a:pt x="85" y="34"/>
                    </a:lnTo>
                    <a:lnTo>
                      <a:pt x="85" y="34"/>
                    </a:lnTo>
                    <a:lnTo>
                      <a:pt x="79" y="54"/>
                    </a:lnTo>
                    <a:lnTo>
                      <a:pt x="76" y="73"/>
                    </a:lnTo>
                    <a:lnTo>
                      <a:pt x="71" y="101"/>
                    </a:lnTo>
                    <a:lnTo>
                      <a:pt x="71" y="101"/>
                    </a:lnTo>
                    <a:lnTo>
                      <a:pt x="71" y="101"/>
                    </a:lnTo>
                    <a:lnTo>
                      <a:pt x="71" y="101"/>
                    </a:lnTo>
                    <a:lnTo>
                      <a:pt x="70" y="106"/>
                    </a:lnTo>
                    <a:lnTo>
                      <a:pt x="70" y="111"/>
                    </a:lnTo>
                    <a:lnTo>
                      <a:pt x="70" y="111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64" y="117"/>
                    </a:lnTo>
                    <a:lnTo>
                      <a:pt x="64" y="117"/>
                    </a:lnTo>
                    <a:lnTo>
                      <a:pt x="60" y="117"/>
                    </a:lnTo>
                    <a:lnTo>
                      <a:pt x="55" y="118"/>
                    </a:lnTo>
                    <a:lnTo>
                      <a:pt x="48" y="124"/>
                    </a:lnTo>
                    <a:lnTo>
                      <a:pt x="44" y="131"/>
                    </a:lnTo>
                    <a:lnTo>
                      <a:pt x="42" y="136"/>
                    </a:lnTo>
                    <a:lnTo>
                      <a:pt x="41" y="140"/>
                    </a:lnTo>
                    <a:lnTo>
                      <a:pt x="41" y="140"/>
                    </a:lnTo>
                    <a:lnTo>
                      <a:pt x="0" y="140"/>
                    </a:lnTo>
                    <a:lnTo>
                      <a:pt x="0" y="149"/>
                    </a:lnTo>
                    <a:lnTo>
                      <a:pt x="4" y="150"/>
                    </a:lnTo>
                    <a:lnTo>
                      <a:pt x="4" y="198"/>
                    </a:lnTo>
                    <a:lnTo>
                      <a:pt x="4" y="198"/>
                    </a:lnTo>
                    <a:lnTo>
                      <a:pt x="6" y="200"/>
                    </a:lnTo>
                    <a:lnTo>
                      <a:pt x="7" y="200"/>
                    </a:lnTo>
                    <a:lnTo>
                      <a:pt x="12" y="201"/>
                    </a:lnTo>
                    <a:lnTo>
                      <a:pt x="12" y="201"/>
                    </a:lnTo>
                    <a:lnTo>
                      <a:pt x="13" y="201"/>
                    </a:lnTo>
                    <a:lnTo>
                      <a:pt x="13" y="203"/>
                    </a:lnTo>
                    <a:lnTo>
                      <a:pt x="13" y="220"/>
                    </a:lnTo>
                    <a:lnTo>
                      <a:pt x="16" y="220"/>
                    </a:lnTo>
                    <a:lnTo>
                      <a:pt x="16" y="267"/>
                    </a:lnTo>
                    <a:lnTo>
                      <a:pt x="16" y="267"/>
                    </a:lnTo>
                    <a:lnTo>
                      <a:pt x="16" y="268"/>
                    </a:lnTo>
                    <a:lnTo>
                      <a:pt x="15" y="270"/>
                    </a:lnTo>
                    <a:lnTo>
                      <a:pt x="6" y="270"/>
                    </a:lnTo>
                    <a:lnTo>
                      <a:pt x="6" y="270"/>
                    </a:lnTo>
                    <a:lnTo>
                      <a:pt x="4" y="270"/>
                    </a:lnTo>
                    <a:lnTo>
                      <a:pt x="4" y="271"/>
                    </a:lnTo>
                    <a:lnTo>
                      <a:pt x="4" y="279"/>
                    </a:lnTo>
                    <a:lnTo>
                      <a:pt x="4" y="279"/>
                    </a:lnTo>
                    <a:lnTo>
                      <a:pt x="7" y="280"/>
                    </a:lnTo>
                    <a:lnTo>
                      <a:pt x="10" y="281"/>
                    </a:lnTo>
                    <a:lnTo>
                      <a:pt x="12" y="286"/>
                    </a:lnTo>
                    <a:lnTo>
                      <a:pt x="12" y="299"/>
                    </a:lnTo>
                    <a:lnTo>
                      <a:pt x="16" y="299"/>
                    </a:lnTo>
                    <a:lnTo>
                      <a:pt x="16" y="461"/>
                    </a:lnTo>
                    <a:lnTo>
                      <a:pt x="10" y="461"/>
                    </a:lnTo>
                    <a:lnTo>
                      <a:pt x="10" y="470"/>
                    </a:lnTo>
                    <a:lnTo>
                      <a:pt x="7" y="474"/>
                    </a:lnTo>
                    <a:lnTo>
                      <a:pt x="7" y="554"/>
                    </a:lnTo>
                    <a:lnTo>
                      <a:pt x="7" y="554"/>
                    </a:lnTo>
                    <a:lnTo>
                      <a:pt x="9" y="556"/>
                    </a:lnTo>
                    <a:lnTo>
                      <a:pt x="10" y="557"/>
                    </a:lnTo>
                    <a:lnTo>
                      <a:pt x="133" y="557"/>
                    </a:lnTo>
                    <a:lnTo>
                      <a:pt x="133" y="557"/>
                    </a:lnTo>
                    <a:lnTo>
                      <a:pt x="136" y="556"/>
                    </a:lnTo>
                    <a:lnTo>
                      <a:pt x="136" y="554"/>
                    </a:lnTo>
                    <a:lnTo>
                      <a:pt x="136" y="474"/>
                    </a:lnTo>
                    <a:lnTo>
                      <a:pt x="133" y="470"/>
                    </a:lnTo>
                    <a:lnTo>
                      <a:pt x="133" y="461"/>
                    </a:lnTo>
                    <a:lnTo>
                      <a:pt x="128" y="461"/>
                    </a:lnTo>
                    <a:lnTo>
                      <a:pt x="128" y="461"/>
                    </a:lnTo>
                    <a:lnTo>
                      <a:pt x="128" y="328"/>
                    </a:lnTo>
                    <a:lnTo>
                      <a:pt x="128" y="328"/>
                    </a:lnTo>
                    <a:lnTo>
                      <a:pt x="128" y="319"/>
                    </a:lnTo>
                    <a:lnTo>
                      <a:pt x="130" y="309"/>
                    </a:lnTo>
                    <a:lnTo>
                      <a:pt x="133" y="296"/>
                    </a:lnTo>
                    <a:lnTo>
                      <a:pt x="139" y="284"/>
                    </a:lnTo>
                    <a:lnTo>
                      <a:pt x="141" y="277"/>
                    </a:lnTo>
                    <a:lnTo>
                      <a:pt x="147" y="271"/>
                    </a:lnTo>
                    <a:lnTo>
                      <a:pt x="152" y="267"/>
                    </a:lnTo>
                    <a:lnTo>
                      <a:pt x="159" y="261"/>
                    </a:lnTo>
                    <a:lnTo>
                      <a:pt x="168" y="258"/>
                    </a:lnTo>
                    <a:lnTo>
                      <a:pt x="176" y="255"/>
                    </a:lnTo>
                    <a:lnTo>
                      <a:pt x="187" y="252"/>
                    </a:lnTo>
                    <a:lnTo>
                      <a:pt x="200" y="252"/>
                    </a:lnTo>
                    <a:lnTo>
                      <a:pt x="200" y="252"/>
                    </a:lnTo>
                    <a:lnTo>
                      <a:pt x="211" y="252"/>
                    </a:lnTo>
                    <a:lnTo>
                      <a:pt x="223" y="255"/>
                    </a:lnTo>
                    <a:lnTo>
                      <a:pt x="232" y="258"/>
                    </a:lnTo>
                    <a:lnTo>
                      <a:pt x="241" y="261"/>
                    </a:lnTo>
                    <a:lnTo>
                      <a:pt x="248" y="265"/>
                    </a:lnTo>
                    <a:lnTo>
                      <a:pt x="255" y="271"/>
                    </a:lnTo>
                    <a:lnTo>
                      <a:pt x="261" y="277"/>
                    </a:lnTo>
                    <a:lnTo>
                      <a:pt x="265" y="283"/>
                    </a:lnTo>
                    <a:lnTo>
                      <a:pt x="273" y="296"/>
                    </a:lnTo>
                    <a:lnTo>
                      <a:pt x="276" y="308"/>
                    </a:lnTo>
                    <a:lnTo>
                      <a:pt x="279" y="319"/>
                    </a:lnTo>
                    <a:lnTo>
                      <a:pt x="279" y="328"/>
                    </a:lnTo>
                    <a:lnTo>
                      <a:pt x="279" y="461"/>
                    </a:lnTo>
                    <a:lnTo>
                      <a:pt x="274" y="461"/>
                    </a:lnTo>
                    <a:lnTo>
                      <a:pt x="274" y="470"/>
                    </a:lnTo>
                    <a:lnTo>
                      <a:pt x="271" y="474"/>
                    </a:lnTo>
                    <a:lnTo>
                      <a:pt x="271" y="554"/>
                    </a:lnTo>
                    <a:lnTo>
                      <a:pt x="271" y="554"/>
                    </a:lnTo>
                    <a:lnTo>
                      <a:pt x="271" y="556"/>
                    </a:lnTo>
                    <a:lnTo>
                      <a:pt x="274" y="557"/>
                    </a:lnTo>
                    <a:lnTo>
                      <a:pt x="392" y="557"/>
                    </a:lnTo>
                    <a:lnTo>
                      <a:pt x="392" y="557"/>
                    </a:lnTo>
                    <a:lnTo>
                      <a:pt x="394" y="556"/>
                    </a:lnTo>
                    <a:lnTo>
                      <a:pt x="395" y="554"/>
                    </a:lnTo>
                    <a:lnTo>
                      <a:pt x="395" y="474"/>
                    </a:lnTo>
                    <a:lnTo>
                      <a:pt x="391" y="470"/>
                    </a:lnTo>
                    <a:lnTo>
                      <a:pt x="391" y="461"/>
                    </a:lnTo>
                    <a:lnTo>
                      <a:pt x="386" y="461"/>
                    </a:lnTo>
                    <a:lnTo>
                      <a:pt x="386" y="299"/>
                    </a:lnTo>
                    <a:lnTo>
                      <a:pt x="389" y="299"/>
                    </a:lnTo>
                    <a:lnTo>
                      <a:pt x="389" y="286"/>
                    </a:lnTo>
                    <a:lnTo>
                      <a:pt x="389" y="286"/>
                    </a:lnTo>
                    <a:lnTo>
                      <a:pt x="392" y="281"/>
                    </a:lnTo>
                    <a:lnTo>
                      <a:pt x="394" y="280"/>
                    </a:lnTo>
                    <a:lnTo>
                      <a:pt x="398" y="279"/>
                    </a:lnTo>
                    <a:lnTo>
                      <a:pt x="398" y="271"/>
                    </a:lnTo>
                    <a:lnTo>
                      <a:pt x="398" y="271"/>
                    </a:lnTo>
                    <a:lnTo>
                      <a:pt x="397" y="270"/>
                    </a:lnTo>
                    <a:lnTo>
                      <a:pt x="395" y="270"/>
                    </a:lnTo>
                    <a:lnTo>
                      <a:pt x="388" y="270"/>
                    </a:lnTo>
                    <a:lnTo>
                      <a:pt x="388" y="270"/>
                    </a:lnTo>
                    <a:lnTo>
                      <a:pt x="386" y="268"/>
                    </a:lnTo>
                    <a:lnTo>
                      <a:pt x="385" y="267"/>
                    </a:lnTo>
                    <a:lnTo>
                      <a:pt x="385" y="220"/>
                    </a:lnTo>
                    <a:lnTo>
                      <a:pt x="388" y="220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" name="Freeform 217"/>
              <p:cNvSpPr>
                <a:spLocks/>
              </p:cNvSpPr>
              <p:nvPr/>
            </p:nvSpPr>
            <p:spPr bwMode="auto">
              <a:xfrm>
                <a:off x="1152525" y="6769568"/>
                <a:ext cx="411163" cy="650875"/>
              </a:xfrm>
              <a:custGeom>
                <a:avLst/>
                <a:gdLst>
                  <a:gd name="T0" fmla="*/ 240 w 259"/>
                  <a:gd name="T1" fmla="*/ 374 h 410"/>
                  <a:gd name="T2" fmla="*/ 238 w 259"/>
                  <a:gd name="T3" fmla="*/ 362 h 410"/>
                  <a:gd name="T4" fmla="*/ 234 w 259"/>
                  <a:gd name="T5" fmla="*/ 354 h 410"/>
                  <a:gd name="T6" fmla="*/ 225 w 259"/>
                  <a:gd name="T7" fmla="*/ 349 h 410"/>
                  <a:gd name="T8" fmla="*/ 222 w 259"/>
                  <a:gd name="T9" fmla="*/ 348 h 410"/>
                  <a:gd name="T10" fmla="*/ 216 w 259"/>
                  <a:gd name="T11" fmla="*/ 340 h 410"/>
                  <a:gd name="T12" fmla="*/ 216 w 259"/>
                  <a:gd name="T13" fmla="*/ 331 h 410"/>
                  <a:gd name="T14" fmla="*/ 214 w 259"/>
                  <a:gd name="T15" fmla="*/ 327 h 410"/>
                  <a:gd name="T16" fmla="*/ 204 w 259"/>
                  <a:gd name="T17" fmla="*/ 315 h 410"/>
                  <a:gd name="T18" fmla="*/ 201 w 259"/>
                  <a:gd name="T19" fmla="*/ 310 h 410"/>
                  <a:gd name="T20" fmla="*/ 186 w 259"/>
                  <a:gd name="T21" fmla="*/ 310 h 410"/>
                  <a:gd name="T22" fmla="*/ 173 w 259"/>
                  <a:gd name="T23" fmla="*/ 310 h 410"/>
                  <a:gd name="T24" fmla="*/ 173 w 259"/>
                  <a:gd name="T25" fmla="*/ 287 h 410"/>
                  <a:gd name="T26" fmla="*/ 165 w 259"/>
                  <a:gd name="T27" fmla="*/ 278 h 410"/>
                  <a:gd name="T28" fmla="*/ 158 w 259"/>
                  <a:gd name="T29" fmla="*/ 217 h 410"/>
                  <a:gd name="T30" fmla="*/ 131 w 259"/>
                  <a:gd name="T31" fmla="*/ 198 h 410"/>
                  <a:gd name="T32" fmla="*/ 131 w 259"/>
                  <a:gd name="T33" fmla="*/ 195 h 410"/>
                  <a:gd name="T34" fmla="*/ 125 w 259"/>
                  <a:gd name="T35" fmla="*/ 190 h 410"/>
                  <a:gd name="T36" fmla="*/ 121 w 259"/>
                  <a:gd name="T37" fmla="*/ 189 h 410"/>
                  <a:gd name="T38" fmla="*/ 118 w 259"/>
                  <a:gd name="T39" fmla="*/ 42 h 410"/>
                  <a:gd name="T40" fmla="*/ 124 w 259"/>
                  <a:gd name="T41" fmla="*/ 34 h 410"/>
                  <a:gd name="T42" fmla="*/ 131 w 259"/>
                  <a:gd name="T43" fmla="*/ 18 h 410"/>
                  <a:gd name="T44" fmla="*/ 130 w 259"/>
                  <a:gd name="T45" fmla="*/ 16 h 410"/>
                  <a:gd name="T46" fmla="*/ 121 w 259"/>
                  <a:gd name="T47" fmla="*/ 16 h 410"/>
                  <a:gd name="T48" fmla="*/ 116 w 259"/>
                  <a:gd name="T49" fmla="*/ 4 h 410"/>
                  <a:gd name="T50" fmla="*/ 109 w 259"/>
                  <a:gd name="T51" fmla="*/ 0 h 410"/>
                  <a:gd name="T52" fmla="*/ 104 w 259"/>
                  <a:gd name="T53" fmla="*/ 1 h 410"/>
                  <a:gd name="T54" fmla="*/ 98 w 259"/>
                  <a:gd name="T55" fmla="*/ 10 h 410"/>
                  <a:gd name="T56" fmla="*/ 86 w 259"/>
                  <a:gd name="T57" fmla="*/ 16 h 410"/>
                  <a:gd name="T58" fmla="*/ 85 w 259"/>
                  <a:gd name="T59" fmla="*/ 18 h 410"/>
                  <a:gd name="T60" fmla="*/ 89 w 259"/>
                  <a:gd name="T61" fmla="*/ 28 h 410"/>
                  <a:gd name="T62" fmla="*/ 98 w 259"/>
                  <a:gd name="T63" fmla="*/ 42 h 410"/>
                  <a:gd name="T64" fmla="*/ 97 w 259"/>
                  <a:gd name="T65" fmla="*/ 189 h 410"/>
                  <a:gd name="T66" fmla="*/ 92 w 259"/>
                  <a:gd name="T67" fmla="*/ 190 h 410"/>
                  <a:gd name="T68" fmla="*/ 88 w 259"/>
                  <a:gd name="T69" fmla="*/ 195 h 410"/>
                  <a:gd name="T70" fmla="*/ 79 w 259"/>
                  <a:gd name="T71" fmla="*/ 198 h 410"/>
                  <a:gd name="T72" fmla="*/ 71 w 259"/>
                  <a:gd name="T73" fmla="*/ 245 h 410"/>
                  <a:gd name="T74" fmla="*/ 64 w 259"/>
                  <a:gd name="T75" fmla="*/ 256 h 410"/>
                  <a:gd name="T76" fmla="*/ 48 w 259"/>
                  <a:gd name="T77" fmla="*/ 306 h 410"/>
                  <a:gd name="T78" fmla="*/ 36 w 259"/>
                  <a:gd name="T79" fmla="*/ 351 h 410"/>
                  <a:gd name="T80" fmla="*/ 24 w 259"/>
                  <a:gd name="T81" fmla="*/ 373 h 410"/>
                  <a:gd name="T82" fmla="*/ 259 w 259"/>
                  <a:gd name="T83" fmla="*/ 410 h 410"/>
                  <a:gd name="T84" fmla="*/ 259 w 259"/>
                  <a:gd name="T85" fmla="*/ 388 h 410"/>
                  <a:gd name="T86" fmla="*/ 243 w 259"/>
                  <a:gd name="T87" fmla="*/ 377 h 410"/>
                  <a:gd name="T88" fmla="*/ 240 w 259"/>
                  <a:gd name="T89" fmla="*/ 374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59" h="410">
                    <a:moveTo>
                      <a:pt x="240" y="374"/>
                    </a:moveTo>
                    <a:lnTo>
                      <a:pt x="240" y="374"/>
                    </a:lnTo>
                    <a:lnTo>
                      <a:pt x="240" y="370"/>
                    </a:lnTo>
                    <a:lnTo>
                      <a:pt x="238" y="362"/>
                    </a:lnTo>
                    <a:lnTo>
                      <a:pt x="235" y="358"/>
                    </a:lnTo>
                    <a:lnTo>
                      <a:pt x="234" y="354"/>
                    </a:lnTo>
                    <a:lnTo>
                      <a:pt x="229" y="351"/>
                    </a:lnTo>
                    <a:lnTo>
                      <a:pt x="225" y="349"/>
                    </a:lnTo>
                    <a:lnTo>
                      <a:pt x="225" y="349"/>
                    </a:lnTo>
                    <a:lnTo>
                      <a:pt x="222" y="348"/>
                    </a:lnTo>
                    <a:lnTo>
                      <a:pt x="219" y="346"/>
                    </a:lnTo>
                    <a:lnTo>
                      <a:pt x="216" y="340"/>
                    </a:lnTo>
                    <a:lnTo>
                      <a:pt x="216" y="336"/>
                    </a:lnTo>
                    <a:lnTo>
                      <a:pt x="216" y="331"/>
                    </a:lnTo>
                    <a:lnTo>
                      <a:pt x="216" y="331"/>
                    </a:lnTo>
                    <a:lnTo>
                      <a:pt x="214" y="327"/>
                    </a:lnTo>
                    <a:lnTo>
                      <a:pt x="210" y="321"/>
                    </a:lnTo>
                    <a:lnTo>
                      <a:pt x="204" y="315"/>
                    </a:lnTo>
                    <a:lnTo>
                      <a:pt x="201" y="310"/>
                    </a:lnTo>
                    <a:lnTo>
                      <a:pt x="201" y="310"/>
                    </a:lnTo>
                    <a:lnTo>
                      <a:pt x="195" y="310"/>
                    </a:lnTo>
                    <a:lnTo>
                      <a:pt x="186" y="310"/>
                    </a:lnTo>
                    <a:lnTo>
                      <a:pt x="173" y="310"/>
                    </a:lnTo>
                    <a:lnTo>
                      <a:pt x="173" y="310"/>
                    </a:lnTo>
                    <a:lnTo>
                      <a:pt x="173" y="287"/>
                    </a:lnTo>
                    <a:lnTo>
                      <a:pt x="173" y="287"/>
                    </a:lnTo>
                    <a:lnTo>
                      <a:pt x="170" y="284"/>
                    </a:lnTo>
                    <a:lnTo>
                      <a:pt x="165" y="278"/>
                    </a:lnTo>
                    <a:lnTo>
                      <a:pt x="158" y="272"/>
                    </a:lnTo>
                    <a:lnTo>
                      <a:pt x="158" y="217"/>
                    </a:lnTo>
                    <a:lnTo>
                      <a:pt x="147" y="198"/>
                    </a:lnTo>
                    <a:lnTo>
                      <a:pt x="131" y="198"/>
                    </a:lnTo>
                    <a:lnTo>
                      <a:pt x="131" y="198"/>
                    </a:lnTo>
                    <a:lnTo>
                      <a:pt x="131" y="195"/>
                    </a:lnTo>
                    <a:lnTo>
                      <a:pt x="128" y="192"/>
                    </a:lnTo>
                    <a:lnTo>
                      <a:pt x="125" y="190"/>
                    </a:lnTo>
                    <a:lnTo>
                      <a:pt x="121" y="189"/>
                    </a:lnTo>
                    <a:lnTo>
                      <a:pt x="121" y="189"/>
                    </a:lnTo>
                    <a:lnTo>
                      <a:pt x="116" y="42"/>
                    </a:lnTo>
                    <a:lnTo>
                      <a:pt x="118" y="42"/>
                    </a:lnTo>
                    <a:lnTo>
                      <a:pt x="118" y="42"/>
                    </a:lnTo>
                    <a:lnTo>
                      <a:pt x="124" y="34"/>
                    </a:lnTo>
                    <a:lnTo>
                      <a:pt x="127" y="2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0" y="16"/>
                    </a:lnTo>
                    <a:lnTo>
                      <a:pt x="121" y="16"/>
                    </a:lnTo>
                    <a:lnTo>
                      <a:pt x="121" y="16"/>
                    </a:lnTo>
                    <a:lnTo>
                      <a:pt x="119" y="10"/>
                    </a:lnTo>
                    <a:lnTo>
                      <a:pt x="116" y="4"/>
                    </a:lnTo>
                    <a:lnTo>
                      <a:pt x="113" y="1"/>
                    </a:lnTo>
                    <a:lnTo>
                      <a:pt x="109" y="0"/>
                    </a:lnTo>
                    <a:lnTo>
                      <a:pt x="109" y="0"/>
                    </a:lnTo>
                    <a:lnTo>
                      <a:pt x="104" y="1"/>
                    </a:lnTo>
                    <a:lnTo>
                      <a:pt x="101" y="4"/>
                    </a:lnTo>
                    <a:lnTo>
                      <a:pt x="98" y="10"/>
                    </a:lnTo>
                    <a:lnTo>
                      <a:pt x="97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5" y="18"/>
                    </a:lnTo>
                    <a:lnTo>
                      <a:pt x="85" y="18"/>
                    </a:lnTo>
                    <a:lnTo>
                      <a:pt x="89" y="28"/>
                    </a:lnTo>
                    <a:lnTo>
                      <a:pt x="92" y="34"/>
                    </a:lnTo>
                    <a:lnTo>
                      <a:pt x="98" y="42"/>
                    </a:lnTo>
                    <a:lnTo>
                      <a:pt x="98" y="42"/>
                    </a:lnTo>
                    <a:lnTo>
                      <a:pt x="97" y="189"/>
                    </a:lnTo>
                    <a:lnTo>
                      <a:pt x="97" y="189"/>
                    </a:lnTo>
                    <a:lnTo>
                      <a:pt x="92" y="190"/>
                    </a:lnTo>
                    <a:lnTo>
                      <a:pt x="89" y="192"/>
                    </a:lnTo>
                    <a:lnTo>
                      <a:pt x="88" y="195"/>
                    </a:lnTo>
                    <a:lnTo>
                      <a:pt x="88" y="198"/>
                    </a:lnTo>
                    <a:lnTo>
                      <a:pt x="79" y="198"/>
                    </a:lnTo>
                    <a:lnTo>
                      <a:pt x="79" y="241"/>
                    </a:lnTo>
                    <a:lnTo>
                      <a:pt x="71" y="245"/>
                    </a:lnTo>
                    <a:lnTo>
                      <a:pt x="71" y="256"/>
                    </a:lnTo>
                    <a:lnTo>
                      <a:pt x="64" y="256"/>
                    </a:lnTo>
                    <a:lnTo>
                      <a:pt x="64" y="288"/>
                    </a:lnTo>
                    <a:lnTo>
                      <a:pt x="48" y="306"/>
                    </a:lnTo>
                    <a:lnTo>
                      <a:pt x="48" y="339"/>
                    </a:lnTo>
                    <a:lnTo>
                      <a:pt x="36" y="351"/>
                    </a:lnTo>
                    <a:lnTo>
                      <a:pt x="36" y="373"/>
                    </a:lnTo>
                    <a:lnTo>
                      <a:pt x="24" y="373"/>
                    </a:lnTo>
                    <a:lnTo>
                      <a:pt x="0" y="406"/>
                    </a:lnTo>
                    <a:lnTo>
                      <a:pt x="259" y="410"/>
                    </a:lnTo>
                    <a:lnTo>
                      <a:pt x="259" y="388"/>
                    </a:lnTo>
                    <a:lnTo>
                      <a:pt x="259" y="388"/>
                    </a:lnTo>
                    <a:lnTo>
                      <a:pt x="250" y="382"/>
                    </a:lnTo>
                    <a:lnTo>
                      <a:pt x="243" y="377"/>
                    </a:lnTo>
                    <a:lnTo>
                      <a:pt x="240" y="374"/>
                    </a:lnTo>
                    <a:lnTo>
                      <a:pt x="240" y="374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" name="Freeform 222"/>
              <p:cNvSpPr>
                <a:spLocks noEditPoints="1"/>
              </p:cNvSpPr>
              <p:nvPr/>
            </p:nvSpPr>
            <p:spPr bwMode="auto">
              <a:xfrm>
                <a:off x="8566451" y="6627474"/>
                <a:ext cx="1365732" cy="783443"/>
              </a:xfrm>
              <a:custGeom>
                <a:avLst/>
                <a:gdLst>
                  <a:gd name="T0" fmla="*/ 570 w 1032"/>
                  <a:gd name="T1" fmla="*/ 204 h 592"/>
                  <a:gd name="T2" fmla="*/ 602 w 1032"/>
                  <a:gd name="T3" fmla="*/ 192 h 592"/>
                  <a:gd name="T4" fmla="*/ 588 w 1032"/>
                  <a:gd name="T5" fmla="*/ 160 h 592"/>
                  <a:gd name="T6" fmla="*/ 548 w 1032"/>
                  <a:gd name="T7" fmla="*/ 104 h 592"/>
                  <a:gd name="T8" fmla="*/ 540 w 1032"/>
                  <a:gd name="T9" fmla="*/ 80 h 592"/>
                  <a:gd name="T10" fmla="*/ 526 w 1032"/>
                  <a:gd name="T11" fmla="*/ 64 h 592"/>
                  <a:gd name="T12" fmla="*/ 474 w 1032"/>
                  <a:gd name="T13" fmla="*/ 2 h 592"/>
                  <a:gd name="T14" fmla="*/ 494 w 1032"/>
                  <a:gd name="T15" fmla="*/ 76 h 592"/>
                  <a:gd name="T16" fmla="*/ 462 w 1032"/>
                  <a:gd name="T17" fmla="*/ 104 h 592"/>
                  <a:gd name="T18" fmla="*/ 510 w 1032"/>
                  <a:gd name="T19" fmla="*/ 116 h 592"/>
                  <a:gd name="T20" fmla="*/ 476 w 1032"/>
                  <a:gd name="T21" fmla="*/ 120 h 592"/>
                  <a:gd name="T22" fmla="*/ 464 w 1032"/>
                  <a:gd name="T23" fmla="*/ 148 h 592"/>
                  <a:gd name="T24" fmla="*/ 456 w 1032"/>
                  <a:gd name="T25" fmla="*/ 184 h 592"/>
                  <a:gd name="T26" fmla="*/ 434 w 1032"/>
                  <a:gd name="T27" fmla="*/ 204 h 592"/>
                  <a:gd name="T28" fmla="*/ 0 w 1032"/>
                  <a:gd name="T29" fmla="*/ 278 h 592"/>
                  <a:gd name="T30" fmla="*/ 60 w 1032"/>
                  <a:gd name="T31" fmla="*/ 344 h 592"/>
                  <a:gd name="T32" fmla="*/ 70 w 1032"/>
                  <a:gd name="T33" fmla="*/ 532 h 592"/>
                  <a:gd name="T34" fmla="*/ 56 w 1032"/>
                  <a:gd name="T35" fmla="*/ 554 h 592"/>
                  <a:gd name="T36" fmla="*/ 970 w 1032"/>
                  <a:gd name="T37" fmla="*/ 546 h 592"/>
                  <a:gd name="T38" fmla="*/ 958 w 1032"/>
                  <a:gd name="T39" fmla="*/ 370 h 592"/>
                  <a:gd name="T40" fmla="*/ 988 w 1032"/>
                  <a:gd name="T41" fmla="*/ 330 h 592"/>
                  <a:gd name="T42" fmla="*/ 158 w 1032"/>
                  <a:gd name="T43" fmla="*/ 532 h 592"/>
                  <a:gd name="T44" fmla="*/ 142 w 1032"/>
                  <a:gd name="T45" fmla="*/ 546 h 592"/>
                  <a:gd name="T46" fmla="*/ 112 w 1032"/>
                  <a:gd name="T47" fmla="*/ 538 h 592"/>
                  <a:gd name="T48" fmla="*/ 108 w 1032"/>
                  <a:gd name="T49" fmla="*/ 362 h 592"/>
                  <a:gd name="T50" fmla="*/ 158 w 1032"/>
                  <a:gd name="T51" fmla="*/ 532 h 592"/>
                  <a:gd name="T52" fmla="*/ 228 w 1032"/>
                  <a:gd name="T53" fmla="*/ 546 h 592"/>
                  <a:gd name="T54" fmla="*/ 196 w 1032"/>
                  <a:gd name="T55" fmla="*/ 542 h 592"/>
                  <a:gd name="T56" fmla="*/ 190 w 1032"/>
                  <a:gd name="T57" fmla="*/ 362 h 592"/>
                  <a:gd name="T58" fmla="*/ 240 w 1032"/>
                  <a:gd name="T59" fmla="*/ 370 h 592"/>
                  <a:gd name="T60" fmla="*/ 310 w 1032"/>
                  <a:gd name="T61" fmla="*/ 542 h 592"/>
                  <a:gd name="T62" fmla="*/ 282 w 1032"/>
                  <a:gd name="T63" fmla="*/ 542 h 592"/>
                  <a:gd name="T64" fmla="*/ 272 w 1032"/>
                  <a:gd name="T65" fmla="*/ 370 h 592"/>
                  <a:gd name="T66" fmla="*/ 320 w 1032"/>
                  <a:gd name="T67" fmla="*/ 370 h 592"/>
                  <a:gd name="T68" fmla="*/ 574 w 1032"/>
                  <a:gd name="T69" fmla="*/ 170 h 592"/>
                  <a:gd name="T70" fmla="*/ 556 w 1032"/>
                  <a:gd name="T71" fmla="*/ 174 h 592"/>
                  <a:gd name="T72" fmla="*/ 546 w 1032"/>
                  <a:gd name="T73" fmla="*/ 130 h 592"/>
                  <a:gd name="T74" fmla="*/ 544 w 1032"/>
                  <a:gd name="T75" fmla="*/ 110 h 592"/>
                  <a:gd name="T76" fmla="*/ 548 w 1032"/>
                  <a:gd name="T77" fmla="*/ 162 h 592"/>
                  <a:gd name="T78" fmla="*/ 552 w 1032"/>
                  <a:gd name="T79" fmla="*/ 150 h 592"/>
                  <a:gd name="T80" fmla="*/ 496 w 1032"/>
                  <a:gd name="T81" fmla="*/ 152 h 592"/>
                  <a:gd name="T82" fmla="*/ 514 w 1032"/>
                  <a:gd name="T83" fmla="*/ 170 h 592"/>
                  <a:gd name="T84" fmla="*/ 490 w 1032"/>
                  <a:gd name="T85" fmla="*/ 152 h 592"/>
                  <a:gd name="T86" fmla="*/ 502 w 1032"/>
                  <a:gd name="T87" fmla="*/ 180 h 592"/>
                  <a:gd name="T88" fmla="*/ 486 w 1032"/>
                  <a:gd name="T89" fmla="*/ 178 h 592"/>
                  <a:gd name="T90" fmla="*/ 464 w 1032"/>
                  <a:gd name="T91" fmla="*/ 180 h 592"/>
                  <a:gd name="T92" fmla="*/ 588 w 1032"/>
                  <a:gd name="T93" fmla="*/ 554 h 592"/>
                  <a:gd name="T94" fmla="*/ 464 w 1032"/>
                  <a:gd name="T95" fmla="*/ 336 h 592"/>
                  <a:gd name="T96" fmla="*/ 542 w 1032"/>
                  <a:gd name="T97" fmla="*/ 314 h 592"/>
                  <a:gd name="T98" fmla="*/ 588 w 1032"/>
                  <a:gd name="T99" fmla="*/ 380 h 592"/>
                  <a:gd name="T100" fmla="*/ 752 w 1032"/>
                  <a:gd name="T101" fmla="*/ 538 h 592"/>
                  <a:gd name="T102" fmla="*/ 726 w 1032"/>
                  <a:gd name="T103" fmla="*/ 546 h 592"/>
                  <a:gd name="T104" fmla="*/ 710 w 1032"/>
                  <a:gd name="T105" fmla="*/ 532 h 592"/>
                  <a:gd name="T106" fmla="*/ 756 w 1032"/>
                  <a:gd name="T107" fmla="*/ 362 h 592"/>
                  <a:gd name="T108" fmla="*/ 840 w 1032"/>
                  <a:gd name="T109" fmla="*/ 538 h 592"/>
                  <a:gd name="T110" fmla="*/ 806 w 1032"/>
                  <a:gd name="T111" fmla="*/ 554 h 592"/>
                  <a:gd name="T112" fmla="*/ 794 w 1032"/>
                  <a:gd name="T113" fmla="*/ 532 h 592"/>
                  <a:gd name="T114" fmla="*/ 838 w 1032"/>
                  <a:gd name="T115" fmla="*/ 344 h 592"/>
                  <a:gd name="T116" fmla="*/ 924 w 1032"/>
                  <a:gd name="T117" fmla="*/ 532 h 592"/>
                  <a:gd name="T118" fmla="*/ 912 w 1032"/>
                  <a:gd name="T119" fmla="*/ 554 h 592"/>
                  <a:gd name="T120" fmla="*/ 876 w 1032"/>
                  <a:gd name="T121" fmla="*/ 538 h 592"/>
                  <a:gd name="T122" fmla="*/ 878 w 1032"/>
                  <a:gd name="T123" fmla="*/ 344 h 5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032" h="592">
                    <a:moveTo>
                      <a:pt x="686" y="278"/>
                    </a:moveTo>
                    <a:lnTo>
                      <a:pt x="686" y="218"/>
                    </a:lnTo>
                    <a:lnTo>
                      <a:pt x="690" y="218"/>
                    </a:lnTo>
                    <a:lnTo>
                      <a:pt x="690" y="210"/>
                    </a:lnTo>
                    <a:lnTo>
                      <a:pt x="698" y="210"/>
                    </a:lnTo>
                    <a:lnTo>
                      <a:pt x="698" y="204"/>
                    </a:lnTo>
                    <a:lnTo>
                      <a:pt x="570" y="204"/>
                    </a:lnTo>
                    <a:lnTo>
                      <a:pt x="570" y="204"/>
                    </a:lnTo>
                    <a:lnTo>
                      <a:pt x="582" y="184"/>
                    </a:lnTo>
                    <a:lnTo>
                      <a:pt x="582" y="184"/>
                    </a:lnTo>
                    <a:lnTo>
                      <a:pt x="588" y="172"/>
                    </a:lnTo>
                    <a:lnTo>
                      <a:pt x="600" y="190"/>
                    </a:lnTo>
                    <a:lnTo>
                      <a:pt x="600" y="190"/>
                    </a:lnTo>
                    <a:lnTo>
                      <a:pt x="602" y="192"/>
                    </a:lnTo>
                    <a:lnTo>
                      <a:pt x="602" y="192"/>
                    </a:lnTo>
                    <a:lnTo>
                      <a:pt x="604" y="192"/>
                    </a:lnTo>
                    <a:lnTo>
                      <a:pt x="604" y="192"/>
                    </a:lnTo>
                    <a:lnTo>
                      <a:pt x="606" y="190"/>
                    </a:lnTo>
                    <a:lnTo>
                      <a:pt x="606" y="188"/>
                    </a:lnTo>
                    <a:lnTo>
                      <a:pt x="588" y="160"/>
                    </a:lnTo>
                    <a:lnTo>
                      <a:pt x="588" y="160"/>
                    </a:lnTo>
                    <a:lnTo>
                      <a:pt x="586" y="152"/>
                    </a:lnTo>
                    <a:lnTo>
                      <a:pt x="586" y="152"/>
                    </a:lnTo>
                    <a:lnTo>
                      <a:pt x="584" y="144"/>
                    </a:lnTo>
                    <a:lnTo>
                      <a:pt x="580" y="142"/>
                    </a:lnTo>
                    <a:lnTo>
                      <a:pt x="578" y="140"/>
                    </a:lnTo>
                    <a:lnTo>
                      <a:pt x="574" y="142"/>
                    </a:lnTo>
                    <a:lnTo>
                      <a:pt x="548" y="104"/>
                    </a:lnTo>
                    <a:lnTo>
                      <a:pt x="548" y="104"/>
                    </a:lnTo>
                    <a:lnTo>
                      <a:pt x="550" y="98"/>
                    </a:lnTo>
                    <a:lnTo>
                      <a:pt x="548" y="90"/>
                    </a:lnTo>
                    <a:lnTo>
                      <a:pt x="548" y="90"/>
                    </a:lnTo>
                    <a:lnTo>
                      <a:pt x="548" y="88"/>
                    </a:lnTo>
                    <a:lnTo>
                      <a:pt x="546" y="84"/>
                    </a:lnTo>
                    <a:lnTo>
                      <a:pt x="540" y="80"/>
                    </a:lnTo>
                    <a:lnTo>
                      <a:pt x="532" y="78"/>
                    </a:lnTo>
                    <a:lnTo>
                      <a:pt x="532" y="78"/>
                    </a:lnTo>
                    <a:lnTo>
                      <a:pt x="534" y="72"/>
                    </a:lnTo>
                    <a:lnTo>
                      <a:pt x="532" y="68"/>
                    </a:lnTo>
                    <a:lnTo>
                      <a:pt x="530" y="66"/>
                    </a:lnTo>
                    <a:lnTo>
                      <a:pt x="526" y="64"/>
                    </a:lnTo>
                    <a:lnTo>
                      <a:pt x="526" y="64"/>
                    </a:lnTo>
                    <a:lnTo>
                      <a:pt x="522" y="64"/>
                    </a:lnTo>
                    <a:lnTo>
                      <a:pt x="478" y="2"/>
                    </a:lnTo>
                    <a:lnTo>
                      <a:pt x="478" y="2"/>
                    </a:lnTo>
                    <a:lnTo>
                      <a:pt x="476" y="0"/>
                    </a:lnTo>
                    <a:lnTo>
                      <a:pt x="474" y="0"/>
                    </a:lnTo>
                    <a:lnTo>
                      <a:pt x="474" y="0"/>
                    </a:lnTo>
                    <a:lnTo>
                      <a:pt x="474" y="2"/>
                    </a:lnTo>
                    <a:lnTo>
                      <a:pt x="474" y="4"/>
                    </a:lnTo>
                    <a:lnTo>
                      <a:pt x="516" y="68"/>
                    </a:lnTo>
                    <a:lnTo>
                      <a:pt x="516" y="68"/>
                    </a:lnTo>
                    <a:lnTo>
                      <a:pt x="512" y="74"/>
                    </a:lnTo>
                    <a:lnTo>
                      <a:pt x="512" y="74"/>
                    </a:lnTo>
                    <a:lnTo>
                      <a:pt x="502" y="74"/>
                    </a:lnTo>
                    <a:lnTo>
                      <a:pt x="494" y="76"/>
                    </a:lnTo>
                    <a:lnTo>
                      <a:pt x="482" y="84"/>
                    </a:lnTo>
                    <a:lnTo>
                      <a:pt x="482" y="84"/>
                    </a:lnTo>
                    <a:lnTo>
                      <a:pt x="464" y="98"/>
                    </a:lnTo>
                    <a:lnTo>
                      <a:pt x="460" y="102"/>
                    </a:lnTo>
                    <a:lnTo>
                      <a:pt x="460" y="104"/>
                    </a:lnTo>
                    <a:lnTo>
                      <a:pt x="462" y="104"/>
                    </a:lnTo>
                    <a:lnTo>
                      <a:pt x="462" y="104"/>
                    </a:lnTo>
                    <a:lnTo>
                      <a:pt x="472" y="104"/>
                    </a:lnTo>
                    <a:lnTo>
                      <a:pt x="484" y="104"/>
                    </a:lnTo>
                    <a:lnTo>
                      <a:pt x="502" y="100"/>
                    </a:lnTo>
                    <a:lnTo>
                      <a:pt x="502" y="100"/>
                    </a:lnTo>
                    <a:lnTo>
                      <a:pt x="502" y="106"/>
                    </a:lnTo>
                    <a:lnTo>
                      <a:pt x="504" y="110"/>
                    </a:lnTo>
                    <a:lnTo>
                      <a:pt x="510" y="116"/>
                    </a:lnTo>
                    <a:lnTo>
                      <a:pt x="510" y="116"/>
                    </a:lnTo>
                    <a:lnTo>
                      <a:pt x="510" y="116"/>
                    </a:lnTo>
                    <a:lnTo>
                      <a:pt x="510" y="118"/>
                    </a:lnTo>
                    <a:lnTo>
                      <a:pt x="504" y="118"/>
                    </a:lnTo>
                    <a:lnTo>
                      <a:pt x="484" y="120"/>
                    </a:lnTo>
                    <a:lnTo>
                      <a:pt x="484" y="120"/>
                    </a:lnTo>
                    <a:lnTo>
                      <a:pt x="476" y="120"/>
                    </a:lnTo>
                    <a:lnTo>
                      <a:pt x="470" y="124"/>
                    </a:lnTo>
                    <a:lnTo>
                      <a:pt x="466" y="130"/>
                    </a:lnTo>
                    <a:lnTo>
                      <a:pt x="464" y="136"/>
                    </a:lnTo>
                    <a:lnTo>
                      <a:pt x="464" y="136"/>
                    </a:lnTo>
                    <a:lnTo>
                      <a:pt x="464" y="138"/>
                    </a:lnTo>
                    <a:lnTo>
                      <a:pt x="464" y="138"/>
                    </a:lnTo>
                    <a:lnTo>
                      <a:pt x="464" y="148"/>
                    </a:lnTo>
                    <a:lnTo>
                      <a:pt x="460" y="156"/>
                    </a:lnTo>
                    <a:lnTo>
                      <a:pt x="452" y="168"/>
                    </a:lnTo>
                    <a:lnTo>
                      <a:pt x="452" y="168"/>
                    </a:lnTo>
                    <a:lnTo>
                      <a:pt x="450" y="172"/>
                    </a:lnTo>
                    <a:lnTo>
                      <a:pt x="452" y="176"/>
                    </a:lnTo>
                    <a:lnTo>
                      <a:pt x="454" y="184"/>
                    </a:lnTo>
                    <a:lnTo>
                      <a:pt x="456" y="184"/>
                    </a:lnTo>
                    <a:lnTo>
                      <a:pt x="456" y="184"/>
                    </a:lnTo>
                    <a:lnTo>
                      <a:pt x="448" y="188"/>
                    </a:lnTo>
                    <a:lnTo>
                      <a:pt x="448" y="188"/>
                    </a:lnTo>
                    <a:lnTo>
                      <a:pt x="444" y="188"/>
                    </a:lnTo>
                    <a:lnTo>
                      <a:pt x="442" y="192"/>
                    </a:lnTo>
                    <a:lnTo>
                      <a:pt x="434" y="204"/>
                    </a:lnTo>
                    <a:lnTo>
                      <a:pt x="434" y="204"/>
                    </a:lnTo>
                    <a:lnTo>
                      <a:pt x="338" y="204"/>
                    </a:lnTo>
                    <a:lnTo>
                      <a:pt x="338" y="210"/>
                    </a:lnTo>
                    <a:lnTo>
                      <a:pt x="346" y="210"/>
                    </a:lnTo>
                    <a:lnTo>
                      <a:pt x="346" y="218"/>
                    </a:lnTo>
                    <a:lnTo>
                      <a:pt x="350" y="218"/>
                    </a:lnTo>
                    <a:lnTo>
                      <a:pt x="350" y="278"/>
                    </a:lnTo>
                    <a:lnTo>
                      <a:pt x="0" y="278"/>
                    </a:lnTo>
                    <a:lnTo>
                      <a:pt x="0" y="290"/>
                    </a:lnTo>
                    <a:lnTo>
                      <a:pt x="18" y="304"/>
                    </a:lnTo>
                    <a:lnTo>
                      <a:pt x="34" y="304"/>
                    </a:lnTo>
                    <a:lnTo>
                      <a:pt x="44" y="314"/>
                    </a:lnTo>
                    <a:lnTo>
                      <a:pt x="44" y="330"/>
                    </a:lnTo>
                    <a:lnTo>
                      <a:pt x="60" y="330"/>
                    </a:lnTo>
                    <a:lnTo>
                      <a:pt x="60" y="344"/>
                    </a:lnTo>
                    <a:lnTo>
                      <a:pt x="68" y="344"/>
                    </a:lnTo>
                    <a:lnTo>
                      <a:pt x="68" y="362"/>
                    </a:lnTo>
                    <a:lnTo>
                      <a:pt x="72" y="362"/>
                    </a:lnTo>
                    <a:lnTo>
                      <a:pt x="72" y="370"/>
                    </a:lnTo>
                    <a:lnTo>
                      <a:pt x="74" y="370"/>
                    </a:lnTo>
                    <a:lnTo>
                      <a:pt x="74" y="532"/>
                    </a:lnTo>
                    <a:lnTo>
                      <a:pt x="70" y="532"/>
                    </a:lnTo>
                    <a:lnTo>
                      <a:pt x="70" y="538"/>
                    </a:lnTo>
                    <a:lnTo>
                      <a:pt x="64" y="538"/>
                    </a:lnTo>
                    <a:lnTo>
                      <a:pt x="64" y="542"/>
                    </a:lnTo>
                    <a:lnTo>
                      <a:pt x="60" y="542"/>
                    </a:lnTo>
                    <a:lnTo>
                      <a:pt x="60" y="546"/>
                    </a:lnTo>
                    <a:lnTo>
                      <a:pt x="56" y="546"/>
                    </a:lnTo>
                    <a:lnTo>
                      <a:pt x="56" y="554"/>
                    </a:lnTo>
                    <a:lnTo>
                      <a:pt x="34" y="554"/>
                    </a:lnTo>
                    <a:lnTo>
                      <a:pt x="34" y="592"/>
                    </a:lnTo>
                    <a:lnTo>
                      <a:pt x="1004" y="592"/>
                    </a:lnTo>
                    <a:lnTo>
                      <a:pt x="1004" y="554"/>
                    </a:lnTo>
                    <a:lnTo>
                      <a:pt x="974" y="554"/>
                    </a:lnTo>
                    <a:lnTo>
                      <a:pt x="974" y="546"/>
                    </a:lnTo>
                    <a:lnTo>
                      <a:pt x="970" y="546"/>
                    </a:lnTo>
                    <a:lnTo>
                      <a:pt x="970" y="542"/>
                    </a:lnTo>
                    <a:lnTo>
                      <a:pt x="966" y="542"/>
                    </a:lnTo>
                    <a:lnTo>
                      <a:pt x="966" y="538"/>
                    </a:lnTo>
                    <a:lnTo>
                      <a:pt x="962" y="538"/>
                    </a:lnTo>
                    <a:lnTo>
                      <a:pt x="962" y="532"/>
                    </a:lnTo>
                    <a:lnTo>
                      <a:pt x="958" y="532"/>
                    </a:lnTo>
                    <a:lnTo>
                      <a:pt x="958" y="370"/>
                    </a:lnTo>
                    <a:lnTo>
                      <a:pt x="960" y="370"/>
                    </a:lnTo>
                    <a:lnTo>
                      <a:pt x="960" y="362"/>
                    </a:lnTo>
                    <a:lnTo>
                      <a:pt x="964" y="362"/>
                    </a:lnTo>
                    <a:lnTo>
                      <a:pt x="964" y="344"/>
                    </a:lnTo>
                    <a:lnTo>
                      <a:pt x="972" y="344"/>
                    </a:lnTo>
                    <a:lnTo>
                      <a:pt x="972" y="330"/>
                    </a:lnTo>
                    <a:lnTo>
                      <a:pt x="988" y="330"/>
                    </a:lnTo>
                    <a:lnTo>
                      <a:pt x="988" y="314"/>
                    </a:lnTo>
                    <a:lnTo>
                      <a:pt x="998" y="304"/>
                    </a:lnTo>
                    <a:lnTo>
                      <a:pt x="1014" y="304"/>
                    </a:lnTo>
                    <a:lnTo>
                      <a:pt x="1032" y="290"/>
                    </a:lnTo>
                    <a:lnTo>
                      <a:pt x="1032" y="278"/>
                    </a:lnTo>
                    <a:lnTo>
                      <a:pt x="686" y="278"/>
                    </a:lnTo>
                    <a:close/>
                    <a:moveTo>
                      <a:pt x="158" y="532"/>
                    </a:moveTo>
                    <a:lnTo>
                      <a:pt x="154" y="532"/>
                    </a:lnTo>
                    <a:lnTo>
                      <a:pt x="154" y="538"/>
                    </a:lnTo>
                    <a:lnTo>
                      <a:pt x="150" y="538"/>
                    </a:lnTo>
                    <a:lnTo>
                      <a:pt x="150" y="542"/>
                    </a:lnTo>
                    <a:lnTo>
                      <a:pt x="146" y="542"/>
                    </a:lnTo>
                    <a:lnTo>
                      <a:pt x="146" y="546"/>
                    </a:lnTo>
                    <a:lnTo>
                      <a:pt x="142" y="546"/>
                    </a:lnTo>
                    <a:lnTo>
                      <a:pt x="142" y="554"/>
                    </a:lnTo>
                    <a:lnTo>
                      <a:pt x="120" y="554"/>
                    </a:lnTo>
                    <a:lnTo>
                      <a:pt x="120" y="546"/>
                    </a:lnTo>
                    <a:lnTo>
                      <a:pt x="116" y="546"/>
                    </a:lnTo>
                    <a:lnTo>
                      <a:pt x="116" y="542"/>
                    </a:lnTo>
                    <a:lnTo>
                      <a:pt x="112" y="542"/>
                    </a:lnTo>
                    <a:lnTo>
                      <a:pt x="112" y="538"/>
                    </a:lnTo>
                    <a:lnTo>
                      <a:pt x="106" y="538"/>
                    </a:lnTo>
                    <a:lnTo>
                      <a:pt x="106" y="532"/>
                    </a:lnTo>
                    <a:lnTo>
                      <a:pt x="102" y="532"/>
                    </a:lnTo>
                    <a:lnTo>
                      <a:pt x="102" y="370"/>
                    </a:lnTo>
                    <a:lnTo>
                      <a:pt x="104" y="370"/>
                    </a:lnTo>
                    <a:lnTo>
                      <a:pt x="104" y="362"/>
                    </a:lnTo>
                    <a:lnTo>
                      <a:pt x="108" y="362"/>
                    </a:lnTo>
                    <a:lnTo>
                      <a:pt x="108" y="344"/>
                    </a:lnTo>
                    <a:lnTo>
                      <a:pt x="152" y="344"/>
                    </a:lnTo>
                    <a:lnTo>
                      <a:pt x="152" y="362"/>
                    </a:lnTo>
                    <a:lnTo>
                      <a:pt x="156" y="362"/>
                    </a:lnTo>
                    <a:lnTo>
                      <a:pt x="156" y="370"/>
                    </a:lnTo>
                    <a:lnTo>
                      <a:pt x="158" y="370"/>
                    </a:lnTo>
                    <a:lnTo>
                      <a:pt x="158" y="532"/>
                    </a:lnTo>
                    <a:close/>
                    <a:moveTo>
                      <a:pt x="240" y="532"/>
                    </a:moveTo>
                    <a:lnTo>
                      <a:pt x="238" y="532"/>
                    </a:lnTo>
                    <a:lnTo>
                      <a:pt x="238" y="538"/>
                    </a:lnTo>
                    <a:lnTo>
                      <a:pt x="232" y="538"/>
                    </a:lnTo>
                    <a:lnTo>
                      <a:pt x="232" y="542"/>
                    </a:lnTo>
                    <a:lnTo>
                      <a:pt x="228" y="542"/>
                    </a:lnTo>
                    <a:lnTo>
                      <a:pt x="228" y="546"/>
                    </a:lnTo>
                    <a:lnTo>
                      <a:pt x="224" y="546"/>
                    </a:lnTo>
                    <a:lnTo>
                      <a:pt x="224" y="554"/>
                    </a:lnTo>
                    <a:lnTo>
                      <a:pt x="204" y="554"/>
                    </a:lnTo>
                    <a:lnTo>
                      <a:pt x="204" y="546"/>
                    </a:lnTo>
                    <a:lnTo>
                      <a:pt x="200" y="546"/>
                    </a:lnTo>
                    <a:lnTo>
                      <a:pt x="200" y="542"/>
                    </a:lnTo>
                    <a:lnTo>
                      <a:pt x="196" y="542"/>
                    </a:lnTo>
                    <a:lnTo>
                      <a:pt x="196" y="538"/>
                    </a:lnTo>
                    <a:lnTo>
                      <a:pt x="192" y="538"/>
                    </a:lnTo>
                    <a:lnTo>
                      <a:pt x="192" y="532"/>
                    </a:lnTo>
                    <a:lnTo>
                      <a:pt x="188" y="532"/>
                    </a:lnTo>
                    <a:lnTo>
                      <a:pt x="188" y="370"/>
                    </a:lnTo>
                    <a:lnTo>
                      <a:pt x="190" y="370"/>
                    </a:lnTo>
                    <a:lnTo>
                      <a:pt x="190" y="362"/>
                    </a:lnTo>
                    <a:lnTo>
                      <a:pt x="194" y="362"/>
                    </a:lnTo>
                    <a:lnTo>
                      <a:pt x="194" y="344"/>
                    </a:lnTo>
                    <a:lnTo>
                      <a:pt x="236" y="344"/>
                    </a:lnTo>
                    <a:lnTo>
                      <a:pt x="236" y="362"/>
                    </a:lnTo>
                    <a:lnTo>
                      <a:pt x="238" y="362"/>
                    </a:lnTo>
                    <a:lnTo>
                      <a:pt x="238" y="370"/>
                    </a:lnTo>
                    <a:lnTo>
                      <a:pt x="240" y="370"/>
                    </a:lnTo>
                    <a:lnTo>
                      <a:pt x="240" y="532"/>
                    </a:lnTo>
                    <a:close/>
                    <a:moveTo>
                      <a:pt x="322" y="532"/>
                    </a:moveTo>
                    <a:lnTo>
                      <a:pt x="318" y="532"/>
                    </a:lnTo>
                    <a:lnTo>
                      <a:pt x="318" y="538"/>
                    </a:lnTo>
                    <a:lnTo>
                      <a:pt x="312" y="538"/>
                    </a:lnTo>
                    <a:lnTo>
                      <a:pt x="312" y="542"/>
                    </a:lnTo>
                    <a:lnTo>
                      <a:pt x="310" y="542"/>
                    </a:lnTo>
                    <a:lnTo>
                      <a:pt x="310" y="546"/>
                    </a:lnTo>
                    <a:lnTo>
                      <a:pt x="306" y="546"/>
                    </a:lnTo>
                    <a:lnTo>
                      <a:pt x="306" y="554"/>
                    </a:lnTo>
                    <a:lnTo>
                      <a:pt x="286" y="554"/>
                    </a:lnTo>
                    <a:lnTo>
                      <a:pt x="286" y="546"/>
                    </a:lnTo>
                    <a:lnTo>
                      <a:pt x="282" y="546"/>
                    </a:lnTo>
                    <a:lnTo>
                      <a:pt x="282" y="542"/>
                    </a:lnTo>
                    <a:lnTo>
                      <a:pt x="280" y="542"/>
                    </a:lnTo>
                    <a:lnTo>
                      <a:pt x="280" y="538"/>
                    </a:lnTo>
                    <a:lnTo>
                      <a:pt x="274" y="538"/>
                    </a:lnTo>
                    <a:lnTo>
                      <a:pt x="274" y="532"/>
                    </a:lnTo>
                    <a:lnTo>
                      <a:pt x="270" y="532"/>
                    </a:lnTo>
                    <a:lnTo>
                      <a:pt x="270" y="370"/>
                    </a:lnTo>
                    <a:lnTo>
                      <a:pt x="272" y="370"/>
                    </a:lnTo>
                    <a:lnTo>
                      <a:pt x="272" y="362"/>
                    </a:lnTo>
                    <a:lnTo>
                      <a:pt x="276" y="362"/>
                    </a:lnTo>
                    <a:lnTo>
                      <a:pt x="276" y="344"/>
                    </a:lnTo>
                    <a:lnTo>
                      <a:pt x="316" y="344"/>
                    </a:lnTo>
                    <a:lnTo>
                      <a:pt x="316" y="362"/>
                    </a:lnTo>
                    <a:lnTo>
                      <a:pt x="320" y="362"/>
                    </a:lnTo>
                    <a:lnTo>
                      <a:pt x="320" y="370"/>
                    </a:lnTo>
                    <a:lnTo>
                      <a:pt x="322" y="370"/>
                    </a:lnTo>
                    <a:lnTo>
                      <a:pt x="322" y="532"/>
                    </a:lnTo>
                    <a:close/>
                    <a:moveTo>
                      <a:pt x="570" y="146"/>
                    </a:moveTo>
                    <a:lnTo>
                      <a:pt x="570" y="146"/>
                    </a:lnTo>
                    <a:lnTo>
                      <a:pt x="574" y="164"/>
                    </a:lnTo>
                    <a:lnTo>
                      <a:pt x="574" y="164"/>
                    </a:lnTo>
                    <a:lnTo>
                      <a:pt x="574" y="170"/>
                    </a:lnTo>
                    <a:lnTo>
                      <a:pt x="570" y="176"/>
                    </a:lnTo>
                    <a:lnTo>
                      <a:pt x="562" y="184"/>
                    </a:lnTo>
                    <a:lnTo>
                      <a:pt x="562" y="184"/>
                    </a:lnTo>
                    <a:lnTo>
                      <a:pt x="558" y="186"/>
                    </a:lnTo>
                    <a:lnTo>
                      <a:pt x="556" y="186"/>
                    </a:lnTo>
                    <a:lnTo>
                      <a:pt x="554" y="182"/>
                    </a:lnTo>
                    <a:lnTo>
                      <a:pt x="556" y="174"/>
                    </a:lnTo>
                    <a:lnTo>
                      <a:pt x="556" y="174"/>
                    </a:lnTo>
                    <a:lnTo>
                      <a:pt x="558" y="170"/>
                    </a:lnTo>
                    <a:lnTo>
                      <a:pt x="560" y="166"/>
                    </a:lnTo>
                    <a:lnTo>
                      <a:pt x="562" y="158"/>
                    </a:lnTo>
                    <a:lnTo>
                      <a:pt x="560" y="152"/>
                    </a:lnTo>
                    <a:lnTo>
                      <a:pt x="560" y="150"/>
                    </a:lnTo>
                    <a:lnTo>
                      <a:pt x="546" y="130"/>
                    </a:lnTo>
                    <a:lnTo>
                      <a:pt x="546" y="130"/>
                    </a:lnTo>
                    <a:lnTo>
                      <a:pt x="546" y="130"/>
                    </a:lnTo>
                    <a:lnTo>
                      <a:pt x="542" y="128"/>
                    </a:lnTo>
                    <a:lnTo>
                      <a:pt x="540" y="126"/>
                    </a:lnTo>
                    <a:lnTo>
                      <a:pt x="542" y="112"/>
                    </a:lnTo>
                    <a:lnTo>
                      <a:pt x="542" y="112"/>
                    </a:lnTo>
                    <a:lnTo>
                      <a:pt x="544" y="110"/>
                    </a:lnTo>
                    <a:lnTo>
                      <a:pt x="570" y="146"/>
                    </a:lnTo>
                    <a:close/>
                    <a:moveTo>
                      <a:pt x="554" y="166"/>
                    </a:moveTo>
                    <a:lnTo>
                      <a:pt x="554" y="166"/>
                    </a:lnTo>
                    <a:lnTo>
                      <a:pt x="554" y="166"/>
                    </a:lnTo>
                    <a:lnTo>
                      <a:pt x="554" y="166"/>
                    </a:lnTo>
                    <a:lnTo>
                      <a:pt x="550" y="164"/>
                    </a:lnTo>
                    <a:lnTo>
                      <a:pt x="548" y="162"/>
                    </a:lnTo>
                    <a:lnTo>
                      <a:pt x="544" y="162"/>
                    </a:lnTo>
                    <a:lnTo>
                      <a:pt x="536" y="148"/>
                    </a:lnTo>
                    <a:lnTo>
                      <a:pt x="536" y="148"/>
                    </a:lnTo>
                    <a:lnTo>
                      <a:pt x="538" y="148"/>
                    </a:lnTo>
                    <a:lnTo>
                      <a:pt x="544" y="144"/>
                    </a:lnTo>
                    <a:lnTo>
                      <a:pt x="544" y="144"/>
                    </a:lnTo>
                    <a:lnTo>
                      <a:pt x="552" y="150"/>
                    </a:lnTo>
                    <a:lnTo>
                      <a:pt x="556" y="156"/>
                    </a:lnTo>
                    <a:lnTo>
                      <a:pt x="556" y="160"/>
                    </a:lnTo>
                    <a:lnTo>
                      <a:pt x="554" y="166"/>
                    </a:lnTo>
                    <a:lnTo>
                      <a:pt x="554" y="166"/>
                    </a:lnTo>
                    <a:close/>
                    <a:moveTo>
                      <a:pt x="490" y="152"/>
                    </a:moveTo>
                    <a:lnTo>
                      <a:pt x="490" y="152"/>
                    </a:lnTo>
                    <a:lnTo>
                      <a:pt x="496" y="152"/>
                    </a:lnTo>
                    <a:lnTo>
                      <a:pt x="500" y="150"/>
                    </a:lnTo>
                    <a:lnTo>
                      <a:pt x="508" y="146"/>
                    </a:lnTo>
                    <a:lnTo>
                      <a:pt x="508" y="146"/>
                    </a:lnTo>
                    <a:lnTo>
                      <a:pt x="522" y="148"/>
                    </a:lnTo>
                    <a:lnTo>
                      <a:pt x="526" y="164"/>
                    </a:lnTo>
                    <a:lnTo>
                      <a:pt x="522" y="168"/>
                    </a:lnTo>
                    <a:lnTo>
                      <a:pt x="514" y="170"/>
                    </a:lnTo>
                    <a:lnTo>
                      <a:pt x="506" y="174"/>
                    </a:lnTo>
                    <a:lnTo>
                      <a:pt x="506" y="174"/>
                    </a:lnTo>
                    <a:lnTo>
                      <a:pt x="506" y="176"/>
                    </a:lnTo>
                    <a:lnTo>
                      <a:pt x="506" y="176"/>
                    </a:lnTo>
                    <a:lnTo>
                      <a:pt x="496" y="164"/>
                    </a:lnTo>
                    <a:lnTo>
                      <a:pt x="490" y="152"/>
                    </a:lnTo>
                    <a:lnTo>
                      <a:pt x="490" y="152"/>
                    </a:lnTo>
                    <a:lnTo>
                      <a:pt x="490" y="152"/>
                    </a:lnTo>
                    <a:lnTo>
                      <a:pt x="490" y="152"/>
                    </a:lnTo>
                    <a:close/>
                    <a:moveTo>
                      <a:pt x="462" y="166"/>
                    </a:moveTo>
                    <a:lnTo>
                      <a:pt x="462" y="166"/>
                    </a:lnTo>
                    <a:lnTo>
                      <a:pt x="470" y="158"/>
                    </a:lnTo>
                    <a:lnTo>
                      <a:pt x="502" y="180"/>
                    </a:lnTo>
                    <a:lnTo>
                      <a:pt x="502" y="180"/>
                    </a:lnTo>
                    <a:lnTo>
                      <a:pt x="498" y="184"/>
                    </a:lnTo>
                    <a:lnTo>
                      <a:pt x="498" y="184"/>
                    </a:lnTo>
                    <a:lnTo>
                      <a:pt x="496" y="184"/>
                    </a:lnTo>
                    <a:lnTo>
                      <a:pt x="494" y="184"/>
                    </a:lnTo>
                    <a:lnTo>
                      <a:pt x="490" y="182"/>
                    </a:lnTo>
                    <a:lnTo>
                      <a:pt x="490" y="182"/>
                    </a:lnTo>
                    <a:lnTo>
                      <a:pt x="486" y="178"/>
                    </a:lnTo>
                    <a:lnTo>
                      <a:pt x="480" y="174"/>
                    </a:lnTo>
                    <a:lnTo>
                      <a:pt x="480" y="174"/>
                    </a:lnTo>
                    <a:lnTo>
                      <a:pt x="478" y="174"/>
                    </a:lnTo>
                    <a:lnTo>
                      <a:pt x="474" y="174"/>
                    </a:lnTo>
                    <a:lnTo>
                      <a:pt x="468" y="178"/>
                    </a:lnTo>
                    <a:lnTo>
                      <a:pt x="468" y="178"/>
                    </a:lnTo>
                    <a:lnTo>
                      <a:pt x="464" y="180"/>
                    </a:lnTo>
                    <a:lnTo>
                      <a:pt x="460" y="180"/>
                    </a:lnTo>
                    <a:lnTo>
                      <a:pt x="460" y="180"/>
                    </a:lnTo>
                    <a:lnTo>
                      <a:pt x="460" y="176"/>
                    </a:lnTo>
                    <a:lnTo>
                      <a:pt x="460" y="172"/>
                    </a:lnTo>
                    <a:lnTo>
                      <a:pt x="462" y="166"/>
                    </a:lnTo>
                    <a:lnTo>
                      <a:pt x="462" y="166"/>
                    </a:lnTo>
                    <a:close/>
                    <a:moveTo>
                      <a:pt x="588" y="554"/>
                    </a:moveTo>
                    <a:lnTo>
                      <a:pt x="448" y="554"/>
                    </a:lnTo>
                    <a:lnTo>
                      <a:pt x="448" y="380"/>
                    </a:lnTo>
                    <a:lnTo>
                      <a:pt x="448" y="380"/>
                    </a:lnTo>
                    <a:lnTo>
                      <a:pt x="448" y="370"/>
                    </a:lnTo>
                    <a:lnTo>
                      <a:pt x="452" y="358"/>
                    </a:lnTo>
                    <a:lnTo>
                      <a:pt x="456" y="346"/>
                    </a:lnTo>
                    <a:lnTo>
                      <a:pt x="464" y="336"/>
                    </a:lnTo>
                    <a:lnTo>
                      <a:pt x="472" y="326"/>
                    </a:lnTo>
                    <a:lnTo>
                      <a:pt x="484" y="320"/>
                    </a:lnTo>
                    <a:lnTo>
                      <a:pt x="496" y="314"/>
                    </a:lnTo>
                    <a:lnTo>
                      <a:pt x="510" y="310"/>
                    </a:lnTo>
                    <a:lnTo>
                      <a:pt x="528" y="310"/>
                    </a:lnTo>
                    <a:lnTo>
                      <a:pt x="528" y="310"/>
                    </a:lnTo>
                    <a:lnTo>
                      <a:pt x="542" y="314"/>
                    </a:lnTo>
                    <a:lnTo>
                      <a:pt x="554" y="320"/>
                    </a:lnTo>
                    <a:lnTo>
                      <a:pt x="564" y="326"/>
                    </a:lnTo>
                    <a:lnTo>
                      <a:pt x="574" y="336"/>
                    </a:lnTo>
                    <a:lnTo>
                      <a:pt x="580" y="346"/>
                    </a:lnTo>
                    <a:lnTo>
                      <a:pt x="584" y="358"/>
                    </a:lnTo>
                    <a:lnTo>
                      <a:pt x="588" y="370"/>
                    </a:lnTo>
                    <a:lnTo>
                      <a:pt x="588" y="380"/>
                    </a:lnTo>
                    <a:lnTo>
                      <a:pt x="588" y="380"/>
                    </a:lnTo>
                    <a:lnTo>
                      <a:pt x="588" y="554"/>
                    </a:lnTo>
                    <a:lnTo>
                      <a:pt x="588" y="554"/>
                    </a:lnTo>
                    <a:close/>
                    <a:moveTo>
                      <a:pt x="760" y="532"/>
                    </a:moveTo>
                    <a:lnTo>
                      <a:pt x="758" y="532"/>
                    </a:lnTo>
                    <a:lnTo>
                      <a:pt x="758" y="538"/>
                    </a:lnTo>
                    <a:lnTo>
                      <a:pt x="752" y="538"/>
                    </a:lnTo>
                    <a:lnTo>
                      <a:pt x="752" y="542"/>
                    </a:lnTo>
                    <a:lnTo>
                      <a:pt x="748" y="542"/>
                    </a:lnTo>
                    <a:lnTo>
                      <a:pt x="748" y="546"/>
                    </a:lnTo>
                    <a:lnTo>
                      <a:pt x="744" y="546"/>
                    </a:lnTo>
                    <a:lnTo>
                      <a:pt x="744" y="554"/>
                    </a:lnTo>
                    <a:lnTo>
                      <a:pt x="726" y="554"/>
                    </a:lnTo>
                    <a:lnTo>
                      <a:pt x="726" y="546"/>
                    </a:lnTo>
                    <a:lnTo>
                      <a:pt x="722" y="546"/>
                    </a:lnTo>
                    <a:lnTo>
                      <a:pt x="722" y="542"/>
                    </a:lnTo>
                    <a:lnTo>
                      <a:pt x="718" y="542"/>
                    </a:lnTo>
                    <a:lnTo>
                      <a:pt x="718" y="538"/>
                    </a:lnTo>
                    <a:lnTo>
                      <a:pt x="714" y="538"/>
                    </a:lnTo>
                    <a:lnTo>
                      <a:pt x="714" y="532"/>
                    </a:lnTo>
                    <a:lnTo>
                      <a:pt x="710" y="532"/>
                    </a:lnTo>
                    <a:lnTo>
                      <a:pt x="710" y="370"/>
                    </a:lnTo>
                    <a:lnTo>
                      <a:pt x="712" y="370"/>
                    </a:lnTo>
                    <a:lnTo>
                      <a:pt x="712" y="362"/>
                    </a:lnTo>
                    <a:lnTo>
                      <a:pt x="716" y="362"/>
                    </a:lnTo>
                    <a:lnTo>
                      <a:pt x="716" y="344"/>
                    </a:lnTo>
                    <a:lnTo>
                      <a:pt x="756" y="344"/>
                    </a:lnTo>
                    <a:lnTo>
                      <a:pt x="756" y="362"/>
                    </a:lnTo>
                    <a:lnTo>
                      <a:pt x="758" y="362"/>
                    </a:lnTo>
                    <a:lnTo>
                      <a:pt x="758" y="370"/>
                    </a:lnTo>
                    <a:lnTo>
                      <a:pt x="760" y="370"/>
                    </a:lnTo>
                    <a:lnTo>
                      <a:pt x="760" y="532"/>
                    </a:lnTo>
                    <a:close/>
                    <a:moveTo>
                      <a:pt x="844" y="532"/>
                    </a:moveTo>
                    <a:lnTo>
                      <a:pt x="840" y="532"/>
                    </a:lnTo>
                    <a:lnTo>
                      <a:pt x="840" y="538"/>
                    </a:lnTo>
                    <a:lnTo>
                      <a:pt x="834" y="538"/>
                    </a:lnTo>
                    <a:lnTo>
                      <a:pt x="834" y="542"/>
                    </a:lnTo>
                    <a:lnTo>
                      <a:pt x="832" y="542"/>
                    </a:lnTo>
                    <a:lnTo>
                      <a:pt x="832" y="546"/>
                    </a:lnTo>
                    <a:lnTo>
                      <a:pt x="828" y="546"/>
                    </a:lnTo>
                    <a:lnTo>
                      <a:pt x="828" y="554"/>
                    </a:lnTo>
                    <a:lnTo>
                      <a:pt x="806" y="554"/>
                    </a:lnTo>
                    <a:lnTo>
                      <a:pt x="806" y="546"/>
                    </a:lnTo>
                    <a:lnTo>
                      <a:pt x="802" y="546"/>
                    </a:lnTo>
                    <a:lnTo>
                      <a:pt x="802" y="542"/>
                    </a:lnTo>
                    <a:lnTo>
                      <a:pt x="800" y="542"/>
                    </a:lnTo>
                    <a:lnTo>
                      <a:pt x="800" y="538"/>
                    </a:lnTo>
                    <a:lnTo>
                      <a:pt x="794" y="538"/>
                    </a:lnTo>
                    <a:lnTo>
                      <a:pt x="794" y="532"/>
                    </a:lnTo>
                    <a:lnTo>
                      <a:pt x="790" y="532"/>
                    </a:lnTo>
                    <a:lnTo>
                      <a:pt x="790" y="370"/>
                    </a:lnTo>
                    <a:lnTo>
                      <a:pt x="792" y="370"/>
                    </a:lnTo>
                    <a:lnTo>
                      <a:pt x="792" y="362"/>
                    </a:lnTo>
                    <a:lnTo>
                      <a:pt x="796" y="362"/>
                    </a:lnTo>
                    <a:lnTo>
                      <a:pt x="796" y="344"/>
                    </a:lnTo>
                    <a:lnTo>
                      <a:pt x="838" y="344"/>
                    </a:lnTo>
                    <a:lnTo>
                      <a:pt x="838" y="362"/>
                    </a:lnTo>
                    <a:lnTo>
                      <a:pt x="842" y="362"/>
                    </a:lnTo>
                    <a:lnTo>
                      <a:pt x="842" y="370"/>
                    </a:lnTo>
                    <a:lnTo>
                      <a:pt x="844" y="370"/>
                    </a:lnTo>
                    <a:lnTo>
                      <a:pt x="844" y="532"/>
                    </a:lnTo>
                    <a:close/>
                    <a:moveTo>
                      <a:pt x="928" y="532"/>
                    </a:moveTo>
                    <a:lnTo>
                      <a:pt x="924" y="532"/>
                    </a:lnTo>
                    <a:lnTo>
                      <a:pt x="924" y="538"/>
                    </a:lnTo>
                    <a:lnTo>
                      <a:pt x="920" y="538"/>
                    </a:lnTo>
                    <a:lnTo>
                      <a:pt x="920" y="542"/>
                    </a:lnTo>
                    <a:lnTo>
                      <a:pt x="916" y="542"/>
                    </a:lnTo>
                    <a:lnTo>
                      <a:pt x="916" y="546"/>
                    </a:lnTo>
                    <a:lnTo>
                      <a:pt x="912" y="546"/>
                    </a:lnTo>
                    <a:lnTo>
                      <a:pt x="912" y="554"/>
                    </a:lnTo>
                    <a:lnTo>
                      <a:pt x="890" y="554"/>
                    </a:lnTo>
                    <a:lnTo>
                      <a:pt x="890" y="546"/>
                    </a:lnTo>
                    <a:lnTo>
                      <a:pt x="886" y="546"/>
                    </a:lnTo>
                    <a:lnTo>
                      <a:pt x="886" y="542"/>
                    </a:lnTo>
                    <a:lnTo>
                      <a:pt x="882" y="542"/>
                    </a:lnTo>
                    <a:lnTo>
                      <a:pt x="882" y="538"/>
                    </a:lnTo>
                    <a:lnTo>
                      <a:pt x="876" y="538"/>
                    </a:lnTo>
                    <a:lnTo>
                      <a:pt x="876" y="532"/>
                    </a:lnTo>
                    <a:lnTo>
                      <a:pt x="874" y="532"/>
                    </a:lnTo>
                    <a:lnTo>
                      <a:pt x="874" y="370"/>
                    </a:lnTo>
                    <a:lnTo>
                      <a:pt x="876" y="370"/>
                    </a:lnTo>
                    <a:lnTo>
                      <a:pt x="876" y="362"/>
                    </a:lnTo>
                    <a:lnTo>
                      <a:pt x="878" y="362"/>
                    </a:lnTo>
                    <a:lnTo>
                      <a:pt x="878" y="344"/>
                    </a:lnTo>
                    <a:lnTo>
                      <a:pt x="922" y="344"/>
                    </a:lnTo>
                    <a:lnTo>
                      <a:pt x="922" y="362"/>
                    </a:lnTo>
                    <a:lnTo>
                      <a:pt x="926" y="362"/>
                    </a:lnTo>
                    <a:lnTo>
                      <a:pt x="926" y="370"/>
                    </a:lnTo>
                    <a:lnTo>
                      <a:pt x="928" y="370"/>
                    </a:lnTo>
                    <a:lnTo>
                      <a:pt x="928" y="532"/>
                    </a:lnTo>
                    <a:close/>
                  </a:path>
                </a:pathLst>
              </a:custGeom>
              <a:solidFill>
                <a:srgbClr val="84E0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" name="Freeform 223"/>
              <p:cNvSpPr>
                <a:spLocks/>
              </p:cNvSpPr>
              <p:nvPr/>
            </p:nvSpPr>
            <p:spPr bwMode="auto">
              <a:xfrm>
                <a:off x="9146093" y="6794220"/>
                <a:ext cx="42348" cy="37055"/>
              </a:xfrm>
              <a:custGeom>
                <a:avLst/>
                <a:gdLst>
                  <a:gd name="T0" fmla="*/ 26 w 32"/>
                  <a:gd name="T1" fmla="*/ 6 h 28"/>
                  <a:gd name="T2" fmla="*/ 32 w 32"/>
                  <a:gd name="T3" fmla="*/ 0 h 28"/>
                  <a:gd name="T4" fmla="*/ 32 w 32"/>
                  <a:gd name="T5" fmla="*/ 0 h 28"/>
                  <a:gd name="T6" fmla="*/ 26 w 32"/>
                  <a:gd name="T7" fmla="*/ 0 h 28"/>
                  <a:gd name="T8" fmla="*/ 20 w 32"/>
                  <a:gd name="T9" fmla="*/ 2 h 28"/>
                  <a:gd name="T10" fmla="*/ 18 w 32"/>
                  <a:gd name="T11" fmla="*/ 8 h 28"/>
                  <a:gd name="T12" fmla="*/ 16 w 32"/>
                  <a:gd name="T13" fmla="*/ 14 h 28"/>
                  <a:gd name="T14" fmla="*/ 16 w 32"/>
                  <a:gd name="T15" fmla="*/ 14 h 28"/>
                  <a:gd name="T16" fmla="*/ 12 w 32"/>
                  <a:gd name="T17" fmla="*/ 20 h 28"/>
                  <a:gd name="T18" fmla="*/ 6 w 32"/>
                  <a:gd name="T19" fmla="*/ 22 h 28"/>
                  <a:gd name="T20" fmla="*/ 0 w 32"/>
                  <a:gd name="T21" fmla="*/ 24 h 28"/>
                  <a:gd name="T22" fmla="*/ 0 w 32"/>
                  <a:gd name="T23" fmla="*/ 24 h 28"/>
                  <a:gd name="T24" fmla="*/ 8 w 32"/>
                  <a:gd name="T25" fmla="*/ 28 h 28"/>
                  <a:gd name="T26" fmla="*/ 14 w 32"/>
                  <a:gd name="T27" fmla="*/ 28 h 28"/>
                  <a:gd name="T28" fmla="*/ 18 w 32"/>
                  <a:gd name="T29" fmla="*/ 24 h 28"/>
                  <a:gd name="T30" fmla="*/ 22 w 32"/>
                  <a:gd name="T31" fmla="*/ 20 h 28"/>
                  <a:gd name="T32" fmla="*/ 24 w 32"/>
                  <a:gd name="T33" fmla="*/ 10 h 28"/>
                  <a:gd name="T34" fmla="*/ 26 w 32"/>
                  <a:gd name="T35" fmla="*/ 6 h 28"/>
                  <a:gd name="T36" fmla="*/ 26 w 32"/>
                  <a:gd name="T37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2" h="28">
                    <a:moveTo>
                      <a:pt x="26" y="6"/>
                    </a:move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8" y="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20"/>
                    </a:lnTo>
                    <a:lnTo>
                      <a:pt x="6" y="22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8" y="28"/>
                    </a:lnTo>
                    <a:lnTo>
                      <a:pt x="14" y="28"/>
                    </a:lnTo>
                    <a:lnTo>
                      <a:pt x="18" y="24"/>
                    </a:lnTo>
                    <a:lnTo>
                      <a:pt x="22" y="20"/>
                    </a:lnTo>
                    <a:lnTo>
                      <a:pt x="24" y="10"/>
                    </a:lnTo>
                    <a:lnTo>
                      <a:pt x="26" y="6"/>
                    </a:lnTo>
                    <a:lnTo>
                      <a:pt x="26" y="6"/>
                    </a:lnTo>
                    <a:close/>
                  </a:path>
                </a:pathLst>
              </a:custGeom>
              <a:solidFill>
                <a:srgbClr val="19191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10502900" y="6578600"/>
              <a:ext cx="933450" cy="841375"/>
            </a:xfrm>
            <a:custGeom>
              <a:avLst/>
              <a:gdLst>
                <a:gd name="T0" fmla="*/ 4 w 588"/>
                <a:gd name="T1" fmla="*/ 530 h 530"/>
                <a:gd name="T2" fmla="*/ 0 w 588"/>
                <a:gd name="T3" fmla="*/ 528 h 530"/>
                <a:gd name="T4" fmla="*/ 0 w 588"/>
                <a:gd name="T5" fmla="*/ 525 h 530"/>
                <a:gd name="T6" fmla="*/ 23 w 588"/>
                <a:gd name="T7" fmla="*/ 487 h 530"/>
                <a:gd name="T8" fmla="*/ 57 w 588"/>
                <a:gd name="T9" fmla="*/ 453 h 530"/>
                <a:gd name="T10" fmla="*/ 74 w 588"/>
                <a:gd name="T11" fmla="*/ 32 h 530"/>
                <a:gd name="T12" fmla="*/ 97 w 588"/>
                <a:gd name="T13" fmla="*/ 9 h 530"/>
                <a:gd name="T14" fmla="*/ 99 w 588"/>
                <a:gd name="T15" fmla="*/ 7 h 530"/>
                <a:gd name="T16" fmla="*/ 100 w 588"/>
                <a:gd name="T17" fmla="*/ 7 h 530"/>
                <a:gd name="T18" fmla="*/ 104 w 588"/>
                <a:gd name="T19" fmla="*/ 11 h 530"/>
                <a:gd name="T20" fmla="*/ 117 w 588"/>
                <a:gd name="T21" fmla="*/ 423 h 530"/>
                <a:gd name="T22" fmla="*/ 151 w 588"/>
                <a:gd name="T23" fmla="*/ 414 h 530"/>
                <a:gd name="T24" fmla="*/ 186 w 588"/>
                <a:gd name="T25" fmla="*/ 410 h 530"/>
                <a:gd name="T26" fmla="*/ 213 w 588"/>
                <a:gd name="T27" fmla="*/ 410 h 530"/>
                <a:gd name="T28" fmla="*/ 222 w 588"/>
                <a:gd name="T29" fmla="*/ 390 h 530"/>
                <a:gd name="T30" fmla="*/ 238 w 588"/>
                <a:gd name="T31" fmla="*/ 374 h 530"/>
                <a:gd name="T32" fmla="*/ 260 w 588"/>
                <a:gd name="T33" fmla="*/ 363 h 530"/>
                <a:gd name="T34" fmla="*/ 285 w 588"/>
                <a:gd name="T35" fmla="*/ 358 h 530"/>
                <a:gd name="T36" fmla="*/ 290 w 588"/>
                <a:gd name="T37" fmla="*/ 310 h 530"/>
                <a:gd name="T38" fmla="*/ 294 w 588"/>
                <a:gd name="T39" fmla="*/ 306 h 530"/>
                <a:gd name="T40" fmla="*/ 294 w 588"/>
                <a:gd name="T41" fmla="*/ 306 h 530"/>
                <a:gd name="T42" fmla="*/ 296 w 588"/>
                <a:gd name="T43" fmla="*/ 308 h 530"/>
                <a:gd name="T44" fmla="*/ 301 w 588"/>
                <a:gd name="T45" fmla="*/ 358 h 530"/>
                <a:gd name="T46" fmla="*/ 314 w 588"/>
                <a:gd name="T47" fmla="*/ 360 h 530"/>
                <a:gd name="T48" fmla="*/ 337 w 588"/>
                <a:gd name="T49" fmla="*/ 367 h 530"/>
                <a:gd name="T50" fmla="*/ 357 w 588"/>
                <a:gd name="T51" fmla="*/ 381 h 530"/>
                <a:gd name="T52" fmla="*/ 369 w 588"/>
                <a:gd name="T53" fmla="*/ 401 h 530"/>
                <a:gd name="T54" fmla="*/ 391 w 588"/>
                <a:gd name="T55" fmla="*/ 410 h 530"/>
                <a:gd name="T56" fmla="*/ 402 w 588"/>
                <a:gd name="T57" fmla="*/ 46 h 530"/>
                <a:gd name="T58" fmla="*/ 430 w 588"/>
                <a:gd name="T59" fmla="*/ 25 h 530"/>
                <a:gd name="T60" fmla="*/ 434 w 588"/>
                <a:gd name="T61" fmla="*/ 25 h 530"/>
                <a:gd name="T62" fmla="*/ 436 w 588"/>
                <a:gd name="T63" fmla="*/ 28 h 530"/>
                <a:gd name="T64" fmla="*/ 443 w 588"/>
                <a:gd name="T65" fmla="*/ 415 h 530"/>
                <a:gd name="T66" fmla="*/ 477 w 588"/>
                <a:gd name="T67" fmla="*/ 424 h 530"/>
                <a:gd name="T68" fmla="*/ 480 w 588"/>
                <a:gd name="T69" fmla="*/ 2 h 530"/>
                <a:gd name="T70" fmla="*/ 482 w 588"/>
                <a:gd name="T71" fmla="*/ 0 h 530"/>
                <a:gd name="T72" fmla="*/ 516 w 588"/>
                <a:gd name="T73" fmla="*/ 23 h 530"/>
                <a:gd name="T74" fmla="*/ 518 w 588"/>
                <a:gd name="T75" fmla="*/ 25 h 530"/>
                <a:gd name="T76" fmla="*/ 532 w 588"/>
                <a:gd name="T77" fmla="*/ 455 h 530"/>
                <a:gd name="T78" fmla="*/ 565 w 588"/>
                <a:gd name="T79" fmla="*/ 487 h 530"/>
                <a:gd name="T80" fmla="*/ 588 w 588"/>
                <a:gd name="T81" fmla="*/ 525 h 530"/>
                <a:gd name="T82" fmla="*/ 588 w 588"/>
                <a:gd name="T83" fmla="*/ 528 h 530"/>
                <a:gd name="T84" fmla="*/ 584 w 588"/>
                <a:gd name="T85" fmla="*/ 528 h 530"/>
                <a:gd name="T86" fmla="*/ 4 w 588"/>
                <a:gd name="T87" fmla="*/ 53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88" h="530">
                  <a:moveTo>
                    <a:pt x="4" y="530"/>
                  </a:moveTo>
                  <a:lnTo>
                    <a:pt x="4" y="530"/>
                  </a:lnTo>
                  <a:lnTo>
                    <a:pt x="0" y="528"/>
                  </a:lnTo>
                  <a:lnTo>
                    <a:pt x="0" y="528"/>
                  </a:lnTo>
                  <a:lnTo>
                    <a:pt x="0" y="525"/>
                  </a:lnTo>
                  <a:lnTo>
                    <a:pt x="0" y="525"/>
                  </a:lnTo>
                  <a:lnTo>
                    <a:pt x="11" y="505"/>
                  </a:lnTo>
                  <a:lnTo>
                    <a:pt x="23" y="487"/>
                  </a:lnTo>
                  <a:lnTo>
                    <a:pt x="39" y="469"/>
                  </a:lnTo>
                  <a:lnTo>
                    <a:pt x="57" y="453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5" y="28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9" y="7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2" y="9"/>
                  </a:lnTo>
                  <a:lnTo>
                    <a:pt x="104" y="11"/>
                  </a:lnTo>
                  <a:lnTo>
                    <a:pt x="117" y="423"/>
                  </a:lnTo>
                  <a:lnTo>
                    <a:pt x="117" y="423"/>
                  </a:lnTo>
                  <a:lnTo>
                    <a:pt x="134" y="417"/>
                  </a:lnTo>
                  <a:lnTo>
                    <a:pt x="151" y="414"/>
                  </a:lnTo>
                  <a:lnTo>
                    <a:pt x="169" y="412"/>
                  </a:lnTo>
                  <a:lnTo>
                    <a:pt x="186" y="410"/>
                  </a:lnTo>
                  <a:lnTo>
                    <a:pt x="213" y="410"/>
                  </a:lnTo>
                  <a:lnTo>
                    <a:pt x="213" y="410"/>
                  </a:lnTo>
                  <a:lnTo>
                    <a:pt x="217" y="401"/>
                  </a:lnTo>
                  <a:lnTo>
                    <a:pt x="222" y="390"/>
                  </a:lnTo>
                  <a:lnTo>
                    <a:pt x="229" y="381"/>
                  </a:lnTo>
                  <a:lnTo>
                    <a:pt x="238" y="374"/>
                  </a:lnTo>
                  <a:lnTo>
                    <a:pt x="249" y="369"/>
                  </a:lnTo>
                  <a:lnTo>
                    <a:pt x="260" y="363"/>
                  </a:lnTo>
                  <a:lnTo>
                    <a:pt x="272" y="360"/>
                  </a:lnTo>
                  <a:lnTo>
                    <a:pt x="285" y="358"/>
                  </a:lnTo>
                  <a:lnTo>
                    <a:pt x="290" y="310"/>
                  </a:lnTo>
                  <a:lnTo>
                    <a:pt x="290" y="310"/>
                  </a:lnTo>
                  <a:lnTo>
                    <a:pt x="290" y="308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6" y="308"/>
                  </a:lnTo>
                  <a:lnTo>
                    <a:pt x="298" y="310"/>
                  </a:lnTo>
                  <a:lnTo>
                    <a:pt x="301" y="358"/>
                  </a:lnTo>
                  <a:lnTo>
                    <a:pt x="301" y="358"/>
                  </a:lnTo>
                  <a:lnTo>
                    <a:pt x="314" y="360"/>
                  </a:lnTo>
                  <a:lnTo>
                    <a:pt x="326" y="363"/>
                  </a:lnTo>
                  <a:lnTo>
                    <a:pt x="337" y="367"/>
                  </a:lnTo>
                  <a:lnTo>
                    <a:pt x="348" y="374"/>
                  </a:lnTo>
                  <a:lnTo>
                    <a:pt x="357" y="381"/>
                  </a:lnTo>
                  <a:lnTo>
                    <a:pt x="364" y="390"/>
                  </a:lnTo>
                  <a:lnTo>
                    <a:pt x="369" y="401"/>
                  </a:lnTo>
                  <a:lnTo>
                    <a:pt x="375" y="410"/>
                  </a:lnTo>
                  <a:lnTo>
                    <a:pt x="391" y="410"/>
                  </a:lnTo>
                  <a:lnTo>
                    <a:pt x="402" y="46"/>
                  </a:lnTo>
                  <a:lnTo>
                    <a:pt x="402" y="46"/>
                  </a:lnTo>
                  <a:lnTo>
                    <a:pt x="403" y="43"/>
                  </a:lnTo>
                  <a:lnTo>
                    <a:pt x="430" y="25"/>
                  </a:lnTo>
                  <a:lnTo>
                    <a:pt x="430" y="25"/>
                  </a:lnTo>
                  <a:lnTo>
                    <a:pt x="434" y="25"/>
                  </a:lnTo>
                  <a:lnTo>
                    <a:pt x="434" y="25"/>
                  </a:lnTo>
                  <a:lnTo>
                    <a:pt x="436" y="28"/>
                  </a:lnTo>
                  <a:lnTo>
                    <a:pt x="443" y="415"/>
                  </a:lnTo>
                  <a:lnTo>
                    <a:pt x="443" y="415"/>
                  </a:lnTo>
                  <a:lnTo>
                    <a:pt x="459" y="419"/>
                  </a:lnTo>
                  <a:lnTo>
                    <a:pt x="477" y="424"/>
                  </a:lnTo>
                  <a:lnTo>
                    <a:pt x="480" y="2"/>
                  </a:lnTo>
                  <a:lnTo>
                    <a:pt x="480" y="2"/>
                  </a:lnTo>
                  <a:lnTo>
                    <a:pt x="482" y="0"/>
                  </a:lnTo>
                  <a:lnTo>
                    <a:pt x="482" y="0"/>
                  </a:lnTo>
                  <a:lnTo>
                    <a:pt x="486" y="0"/>
                  </a:lnTo>
                  <a:lnTo>
                    <a:pt x="516" y="23"/>
                  </a:lnTo>
                  <a:lnTo>
                    <a:pt x="516" y="23"/>
                  </a:lnTo>
                  <a:lnTo>
                    <a:pt x="518" y="25"/>
                  </a:lnTo>
                  <a:lnTo>
                    <a:pt x="532" y="455"/>
                  </a:lnTo>
                  <a:lnTo>
                    <a:pt x="532" y="455"/>
                  </a:lnTo>
                  <a:lnTo>
                    <a:pt x="549" y="469"/>
                  </a:lnTo>
                  <a:lnTo>
                    <a:pt x="565" y="487"/>
                  </a:lnTo>
                  <a:lnTo>
                    <a:pt x="577" y="505"/>
                  </a:lnTo>
                  <a:lnTo>
                    <a:pt x="588" y="525"/>
                  </a:lnTo>
                  <a:lnTo>
                    <a:pt x="588" y="525"/>
                  </a:lnTo>
                  <a:lnTo>
                    <a:pt x="588" y="528"/>
                  </a:lnTo>
                  <a:lnTo>
                    <a:pt x="588" y="528"/>
                  </a:lnTo>
                  <a:lnTo>
                    <a:pt x="584" y="528"/>
                  </a:lnTo>
                  <a:lnTo>
                    <a:pt x="4" y="530"/>
                  </a:lnTo>
                  <a:lnTo>
                    <a:pt x="4" y="530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4002" y="706073"/>
            <a:ext cx="2111389" cy="409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549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10162" y="4540"/>
            <a:ext cx="547606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348765" y="875229"/>
            <a:ext cx="3023336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0946796" y="6446612"/>
            <a:ext cx="6882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371474" y="827788"/>
            <a:ext cx="5208965" cy="14619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800"/>
              </a:lnSpc>
              <a:defRPr/>
            </a:pP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Закупки </a:t>
            </a: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рупнейших</a:t>
            </a: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заказчиков </a:t>
            </a:r>
            <a:b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у субъектов МСП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5780908" y="3982211"/>
            <a:ext cx="5491577" cy="35907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2800"/>
              </a:lnSpc>
            </a:pPr>
            <a:r>
              <a:rPr lang="ru-RU" sz="28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одействие бизнесу</a:t>
            </a:r>
            <a:endParaRPr lang="ru-RU" sz="28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xmlns="" id="{0BA9FE82-E298-0D4A-814E-FB9D55BC6E63}"/>
              </a:ext>
            </a:extLst>
          </p:cNvPr>
          <p:cNvSpPr/>
          <p:nvPr/>
        </p:nvSpPr>
        <p:spPr>
          <a:xfrm>
            <a:off x="6775311" y="1918516"/>
            <a:ext cx="1417666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200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закупки </a:t>
            </a:r>
            <a:r>
              <a:rPr lang="ru-RU" sz="1200" kern="0" spc="-3" dirty="0" smtClean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по </a:t>
            </a:r>
            <a:r>
              <a:rPr lang="ru-RU" sz="1200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«прямым» торгам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xmlns="" id="{72774238-123F-2B4A-A796-E6857FE5C2E2}"/>
              </a:ext>
            </a:extLst>
          </p:cNvPr>
          <p:cNvSpPr/>
          <p:nvPr/>
        </p:nvSpPr>
        <p:spPr>
          <a:xfrm>
            <a:off x="5740964" y="1830949"/>
            <a:ext cx="1358327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0%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xmlns="" id="{0BA9FE82-E298-0D4A-814E-FB9D55BC6E63}"/>
              </a:ext>
            </a:extLst>
          </p:cNvPr>
          <p:cNvSpPr/>
          <p:nvPr/>
        </p:nvSpPr>
        <p:spPr>
          <a:xfrm>
            <a:off x="9908304" y="1918516"/>
            <a:ext cx="188778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200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годовой </a:t>
            </a:r>
            <a:r>
              <a:rPr lang="ru-RU" sz="1200" kern="0" spc="-3" dirty="0" smtClean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объем </a:t>
            </a:r>
            <a:r>
              <a:rPr lang="ru-RU" sz="1200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закупок </a:t>
            </a:r>
            <a:r>
              <a:rPr lang="ru-RU" sz="1200" kern="0" spc="-3" dirty="0" smtClean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/>
            </a:r>
            <a:br>
              <a:rPr lang="ru-RU" sz="1200" kern="0" spc="-3" dirty="0" smtClean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</a:br>
            <a:r>
              <a:rPr lang="ru-RU" sz="1200" kern="0" spc="-3" dirty="0" smtClean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у </a:t>
            </a:r>
            <a:r>
              <a:rPr lang="ru-RU" sz="1200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субъектов МСП 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xmlns="" id="{72774238-123F-2B4A-A796-E6857FE5C2E2}"/>
              </a:ext>
            </a:extLst>
          </p:cNvPr>
          <p:cNvSpPr/>
          <p:nvPr/>
        </p:nvSpPr>
        <p:spPr>
          <a:xfrm>
            <a:off x="8814618" y="1830949"/>
            <a:ext cx="1358327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5%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xmlns="" id="{0BA9FE82-E298-0D4A-814E-FB9D55BC6E63}"/>
              </a:ext>
            </a:extLst>
          </p:cNvPr>
          <p:cNvSpPr/>
          <p:nvPr/>
        </p:nvSpPr>
        <p:spPr>
          <a:xfrm>
            <a:off x="5780908" y="2741309"/>
            <a:ext cx="5854183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Корпорация МСП контролирует соблюдение квоты </a:t>
            </a:r>
            <a:r>
              <a:rPr lang="ru-RU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закупок крупнейших заказчиков (</a:t>
            </a:r>
            <a:r>
              <a:rPr lang="en-US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&gt;</a:t>
            </a:r>
            <a:r>
              <a:rPr lang="ru-RU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 </a:t>
            </a:r>
            <a:r>
              <a:rPr lang="ru-RU" kern="0" spc="-3" dirty="0" smtClean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12 </a:t>
            </a:r>
            <a:r>
              <a:rPr lang="ru-RU" kern="0" spc="-3" dirty="0"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тыс.) </a:t>
            </a:r>
            <a:r>
              <a:rPr lang="ru-RU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у малого и среднего бизнеса </a:t>
            </a: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371474" y="3019297"/>
            <a:ext cx="399097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pc="-7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Льготные условия участия  </a:t>
            </a:r>
            <a:endParaRPr lang="ru-RU" spc="-7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xmlns="" id="{0BA9FE82-E298-0D4A-814E-FB9D55BC6E63}"/>
              </a:ext>
            </a:extLst>
          </p:cNvPr>
          <p:cNvSpPr/>
          <p:nvPr/>
        </p:nvSpPr>
        <p:spPr>
          <a:xfrm>
            <a:off x="381135" y="4004725"/>
            <a:ext cx="1603418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ней </a:t>
            </a:r>
            <a:r>
              <a:rPr lang="en-US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</a:t>
            </a:r>
            <a:r>
              <a:rPr lang="en-US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предельный </a:t>
            </a:r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срок заключения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договора</a:t>
            </a:r>
            <a:endParaRPr lang="ru-RU" sz="1400" kern="0" spc="-3" dirty="0">
              <a:solidFill>
                <a:schemeClr val="bg1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xmlns="" id="{72774238-123F-2B4A-A796-E6857FE5C2E2}"/>
              </a:ext>
            </a:extLst>
          </p:cNvPr>
          <p:cNvSpPr/>
          <p:nvPr/>
        </p:nvSpPr>
        <p:spPr>
          <a:xfrm>
            <a:off x="381135" y="3450727"/>
            <a:ext cx="254417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1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е более </a:t>
            </a: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0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0BA9FE82-E298-0D4A-814E-FB9D55BC6E63}"/>
              </a:ext>
            </a:extLst>
          </p:cNvPr>
          <p:cNvSpPr/>
          <p:nvPr/>
        </p:nvSpPr>
        <p:spPr>
          <a:xfrm>
            <a:off x="2910517" y="4004725"/>
            <a:ext cx="2619419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бочих дней – </a:t>
            </a:r>
            <a:endParaRPr lang="ru-RU" sz="1400" kern="0" spc="-3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R="1746"/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ксимальный </a:t>
            </a:r>
            <a:r>
              <a:rPr lang="en-US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рок </a:t>
            </a:r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платы </a:t>
            </a:r>
            <a:endParaRPr lang="ru-RU" sz="1400" kern="0" spc="-3" dirty="0">
              <a:solidFill>
                <a:schemeClr val="bg1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xmlns="" id="{72774238-123F-2B4A-A796-E6857FE5C2E2}"/>
              </a:ext>
            </a:extLst>
          </p:cNvPr>
          <p:cNvSpPr/>
          <p:nvPr/>
        </p:nvSpPr>
        <p:spPr>
          <a:xfrm>
            <a:off x="2910517" y="3450727"/>
            <a:ext cx="188855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1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е более </a:t>
            </a:r>
            <a:r>
              <a:rPr lang="en-US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7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xmlns="" id="{0BA9FE82-E298-0D4A-814E-FB9D55BC6E63}"/>
              </a:ext>
            </a:extLst>
          </p:cNvPr>
          <p:cNvSpPr/>
          <p:nvPr/>
        </p:nvSpPr>
        <p:spPr>
          <a:xfrm>
            <a:off x="381135" y="5515849"/>
            <a:ext cx="2246271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 начальной цены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говора</a:t>
            </a:r>
            <a:r>
              <a:rPr lang="en-US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–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ельный </a:t>
            </a:r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змер обеспечения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явки</a:t>
            </a:r>
            <a:endParaRPr lang="ru-RU" sz="1400" kern="0" spc="-3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xmlns="" id="{72774238-123F-2B4A-A796-E6857FE5C2E2}"/>
              </a:ext>
            </a:extLst>
          </p:cNvPr>
          <p:cNvSpPr/>
          <p:nvPr/>
        </p:nvSpPr>
        <p:spPr>
          <a:xfrm>
            <a:off x="381135" y="5002428"/>
            <a:ext cx="1615047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</a:t>
            </a:r>
            <a:r>
              <a:rPr lang="en-US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%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xmlns="" id="{0BA9FE82-E298-0D4A-814E-FB9D55BC6E63}"/>
              </a:ext>
            </a:extLst>
          </p:cNvPr>
          <p:cNvSpPr/>
          <p:nvPr/>
        </p:nvSpPr>
        <p:spPr>
          <a:xfrm>
            <a:off x="2910517" y="5515849"/>
            <a:ext cx="1984577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 начальной цены договора</a:t>
            </a:r>
            <a:r>
              <a:rPr lang="en-US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–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ельный </a:t>
            </a:r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змер обеспечения исполнения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говора</a:t>
            </a:r>
            <a:endParaRPr lang="ru-RU" sz="1400" kern="0" spc="-3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xmlns="" id="{72774238-123F-2B4A-A796-E6857FE5C2E2}"/>
              </a:ext>
            </a:extLst>
          </p:cNvPr>
          <p:cNvSpPr/>
          <p:nvPr/>
        </p:nvSpPr>
        <p:spPr>
          <a:xfrm>
            <a:off x="2898888" y="5002428"/>
            <a:ext cx="1615047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en-US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5%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5740518" y="526020"/>
            <a:ext cx="3661586" cy="7181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2800"/>
              </a:lnSpc>
              <a:defRPr/>
            </a:pPr>
            <a:r>
              <a:rPr lang="ru-RU" sz="28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вота по закупкам  у субъектов МСП</a:t>
            </a:r>
            <a:endParaRPr lang="ru-RU" sz="28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xmlns="" id="{F6AEA199-107E-1C4F-A0DC-08B9B796B2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55357" y="1310392"/>
            <a:ext cx="646310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defTabSz="228600" fontAlgn="base">
              <a:spcBef>
                <a:spcPct val="0"/>
              </a:spcBef>
              <a:spcAft>
                <a:spcPts val="600"/>
              </a:spcAft>
            </a:pPr>
            <a:r>
              <a:rPr lang="ru-RU" altLang="ru-RU" sz="1400" spc="-12" dirty="0">
                <a:solidFill>
                  <a:schemeClr val="tx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р</a:t>
            </a:r>
            <a:r>
              <a:rPr lang="ru-RU" altLang="ru-RU" sz="1400" spc="-12" dirty="0" smtClean="0">
                <a:solidFill>
                  <a:schemeClr val="tx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аспространена на всех заказчиков по Закону №223-ФЗ</a:t>
            </a:r>
            <a:endParaRPr lang="ru-RU" sz="1400" spc="-12" dirty="0">
              <a:solidFill>
                <a:schemeClr val="tx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40" name="Группа 39"/>
          <p:cNvGrpSpPr/>
          <p:nvPr/>
        </p:nvGrpSpPr>
        <p:grpSpPr>
          <a:xfrm>
            <a:off x="371476" y="282770"/>
            <a:ext cx="1371599" cy="276999"/>
            <a:chOff x="9353062" y="5079459"/>
            <a:chExt cx="2573191" cy="276999"/>
          </a:xfrm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9598163" y="5079459"/>
              <a:ext cx="20829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рынки сбыта</a:t>
              </a:r>
            </a:p>
          </p:txBody>
        </p:sp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0664" y="2262337"/>
            <a:ext cx="1596755" cy="1379077"/>
          </a:xfrm>
          <a:prstGeom prst="rect">
            <a:avLst/>
          </a:prstGeom>
        </p:spPr>
      </p:pic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0BA9FE82-E298-0D4A-814E-FB9D55BC6E63}"/>
              </a:ext>
            </a:extLst>
          </p:cNvPr>
          <p:cNvSpPr/>
          <p:nvPr/>
        </p:nvSpPr>
        <p:spPr>
          <a:xfrm>
            <a:off x="5822651" y="4567249"/>
            <a:ext cx="5812440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marR="1746" indent="-171450">
              <a:buFont typeface="Wingdings" panose="05000000000000000000" pitchFamily="2" charset="2"/>
              <a:buChar char="ü"/>
            </a:pPr>
            <a:r>
              <a:rPr lang="ru-RU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Поиск закупок </a:t>
            </a:r>
          </a:p>
          <a:p>
            <a:pPr marL="171450" marR="1746" indent="-171450">
              <a:buFont typeface="Wingdings" panose="05000000000000000000" pitchFamily="2" charset="2"/>
              <a:buChar char="ü"/>
            </a:pPr>
            <a:r>
              <a:rPr lang="ru-RU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Презентация продукции субъектов МСП заказчикам</a:t>
            </a:r>
          </a:p>
          <a:p>
            <a:pPr marL="171450" marR="1746" indent="-171450">
              <a:buFont typeface="Wingdings" panose="05000000000000000000" pitchFamily="2" charset="2"/>
              <a:buChar char="ü"/>
            </a:pPr>
            <a:r>
              <a:rPr lang="ru-RU" kern="0" spc="-3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Проведение </a:t>
            </a:r>
            <a:r>
              <a:rPr lang="ru-RU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обучающих семинаров по участию в закупках</a:t>
            </a:r>
          </a:p>
          <a:p>
            <a:pPr marL="171450" marR="1746" indent="-171450">
              <a:buFont typeface="Wingdings" panose="05000000000000000000" pitchFamily="2" charset="2"/>
              <a:buChar char="ü"/>
            </a:pPr>
            <a:r>
              <a:rPr lang="ru-RU" kern="0" spc="-3" dirty="0">
                <a:solidFill>
                  <a:schemeClr val="tx1">
                    <a:lumMod val="75000"/>
                    <a:lumOff val="25000"/>
                  </a:schemeClr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 Урегулирование вопросов неоплаты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449206"/>
            <a:ext cx="604745" cy="322513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454712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474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179156" y="0"/>
            <a:ext cx="526725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1" name="Прямоугольник 60"/>
          <p:cNvSpPr/>
          <p:nvPr/>
        </p:nvSpPr>
        <p:spPr>
          <a:xfrm>
            <a:off x="371476" y="2274536"/>
            <a:ext cx="2516867" cy="340924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2454472" y="971941"/>
            <a:ext cx="2052711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0946796" y="6446612"/>
            <a:ext cx="6882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1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392878" y="921556"/>
            <a:ext cx="4556754" cy="4873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800"/>
              </a:lnSpc>
              <a:defRPr/>
            </a:pP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итрина </a:t>
            </a: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закупок</a:t>
            </a:r>
            <a:endParaRPr lang="ru-RU" sz="3600" dirty="0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6616352" y="930389"/>
            <a:ext cx="363748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источников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информации о закупках малого объема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5658450" y="859718"/>
            <a:ext cx="191580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77</a:t>
            </a:r>
            <a:endParaRPr lang="ru-RU" sz="36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6654117" y="1891602"/>
            <a:ext cx="498097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ф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едеральные и региональные заказчики, осуществляющие закупки по 223-ФЗ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5641726" y="1759090"/>
            <a:ext cx="191580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се</a:t>
            </a:r>
            <a:endParaRPr lang="ru-RU" sz="36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5677500" y="3387779"/>
            <a:ext cx="2030005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витрина закупок малого объема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7491010" y="3387779"/>
            <a:ext cx="2264113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ерсонализированный подбор закупок крупнейших заказчиков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28983" y="3387779"/>
            <a:ext cx="1922347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одписка </a:t>
            </a:r>
            <a:r>
              <a:rPr lang="ru-RU" sz="1400" spc="7" dirty="0" smtClean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на </a:t>
            </a:r>
            <a:r>
              <a:rPr lang="ru-RU" sz="1400" spc="7" dirty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закупки </a:t>
            </a:r>
            <a:r>
              <a:rPr lang="ru-RU" sz="1400" spc="7" dirty="0" smtClean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о </a:t>
            </a:r>
            <a:r>
              <a:rPr lang="ru-RU" sz="1400" spc="7" dirty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различным категориям</a:t>
            </a:r>
          </a:p>
        </p:txBody>
      </p:sp>
      <p:grpSp>
        <p:nvGrpSpPr>
          <p:cNvPr id="10" name="Группа 9"/>
          <p:cNvGrpSpPr/>
          <p:nvPr/>
        </p:nvGrpSpPr>
        <p:grpSpPr>
          <a:xfrm>
            <a:off x="5636860" y="4567127"/>
            <a:ext cx="5615331" cy="1198857"/>
            <a:chOff x="5890156" y="4567127"/>
            <a:chExt cx="5615331" cy="1198857"/>
          </a:xfrm>
        </p:grpSpPr>
        <p:pic>
          <p:nvPicPr>
            <p:cNvPr id="41" name="Рисунок 4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343308" y="4636967"/>
              <a:ext cx="1117237" cy="385257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47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106050" y="4651494"/>
              <a:ext cx="764145" cy="370730"/>
            </a:xfrm>
            <a:prstGeom prst="rect">
              <a:avLst/>
            </a:prstGeom>
            <a:solidFill>
              <a:srgbClr val="F0E8E5"/>
            </a:solidFill>
          </p:spPr>
        </p:pic>
        <p:sp>
          <p:nvSpPr>
            <p:cNvPr id="50" name="Полилиния 49"/>
            <p:cNvSpPr/>
            <p:nvPr/>
          </p:nvSpPr>
          <p:spPr>
            <a:xfrm>
              <a:off x="5896708" y="4568330"/>
              <a:ext cx="1195763" cy="537061"/>
            </a:xfrm>
            <a:custGeom>
              <a:avLst/>
              <a:gdLst>
                <a:gd name="connsiteX0" fmla="*/ 277328 w 1234937"/>
                <a:gd name="connsiteY0" fmla="*/ 0 h 554655"/>
                <a:gd name="connsiteX1" fmla="*/ 329024 w 1234937"/>
                <a:gd name="connsiteY1" fmla="*/ 0 h 554655"/>
                <a:gd name="connsiteX2" fmla="*/ 349271 w 1234937"/>
                <a:gd name="connsiteY2" fmla="*/ 0 h 554655"/>
                <a:gd name="connsiteX3" fmla="*/ 400968 w 1234937"/>
                <a:gd name="connsiteY3" fmla="*/ 0 h 554655"/>
                <a:gd name="connsiteX4" fmla="*/ 422361 w 1234937"/>
                <a:gd name="connsiteY4" fmla="*/ 0 h 554655"/>
                <a:gd name="connsiteX5" fmla="*/ 474057 w 1234937"/>
                <a:gd name="connsiteY5" fmla="*/ 0 h 554655"/>
                <a:gd name="connsiteX6" fmla="*/ 474069 w 1234937"/>
                <a:gd name="connsiteY6" fmla="*/ 0 h 554655"/>
                <a:gd name="connsiteX7" fmla="*/ 492196 w 1234937"/>
                <a:gd name="connsiteY7" fmla="*/ 0 h 554655"/>
                <a:gd name="connsiteX8" fmla="*/ 494304 w 1234937"/>
                <a:gd name="connsiteY8" fmla="*/ 0 h 554655"/>
                <a:gd name="connsiteX9" fmla="*/ 525765 w 1234937"/>
                <a:gd name="connsiteY9" fmla="*/ 0 h 554655"/>
                <a:gd name="connsiteX10" fmla="*/ 543892 w 1234937"/>
                <a:gd name="connsiteY10" fmla="*/ 0 h 554655"/>
                <a:gd name="connsiteX11" fmla="*/ 546001 w 1234937"/>
                <a:gd name="connsiteY11" fmla="*/ 0 h 554655"/>
                <a:gd name="connsiteX12" fmla="*/ 546012 w 1234937"/>
                <a:gd name="connsiteY12" fmla="*/ 0 h 554655"/>
                <a:gd name="connsiteX13" fmla="*/ 564139 w 1234937"/>
                <a:gd name="connsiteY13" fmla="*/ 0 h 554655"/>
                <a:gd name="connsiteX14" fmla="*/ 597709 w 1234937"/>
                <a:gd name="connsiteY14" fmla="*/ 0 h 554655"/>
                <a:gd name="connsiteX15" fmla="*/ 615836 w 1234937"/>
                <a:gd name="connsiteY15" fmla="*/ 0 h 554655"/>
                <a:gd name="connsiteX16" fmla="*/ 619102 w 1234937"/>
                <a:gd name="connsiteY16" fmla="*/ 0 h 554655"/>
                <a:gd name="connsiteX17" fmla="*/ 637229 w 1234937"/>
                <a:gd name="connsiteY17" fmla="*/ 0 h 554655"/>
                <a:gd name="connsiteX18" fmla="*/ 670798 w 1234937"/>
                <a:gd name="connsiteY18" fmla="*/ 0 h 554655"/>
                <a:gd name="connsiteX19" fmla="*/ 688925 w 1234937"/>
                <a:gd name="connsiteY19" fmla="*/ 0 h 554655"/>
                <a:gd name="connsiteX20" fmla="*/ 688937 w 1234937"/>
                <a:gd name="connsiteY20" fmla="*/ 0 h 554655"/>
                <a:gd name="connsiteX21" fmla="*/ 691045 w 1234937"/>
                <a:gd name="connsiteY21" fmla="*/ 0 h 554655"/>
                <a:gd name="connsiteX22" fmla="*/ 709172 w 1234937"/>
                <a:gd name="connsiteY22" fmla="*/ 0 h 554655"/>
                <a:gd name="connsiteX23" fmla="*/ 740633 w 1234937"/>
                <a:gd name="connsiteY23" fmla="*/ 0 h 554655"/>
                <a:gd name="connsiteX24" fmla="*/ 742742 w 1234937"/>
                <a:gd name="connsiteY24" fmla="*/ 0 h 554655"/>
                <a:gd name="connsiteX25" fmla="*/ 760869 w 1234937"/>
                <a:gd name="connsiteY25" fmla="*/ 0 h 554655"/>
                <a:gd name="connsiteX26" fmla="*/ 760880 w 1234937"/>
                <a:gd name="connsiteY26" fmla="*/ 0 h 554655"/>
                <a:gd name="connsiteX27" fmla="*/ 812577 w 1234937"/>
                <a:gd name="connsiteY27" fmla="*/ 0 h 554655"/>
                <a:gd name="connsiteX28" fmla="*/ 833970 w 1234937"/>
                <a:gd name="connsiteY28" fmla="*/ 0 h 554655"/>
                <a:gd name="connsiteX29" fmla="*/ 885666 w 1234937"/>
                <a:gd name="connsiteY29" fmla="*/ 0 h 554655"/>
                <a:gd name="connsiteX30" fmla="*/ 905913 w 1234937"/>
                <a:gd name="connsiteY30" fmla="*/ 0 h 554655"/>
                <a:gd name="connsiteX31" fmla="*/ 957610 w 1234937"/>
                <a:gd name="connsiteY31" fmla="*/ 0 h 554655"/>
                <a:gd name="connsiteX32" fmla="*/ 1234937 w 1234937"/>
                <a:gd name="connsiteY32" fmla="*/ 277328 h 554655"/>
                <a:gd name="connsiteX33" fmla="*/ 1234936 w 1234937"/>
                <a:gd name="connsiteY33" fmla="*/ 277328 h 554655"/>
                <a:gd name="connsiteX34" fmla="*/ 957609 w 1234937"/>
                <a:gd name="connsiteY34" fmla="*/ 554655 h 554655"/>
                <a:gd name="connsiteX35" fmla="*/ 905915 w 1234937"/>
                <a:gd name="connsiteY35" fmla="*/ 554655 h 554655"/>
                <a:gd name="connsiteX36" fmla="*/ 905912 w 1234937"/>
                <a:gd name="connsiteY36" fmla="*/ 554655 h 554655"/>
                <a:gd name="connsiteX37" fmla="*/ 885666 w 1234937"/>
                <a:gd name="connsiteY37" fmla="*/ 554655 h 554655"/>
                <a:gd name="connsiteX38" fmla="*/ 885665 w 1234937"/>
                <a:gd name="connsiteY38" fmla="*/ 554655 h 554655"/>
                <a:gd name="connsiteX39" fmla="*/ 833972 w 1234937"/>
                <a:gd name="connsiteY39" fmla="*/ 554655 h 554655"/>
                <a:gd name="connsiteX40" fmla="*/ 833969 w 1234937"/>
                <a:gd name="connsiteY40" fmla="*/ 554655 h 554655"/>
                <a:gd name="connsiteX41" fmla="*/ 812577 w 1234937"/>
                <a:gd name="connsiteY41" fmla="*/ 554655 h 554655"/>
                <a:gd name="connsiteX42" fmla="*/ 812576 w 1234937"/>
                <a:gd name="connsiteY42" fmla="*/ 554655 h 554655"/>
                <a:gd name="connsiteX43" fmla="*/ 760882 w 1234937"/>
                <a:gd name="connsiteY43" fmla="*/ 554655 h 554655"/>
                <a:gd name="connsiteX44" fmla="*/ 760879 w 1234937"/>
                <a:gd name="connsiteY44" fmla="*/ 554655 h 554655"/>
                <a:gd name="connsiteX45" fmla="*/ 760868 w 1234937"/>
                <a:gd name="connsiteY45" fmla="*/ 554655 h 554655"/>
                <a:gd name="connsiteX46" fmla="*/ 740633 w 1234937"/>
                <a:gd name="connsiteY46" fmla="*/ 554655 h 554655"/>
                <a:gd name="connsiteX47" fmla="*/ 740632 w 1234937"/>
                <a:gd name="connsiteY47" fmla="*/ 554655 h 554655"/>
                <a:gd name="connsiteX48" fmla="*/ 709174 w 1234937"/>
                <a:gd name="connsiteY48" fmla="*/ 554655 h 554655"/>
                <a:gd name="connsiteX49" fmla="*/ 709171 w 1234937"/>
                <a:gd name="connsiteY49" fmla="*/ 554655 h 554655"/>
                <a:gd name="connsiteX50" fmla="*/ 688938 w 1234937"/>
                <a:gd name="connsiteY50" fmla="*/ 554655 h 554655"/>
                <a:gd name="connsiteX51" fmla="*/ 688936 w 1234937"/>
                <a:gd name="connsiteY51" fmla="*/ 554655 h 554655"/>
                <a:gd name="connsiteX52" fmla="*/ 688925 w 1234937"/>
                <a:gd name="connsiteY52" fmla="*/ 554655 h 554655"/>
                <a:gd name="connsiteX53" fmla="*/ 688924 w 1234937"/>
                <a:gd name="connsiteY53" fmla="*/ 554655 h 554655"/>
                <a:gd name="connsiteX54" fmla="*/ 637231 w 1234937"/>
                <a:gd name="connsiteY54" fmla="*/ 554655 h 554655"/>
                <a:gd name="connsiteX55" fmla="*/ 637228 w 1234937"/>
                <a:gd name="connsiteY55" fmla="*/ 554655 h 554655"/>
                <a:gd name="connsiteX56" fmla="*/ 615836 w 1234937"/>
                <a:gd name="connsiteY56" fmla="*/ 554655 h 554655"/>
                <a:gd name="connsiteX57" fmla="*/ 615835 w 1234937"/>
                <a:gd name="connsiteY57" fmla="*/ 554655 h 554655"/>
                <a:gd name="connsiteX58" fmla="*/ 564141 w 1234937"/>
                <a:gd name="connsiteY58" fmla="*/ 554655 h 554655"/>
                <a:gd name="connsiteX59" fmla="*/ 564138 w 1234937"/>
                <a:gd name="connsiteY59" fmla="*/ 554655 h 554655"/>
                <a:gd name="connsiteX60" fmla="*/ 543892 w 1234937"/>
                <a:gd name="connsiteY60" fmla="*/ 554655 h 554655"/>
                <a:gd name="connsiteX61" fmla="*/ 543891 w 1234937"/>
                <a:gd name="connsiteY61" fmla="*/ 554655 h 554655"/>
                <a:gd name="connsiteX62" fmla="*/ 492197 w 1234937"/>
                <a:gd name="connsiteY62" fmla="*/ 554655 h 554655"/>
                <a:gd name="connsiteX63" fmla="*/ 492195 w 1234937"/>
                <a:gd name="connsiteY63" fmla="*/ 554655 h 554655"/>
                <a:gd name="connsiteX64" fmla="*/ 277328 w 1234937"/>
                <a:gd name="connsiteY64" fmla="*/ 554654 h 554655"/>
                <a:gd name="connsiteX65" fmla="*/ 5634 w 1234937"/>
                <a:gd name="connsiteY65" fmla="*/ 333218 h 554655"/>
                <a:gd name="connsiteX66" fmla="*/ 0 w 1234937"/>
                <a:gd name="connsiteY66" fmla="*/ 277328 h 554655"/>
                <a:gd name="connsiteX67" fmla="*/ 5634 w 1234937"/>
                <a:gd name="connsiteY67" fmla="*/ 221437 h 554655"/>
                <a:gd name="connsiteX68" fmla="*/ 277328 w 1234937"/>
                <a:gd name="connsiteY68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1234937" h="554655">
                  <a:moveTo>
                    <a:pt x="277328" y="0"/>
                  </a:moveTo>
                  <a:lnTo>
                    <a:pt x="329024" y="0"/>
                  </a:lnTo>
                  <a:lnTo>
                    <a:pt x="349271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25765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7229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9172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812577" y="0"/>
                  </a:lnTo>
                  <a:lnTo>
                    <a:pt x="833970" y="0"/>
                  </a:lnTo>
                  <a:lnTo>
                    <a:pt x="885666" y="0"/>
                  </a:lnTo>
                  <a:lnTo>
                    <a:pt x="905913" y="0"/>
                  </a:lnTo>
                  <a:lnTo>
                    <a:pt x="957610" y="0"/>
                  </a:lnTo>
                  <a:cubicBezTo>
                    <a:pt x="1110774" y="0"/>
                    <a:pt x="1234937" y="124164"/>
                    <a:pt x="1234937" y="277328"/>
                  </a:cubicBezTo>
                  <a:lnTo>
                    <a:pt x="1234936" y="277328"/>
                  </a:lnTo>
                  <a:cubicBezTo>
                    <a:pt x="1234936" y="430492"/>
                    <a:pt x="1110773" y="554655"/>
                    <a:pt x="957609" y="554655"/>
                  </a:cubicBezTo>
                  <a:lnTo>
                    <a:pt x="905915" y="554655"/>
                  </a:lnTo>
                  <a:lnTo>
                    <a:pt x="90591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53" name="Полилиния 52"/>
            <p:cNvSpPr/>
            <p:nvPr/>
          </p:nvSpPr>
          <p:spPr>
            <a:xfrm>
              <a:off x="7164289" y="4568330"/>
              <a:ext cx="1491738" cy="537061"/>
            </a:xfrm>
            <a:custGeom>
              <a:avLst/>
              <a:gdLst>
                <a:gd name="connsiteX0" fmla="*/ 277328 w 1540608"/>
                <a:gd name="connsiteY0" fmla="*/ 0 h 554655"/>
                <a:gd name="connsiteX1" fmla="*/ 329024 w 1540608"/>
                <a:gd name="connsiteY1" fmla="*/ 0 h 554655"/>
                <a:gd name="connsiteX2" fmla="*/ 349271 w 1540608"/>
                <a:gd name="connsiteY2" fmla="*/ 0 h 554655"/>
                <a:gd name="connsiteX3" fmla="*/ 400968 w 1540608"/>
                <a:gd name="connsiteY3" fmla="*/ 0 h 554655"/>
                <a:gd name="connsiteX4" fmla="*/ 422361 w 1540608"/>
                <a:gd name="connsiteY4" fmla="*/ 0 h 554655"/>
                <a:gd name="connsiteX5" fmla="*/ 474057 w 1540608"/>
                <a:gd name="connsiteY5" fmla="*/ 0 h 554655"/>
                <a:gd name="connsiteX6" fmla="*/ 474069 w 1540608"/>
                <a:gd name="connsiteY6" fmla="*/ 0 h 554655"/>
                <a:gd name="connsiteX7" fmla="*/ 492196 w 1540608"/>
                <a:gd name="connsiteY7" fmla="*/ 0 h 554655"/>
                <a:gd name="connsiteX8" fmla="*/ 494304 w 1540608"/>
                <a:gd name="connsiteY8" fmla="*/ 0 h 554655"/>
                <a:gd name="connsiteX9" fmla="*/ 525765 w 1540608"/>
                <a:gd name="connsiteY9" fmla="*/ 0 h 554655"/>
                <a:gd name="connsiteX10" fmla="*/ 543892 w 1540608"/>
                <a:gd name="connsiteY10" fmla="*/ 0 h 554655"/>
                <a:gd name="connsiteX11" fmla="*/ 546001 w 1540608"/>
                <a:gd name="connsiteY11" fmla="*/ 0 h 554655"/>
                <a:gd name="connsiteX12" fmla="*/ 546012 w 1540608"/>
                <a:gd name="connsiteY12" fmla="*/ 0 h 554655"/>
                <a:gd name="connsiteX13" fmla="*/ 564139 w 1540608"/>
                <a:gd name="connsiteY13" fmla="*/ 0 h 554655"/>
                <a:gd name="connsiteX14" fmla="*/ 582999 w 1540608"/>
                <a:gd name="connsiteY14" fmla="*/ 0 h 554655"/>
                <a:gd name="connsiteX15" fmla="*/ 597709 w 1540608"/>
                <a:gd name="connsiteY15" fmla="*/ 0 h 554655"/>
                <a:gd name="connsiteX16" fmla="*/ 615836 w 1540608"/>
                <a:gd name="connsiteY16" fmla="*/ 0 h 554655"/>
                <a:gd name="connsiteX17" fmla="*/ 619102 w 1540608"/>
                <a:gd name="connsiteY17" fmla="*/ 0 h 554655"/>
                <a:gd name="connsiteX18" fmla="*/ 634695 w 1540608"/>
                <a:gd name="connsiteY18" fmla="*/ 0 h 554655"/>
                <a:gd name="connsiteX19" fmla="*/ 637229 w 1540608"/>
                <a:gd name="connsiteY19" fmla="*/ 0 h 554655"/>
                <a:gd name="connsiteX20" fmla="*/ 654942 w 1540608"/>
                <a:gd name="connsiteY20" fmla="*/ 0 h 554655"/>
                <a:gd name="connsiteX21" fmla="*/ 670798 w 1540608"/>
                <a:gd name="connsiteY21" fmla="*/ 0 h 554655"/>
                <a:gd name="connsiteX22" fmla="*/ 688925 w 1540608"/>
                <a:gd name="connsiteY22" fmla="*/ 0 h 554655"/>
                <a:gd name="connsiteX23" fmla="*/ 688937 w 1540608"/>
                <a:gd name="connsiteY23" fmla="*/ 0 h 554655"/>
                <a:gd name="connsiteX24" fmla="*/ 691045 w 1540608"/>
                <a:gd name="connsiteY24" fmla="*/ 0 h 554655"/>
                <a:gd name="connsiteX25" fmla="*/ 706639 w 1540608"/>
                <a:gd name="connsiteY25" fmla="*/ 0 h 554655"/>
                <a:gd name="connsiteX26" fmla="*/ 709172 w 1540608"/>
                <a:gd name="connsiteY26" fmla="*/ 0 h 554655"/>
                <a:gd name="connsiteX27" fmla="*/ 728032 w 1540608"/>
                <a:gd name="connsiteY27" fmla="*/ 0 h 554655"/>
                <a:gd name="connsiteX28" fmla="*/ 740633 w 1540608"/>
                <a:gd name="connsiteY28" fmla="*/ 0 h 554655"/>
                <a:gd name="connsiteX29" fmla="*/ 742742 w 1540608"/>
                <a:gd name="connsiteY29" fmla="*/ 0 h 554655"/>
                <a:gd name="connsiteX30" fmla="*/ 760869 w 1540608"/>
                <a:gd name="connsiteY30" fmla="*/ 0 h 554655"/>
                <a:gd name="connsiteX31" fmla="*/ 760880 w 1540608"/>
                <a:gd name="connsiteY31" fmla="*/ 0 h 554655"/>
                <a:gd name="connsiteX32" fmla="*/ 779728 w 1540608"/>
                <a:gd name="connsiteY32" fmla="*/ 0 h 554655"/>
                <a:gd name="connsiteX33" fmla="*/ 779740 w 1540608"/>
                <a:gd name="connsiteY33" fmla="*/ 0 h 554655"/>
                <a:gd name="connsiteX34" fmla="*/ 797867 w 1540608"/>
                <a:gd name="connsiteY34" fmla="*/ 0 h 554655"/>
                <a:gd name="connsiteX35" fmla="*/ 799975 w 1540608"/>
                <a:gd name="connsiteY35" fmla="*/ 0 h 554655"/>
                <a:gd name="connsiteX36" fmla="*/ 812577 w 1540608"/>
                <a:gd name="connsiteY36" fmla="*/ 0 h 554655"/>
                <a:gd name="connsiteX37" fmla="*/ 831436 w 1540608"/>
                <a:gd name="connsiteY37" fmla="*/ 0 h 554655"/>
                <a:gd name="connsiteX38" fmla="*/ 833970 w 1540608"/>
                <a:gd name="connsiteY38" fmla="*/ 0 h 554655"/>
                <a:gd name="connsiteX39" fmla="*/ 849563 w 1540608"/>
                <a:gd name="connsiteY39" fmla="*/ 0 h 554655"/>
                <a:gd name="connsiteX40" fmla="*/ 851672 w 1540608"/>
                <a:gd name="connsiteY40" fmla="*/ 0 h 554655"/>
                <a:gd name="connsiteX41" fmla="*/ 851683 w 1540608"/>
                <a:gd name="connsiteY41" fmla="*/ 0 h 554655"/>
                <a:gd name="connsiteX42" fmla="*/ 869810 w 1540608"/>
                <a:gd name="connsiteY42" fmla="*/ 0 h 554655"/>
                <a:gd name="connsiteX43" fmla="*/ 885666 w 1540608"/>
                <a:gd name="connsiteY43" fmla="*/ 0 h 554655"/>
                <a:gd name="connsiteX44" fmla="*/ 903380 w 1540608"/>
                <a:gd name="connsiteY44" fmla="*/ 0 h 554655"/>
                <a:gd name="connsiteX45" fmla="*/ 905913 w 1540608"/>
                <a:gd name="connsiteY45" fmla="*/ 0 h 554655"/>
                <a:gd name="connsiteX46" fmla="*/ 921507 w 1540608"/>
                <a:gd name="connsiteY46" fmla="*/ 0 h 554655"/>
                <a:gd name="connsiteX47" fmla="*/ 924773 w 1540608"/>
                <a:gd name="connsiteY47" fmla="*/ 0 h 554655"/>
                <a:gd name="connsiteX48" fmla="*/ 942900 w 1540608"/>
                <a:gd name="connsiteY48" fmla="*/ 0 h 554655"/>
                <a:gd name="connsiteX49" fmla="*/ 957610 w 1540608"/>
                <a:gd name="connsiteY49" fmla="*/ 0 h 554655"/>
                <a:gd name="connsiteX50" fmla="*/ 976469 w 1540608"/>
                <a:gd name="connsiteY50" fmla="*/ 0 h 554655"/>
                <a:gd name="connsiteX51" fmla="*/ 994596 w 1540608"/>
                <a:gd name="connsiteY51" fmla="*/ 0 h 554655"/>
                <a:gd name="connsiteX52" fmla="*/ 994608 w 1540608"/>
                <a:gd name="connsiteY52" fmla="*/ 0 h 554655"/>
                <a:gd name="connsiteX53" fmla="*/ 996716 w 1540608"/>
                <a:gd name="connsiteY53" fmla="*/ 0 h 554655"/>
                <a:gd name="connsiteX54" fmla="*/ 1014843 w 1540608"/>
                <a:gd name="connsiteY54" fmla="*/ 0 h 554655"/>
                <a:gd name="connsiteX55" fmla="*/ 1046304 w 1540608"/>
                <a:gd name="connsiteY55" fmla="*/ 0 h 554655"/>
                <a:gd name="connsiteX56" fmla="*/ 1048413 w 1540608"/>
                <a:gd name="connsiteY56" fmla="*/ 0 h 554655"/>
                <a:gd name="connsiteX57" fmla="*/ 1066540 w 1540608"/>
                <a:gd name="connsiteY57" fmla="*/ 0 h 554655"/>
                <a:gd name="connsiteX58" fmla="*/ 1066551 w 1540608"/>
                <a:gd name="connsiteY58" fmla="*/ 0 h 554655"/>
                <a:gd name="connsiteX59" fmla="*/ 1118248 w 1540608"/>
                <a:gd name="connsiteY59" fmla="*/ 0 h 554655"/>
                <a:gd name="connsiteX60" fmla="*/ 1139641 w 1540608"/>
                <a:gd name="connsiteY60" fmla="*/ 0 h 554655"/>
                <a:gd name="connsiteX61" fmla="*/ 1191337 w 1540608"/>
                <a:gd name="connsiteY61" fmla="*/ 0 h 554655"/>
                <a:gd name="connsiteX62" fmla="*/ 1211584 w 1540608"/>
                <a:gd name="connsiteY62" fmla="*/ 0 h 554655"/>
                <a:gd name="connsiteX63" fmla="*/ 1263281 w 1540608"/>
                <a:gd name="connsiteY63" fmla="*/ 0 h 554655"/>
                <a:gd name="connsiteX64" fmla="*/ 1540608 w 1540608"/>
                <a:gd name="connsiteY64" fmla="*/ 277328 h 554655"/>
                <a:gd name="connsiteX65" fmla="*/ 1540607 w 1540608"/>
                <a:gd name="connsiteY65" fmla="*/ 277328 h 554655"/>
                <a:gd name="connsiteX66" fmla="*/ 1263280 w 1540608"/>
                <a:gd name="connsiteY66" fmla="*/ 554655 h 554655"/>
                <a:gd name="connsiteX67" fmla="*/ 1211586 w 1540608"/>
                <a:gd name="connsiteY67" fmla="*/ 554655 h 554655"/>
                <a:gd name="connsiteX68" fmla="*/ 1211583 w 1540608"/>
                <a:gd name="connsiteY68" fmla="*/ 554655 h 554655"/>
                <a:gd name="connsiteX69" fmla="*/ 1191337 w 1540608"/>
                <a:gd name="connsiteY69" fmla="*/ 554655 h 554655"/>
                <a:gd name="connsiteX70" fmla="*/ 1191336 w 1540608"/>
                <a:gd name="connsiteY70" fmla="*/ 554655 h 554655"/>
                <a:gd name="connsiteX71" fmla="*/ 1139643 w 1540608"/>
                <a:gd name="connsiteY71" fmla="*/ 554655 h 554655"/>
                <a:gd name="connsiteX72" fmla="*/ 1139640 w 1540608"/>
                <a:gd name="connsiteY72" fmla="*/ 554655 h 554655"/>
                <a:gd name="connsiteX73" fmla="*/ 1118248 w 1540608"/>
                <a:gd name="connsiteY73" fmla="*/ 554655 h 554655"/>
                <a:gd name="connsiteX74" fmla="*/ 1118247 w 1540608"/>
                <a:gd name="connsiteY74" fmla="*/ 554655 h 554655"/>
                <a:gd name="connsiteX75" fmla="*/ 1066553 w 1540608"/>
                <a:gd name="connsiteY75" fmla="*/ 554655 h 554655"/>
                <a:gd name="connsiteX76" fmla="*/ 1066550 w 1540608"/>
                <a:gd name="connsiteY76" fmla="*/ 554655 h 554655"/>
                <a:gd name="connsiteX77" fmla="*/ 1066539 w 1540608"/>
                <a:gd name="connsiteY77" fmla="*/ 554655 h 554655"/>
                <a:gd name="connsiteX78" fmla="*/ 1046304 w 1540608"/>
                <a:gd name="connsiteY78" fmla="*/ 554655 h 554655"/>
                <a:gd name="connsiteX79" fmla="*/ 1046303 w 1540608"/>
                <a:gd name="connsiteY79" fmla="*/ 554655 h 554655"/>
                <a:gd name="connsiteX80" fmla="*/ 1014845 w 1540608"/>
                <a:gd name="connsiteY80" fmla="*/ 554655 h 554655"/>
                <a:gd name="connsiteX81" fmla="*/ 1014842 w 1540608"/>
                <a:gd name="connsiteY81" fmla="*/ 554655 h 554655"/>
                <a:gd name="connsiteX82" fmla="*/ 994609 w 1540608"/>
                <a:gd name="connsiteY82" fmla="*/ 554655 h 554655"/>
                <a:gd name="connsiteX83" fmla="*/ 994607 w 1540608"/>
                <a:gd name="connsiteY83" fmla="*/ 554655 h 554655"/>
                <a:gd name="connsiteX84" fmla="*/ 994596 w 1540608"/>
                <a:gd name="connsiteY84" fmla="*/ 554655 h 554655"/>
                <a:gd name="connsiteX85" fmla="*/ 994595 w 1540608"/>
                <a:gd name="connsiteY85" fmla="*/ 554655 h 554655"/>
                <a:gd name="connsiteX86" fmla="*/ 957609 w 1540608"/>
                <a:gd name="connsiteY86" fmla="*/ 554655 h 554655"/>
                <a:gd name="connsiteX87" fmla="*/ 942902 w 1540608"/>
                <a:gd name="connsiteY87" fmla="*/ 554655 h 554655"/>
                <a:gd name="connsiteX88" fmla="*/ 942899 w 1540608"/>
                <a:gd name="connsiteY88" fmla="*/ 554655 h 554655"/>
                <a:gd name="connsiteX89" fmla="*/ 921507 w 1540608"/>
                <a:gd name="connsiteY89" fmla="*/ 554655 h 554655"/>
                <a:gd name="connsiteX90" fmla="*/ 921506 w 1540608"/>
                <a:gd name="connsiteY90" fmla="*/ 554655 h 554655"/>
                <a:gd name="connsiteX91" fmla="*/ 905915 w 1540608"/>
                <a:gd name="connsiteY91" fmla="*/ 554655 h 554655"/>
                <a:gd name="connsiteX92" fmla="*/ 905912 w 1540608"/>
                <a:gd name="connsiteY92" fmla="*/ 554655 h 554655"/>
                <a:gd name="connsiteX93" fmla="*/ 885666 w 1540608"/>
                <a:gd name="connsiteY93" fmla="*/ 554655 h 554655"/>
                <a:gd name="connsiteX94" fmla="*/ 885665 w 1540608"/>
                <a:gd name="connsiteY94" fmla="*/ 554655 h 554655"/>
                <a:gd name="connsiteX95" fmla="*/ 869812 w 1540608"/>
                <a:gd name="connsiteY95" fmla="*/ 554655 h 554655"/>
                <a:gd name="connsiteX96" fmla="*/ 869809 w 1540608"/>
                <a:gd name="connsiteY96" fmla="*/ 554655 h 554655"/>
                <a:gd name="connsiteX97" fmla="*/ 849563 w 1540608"/>
                <a:gd name="connsiteY97" fmla="*/ 554655 h 554655"/>
                <a:gd name="connsiteX98" fmla="*/ 849562 w 1540608"/>
                <a:gd name="connsiteY98" fmla="*/ 554655 h 554655"/>
                <a:gd name="connsiteX99" fmla="*/ 833972 w 1540608"/>
                <a:gd name="connsiteY99" fmla="*/ 554655 h 554655"/>
                <a:gd name="connsiteX100" fmla="*/ 833969 w 1540608"/>
                <a:gd name="connsiteY100" fmla="*/ 554655 h 554655"/>
                <a:gd name="connsiteX101" fmla="*/ 812577 w 1540608"/>
                <a:gd name="connsiteY101" fmla="*/ 554655 h 554655"/>
                <a:gd name="connsiteX102" fmla="*/ 812576 w 1540608"/>
                <a:gd name="connsiteY102" fmla="*/ 554655 h 554655"/>
                <a:gd name="connsiteX103" fmla="*/ 797868 w 1540608"/>
                <a:gd name="connsiteY103" fmla="*/ 554655 h 554655"/>
                <a:gd name="connsiteX104" fmla="*/ 797866 w 1540608"/>
                <a:gd name="connsiteY104" fmla="*/ 554655 h 554655"/>
                <a:gd name="connsiteX105" fmla="*/ 760882 w 1540608"/>
                <a:gd name="connsiteY105" fmla="*/ 554655 h 554655"/>
                <a:gd name="connsiteX106" fmla="*/ 760879 w 1540608"/>
                <a:gd name="connsiteY106" fmla="*/ 554655 h 554655"/>
                <a:gd name="connsiteX107" fmla="*/ 760868 w 1540608"/>
                <a:gd name="connsiteY107" fmla="*/ 554655 h 554655"/>
                <a:gd name="connsiteX108" fmla="*/ 740633 w 1540608"/>
                <a:gd name="connsiteY108" fmla="*/ 554655 h 554655"/>
                <a:gd name="connsiteX109" fmla="*/ 740632 w 1540608"/>
                <a:gd name="connsiteY109" fmla="*/ 554655 h 554655"/>
                <a:gd name="connsiteX110" fmla="*/ 709174 w 1540608"/>
                <a:gd name="connsiteY110" fmla="*/ 554655 h 554655"/>
                <a:gd name="connsiteX111" fmla="*/ 709171 w 1540608"/>
                <a:gd name="connsiteY111" fmla="*/ 554655 h 554655"/>
                <a:gd name="connsiteX112" fmla="*/ 688938 w 1540608"/>
                <a:gd name="connsiteY112" fmla="*/ 554655 h 554655"/>
                <a:gd name="connsiteX113" fmla="*/ 688936 w 1540608"/>
                <a:gd name="connsiteY113" fmla="*/ 554655 h 554655"/>
                <a:gd name="connsiteX114" fmla="*/ 688925 w 1540608"/>
                <a:gd name="connsiteY114" fmla="*/ 554655 h 554655"/>
                <a:gd name="connsiteX115" fmla="*/ 688924 w 1540608"/>
                <a:gd name="connsiteY115" fmla="*/ 554655 h 554655"/>
                <a:gd name="connsiteX116" fmla="*/ 637231 w 1540608"/>
                <a:gd name="connsiteY116" fmla="*/ 554655 h 554655"/>
                <a:gd name="connsiteX117" fmla="*/ 637228 w 1540608"/>
                <a:gd name="connsiteY117" fmla="*/ 554655 h 554655"/>
                <a:gd name="connsiteX118" fmla="*/ 615836 w 1540608"/>
                <a:gd name="connsiteY118" fmla="*/ 554655 h 554655"/>
                <a:gd name="connsiteX119" fmla="*/ 615835 w 1540608"/>
                <a:gd name="connsiteY119" fmla="*/ 554655 h 554655"/>
                <a:gd name="connsiteX120" fmla="*/ 564141 w 1540608"/>
                <a:gd name="connsiteY120" fmla="*/ 554655 h 554655"/>
                <a:gd name="connsiteX121" fmla="*/ 564138 w 1540608"/>
                <a:gd name="connsiteY121" fmla="*/ 554655 h 554655"/>
                <a:gd name="connsiteX122" fmla="*/ 543892 w 1540608"/>
                <a:gd name="connsiteY122" fmla="*/ 554655 h 554655"/>
                <a:gd name="connsiteX123" fmla="*/ 543891 w 1540608"/>
                <a:gd name="connsiteY123" fmla="*/ 554655 h 554655"/>
                <a:gd name="connsiteX124" fmla="*/ 492197 w 1540608"/>
                <a:gd name="connsiteY124" fmla="*/ 554655 h 554655"/>
                <a:gd name="connsiteX125" fmla="*/ 492195 w 1540608"/>
                <a:gd name="connsiteY125" fmla="*/ 554655 h 554655"/>
                <a:gd name="connsiteX126" fmla="*/ 277328 w 1540608"/>
                <a:gd name="connsiteY126" fmla="*/ 554654 h 554655"/>
                <a:gd name="connsiteX127" fmla="*/ 5634 w 1540608"/>
                <a:gd name="connsiteY127" fmla="*/ 333218 h 554655"/>
                <a:gd name="connsiteX128" fmla="*/ 0 w 1540608"/>
                <a:gd name="connsiteY128" fmla="*/ 277328 h 554655"/>
                <a:gd name="connsiteX129" fmla="*/ 5634 w 1540608"/>
                <a:gd name="connsiteY129" fmla="*/ 221437 h 554655"/>
                <a:gd name="connsiteX130" fmla="*/ 277328 w 1540608"/>
                <a:gd name="connsiteY130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1540608" h="554655">
                  <a:moveTo>
                    <a:pt x="277328" y="0"/>
                  </a:moveTo>
                  <a:lnTo>
                    <a:pt x="329024" y="0"/>
                  </a:lnTo>
                  <a:lnTo>
                    <a:pt x="349271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25765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82999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4695" y="0"/>
                  </a:lnTo>
                  <a:lnTo>
                    <a:pt x="637229" y="0"/>
                  </a:lnTo>
                  <a:lnTo>
                    <a:pt x="654942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6639" y="0"/>
                  </a:lnTo>
                  <a:lnTo>
                    <a:pt x="709172" y="0"/>
                  </a:lnTo>
                  <a:lnTo>
                    <a:pt x="728032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79728" y="0"/>
                  </a:lnTo>
                  <a:lnTo>
                    <a:pt x="779740" y="0"/>
                  </a:lnTo>
                  <a:lnTo>
                    <a:pt x="797867" y="0"/>
                  </a:lnTo>
                  <a:lnTo>
                    <a:pt x="799975" y="0"/>
                  </a:lnTo>
                  <a:lnTo>
                    <a:pt x="812577" y="0"/>
                  </a:lnTo>
                  <a:lnTo>
                    <a:pt x="831436" y="0"/>
                  </a:lnTo>
                  <a:lnTo>
                    <a:pt x="833970" y="0"/>
                  </a:lnTo>
                  <a:lnTo>
                    <a:pt x="849563" y="0"/>
                  </a:lnTo>
                  <a:lnTo>
                    <a:pt x="851672" y="0"/>
                  </a:lnTo>
                  <a:lnTo>
                    <a:pt x="851683" y="0"/>
                  </a:lnTo>
                  <a:lnTo>
                    <a:pt x="869810" y="0"/>
                  </a:lnTo>
                  <a:lnTo>
                    <a:pt x="885666" y="0"/>
                  </a:lnTo>
                  <a:lnTo>
                    <a:pt x="903380" y="0"/>
                  </a:lnTo>
                  <a:lnTo>
                    <a:pt x="905913" y="0"/>
                  </a:lnTo>
                  <a:lnTo>
                    <a:pt x="921507" y="0"/>
                  </a:lnTo>
                  <a:lnTo>
                    <a:pt x="924773" y="0"/>
                  </a:lnTo>
                  <a:lnTo>
                    <a:pt x="942900" y="0"/>
                  </a:lnTo>
                  <a:lnTo>
                    <a:pt x="957610" y="0"/>
                  </a:lnTo>
                  <a:lnTo>
                    <a:pt x="976469" y="0"/>
                  </a:lnTo>
                  <a:lnTo>
                    <a:pt x="994596" y="0"/>
                  </a:lnTo>
                  <a:lnTo>
                    <a:pt x="994608" y="0"/>
                  </a:lnTo>
                  <a:lnTo>
                    <a:pt x="996716" y="0"/>
                  </a:lnTo>
                  <a:lnTo>
                    <a:pt x="1014843" y="0"/>
                  </a:lnTo>
                  <a:lnTo>
                    <a:pt x="1046304" y="0"/>
                  </a:lnTo>
                  <a:lnTo>
                    <a:pt x="1048413" y="0"/>
                  </a:lnTo>
                  <a:lnTo>
                    <a:pt x="1066540" y="0"/>
                  </a:lnTo>
                  <a:lnTo>
                    <a:pt x="1066551" y="0"/>
                  </a:lnTo>
                  <a:lnTo>
                    <a:pt x="1118248" y="0"/>
                  </a:lnTo>
                  <a:lnTo>
                    <a:pt x="1139641" y="0"/>
                  </a:lnTo>
                  <a:lnTo>
                    <a:pt x="1191337" y="0"/>
                  </a:lnTo>
                  <a:lnTo>
                    <a:pt x="1211584" y="0"/>
                  </a:lnTo>
                  <a:lnTo>
                    <a:pt x="1263281" y="0"/>
                  </a:lnTo>
                  <a:cubicBezTo>
                    <a:pt x="1416445" y="0"/>
                    <a:pt x="1540608" y="124164"/>
                    <a:pt x="1540608" y="277328"/>
                  </a:cubicBezTo>
                  <a:lnTo>
                    <a:pt x="1540607" y="277328"/>
                  </a:lnTo>
                  <a:cubicBezTo>
                    <a:pt x="1540607" y="430492"/>
                    <a:pt x="1416444" y="554655"/>
                    <a:pt x="1263280" y="554655"/>
                  </a:cubicBezTo>
                  <a:lnTo>
                    <a:pt x="1211586" y="554655"/>
                  </a:lnTo>
                  <a:lnTo>
                    <a:pt x="1211583" y="554655"/>
                  </a:lnTo>
                  <a:lnTo>
                    <a:pt x="1191337" y="554655"/>
                  </a:lnTo>
                  <a:lnTo>
                    <a:pt x="1191336" y="554655"/>
                  </a:lnTo>
                  <a:lnTo>
                    <a:pt x="1139643" y="554655"/>
                  </a:lnTo>
                  <a:lnTo>
                    <a:pt x="1139640" y="554655"/>
                  </a:lnTo>
                  <a:lnTo>
                    <a:pt x="1118248" y="554655"/>
                  </a:lnTo>
                  <a:lnTo>
                    <a:pt x="1118247" y="554655"/>
                  </a:lnTo>
                  <a:lnTo>
                    <a:pt x="1066553" y="554655"/>
                  </a:lnTo>
                  <a:lnTo>
                    <a:pt x="1066550" y="554655"/>
                  </a:lnTo>
                  <a:lnTo>
                    <a:pt x="1066539" y="554655"/>
                  </a:lnTo>
                  <a:lnTo>
                    <a:pt x="1046304" y="554655"/>
                  </a:lnTo>
                  <a:lnTo>
                    <a:pt x="1046303" y="554655"/>
                  </a:lnTo>
                  <a:lnTo>
                    <a:pt x="1014845" y="554655"/>
                  </a:lnTo>
                  <a:lnTo>
                    <a:pt x="1014842" y="554655"/>
                  </a:lnTo>
                  <a:lnTo>
                    <a:pt x="994609" y="554655"/>
                  </a:lnTo>
                  <a:lnTo>
                    <a:pt x="994607" y="554655"/>
                  </a:lnTo>
                  <a:lnTo>
                    <a:pt x="994596" y="554655"/>
                  </a:lnTo>
                  <a:lnTo>
                    <a:pt x="994595" y="554655"/>
                  </a:lnTo>
                  <a:lnTo>
                    <a:pt x="957609" y="554655"/>
                  </a:lnTo>
                  <a:lnTo>
                    <a:pt x="942902" y="554655"/>
                  </a:lnTo>
                  <a:lnTo>
                    <a:pt x="942899" y="554655"/>
                  </a:lnTo>
                  <a:lnTo>
                    <a:pt x="921507" y="554655"/>
                  </a:lnTo>
                  <a:lnTo>
                    <a:pt x="921506" y="554655"/>
                  </a:lnTo>
                  <a:lnTo>
                    <a:pt x="905915" y="554655"/>
                  </a:lnTo>
                  <a:lnTo>
                    <a:pt x="90591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69812" y="554655"/>
                  </a:lnTo>
                  <a:lnTo>
                    <a:pt x="869809" y="554655"/>
                  </a:lnTo>
                  <a:lnTo>
                    <a:pt x="849563" y="554655"/>
                  </a:lnTo>
                  <a:lnTo>
                    <a:pt x="849562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797868" y="554655"/>
                  </a:lnTo>
                  <a:lnTo>
                    <a:pt x="797866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pic>
          <p:nvPicPr>
            <p:cNvPr id="25" name="Picture 2" descr="Asset 1.png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028"/>
            <a:stretch/>
          </p:blipFill>
          <p:spPr bwMode="auto">
            <a:xfrm>
              <a:off x="8876363" y="4606048"/>
              <a:ext cx="803609" cy="463051"/>
            </a:xfrm>
            <a:prstGeom prst="rect">
              <a:avLst/>
            </a:prstGeom>
            <a:solidFill>
              <a:srgbClr val="F0E8E5"/>
            </a:solidFill>
          </p:spPr>
        </p:pic>
        <p:sp>
          <p:nvSpPr>
            <p:cNvPr id="70" name="Полилиния 69"/>
            <p:cNvSpPr/>
            <p:nvPr/>
          </p:nvSpPr>
          <p:spPr>
            <a:xfrm>
              <a:off x="8737214" y="4568330"/>
              <a:ext cx="1036075" cy="537061"/>
            </a:xfrm>
            <a:custGeom>
              <a:avLst/>
              <a:gdLst>
                <a:gd name="connsiteX0" fmla="*/ 277328 w 1070017"/>
                <a:gd name="connsiteY0" fmla="*/ 0 h 554655"/>
                <a:gd name="connsiteX1" fmla="*/ 309137 w 1070017"/>
                <a:gd name="connsiteY1" fmla="*/ 0 h 554655"/>
                <a:gd name="connsiteX2" fmla="*/ 309149 w 1070017"/>
                <a:gd name="connsiteY2" fmla="*/ 0 h 554655"/>
                <a:gd name="connsiteX3" fmla="*/ 327276 w 1070017"/>
                <a:gd name="connsiteY3" fmla="*/ 0 h 554655"/>
                <a:gd name="connsiteX4" fmla="*/ 329024 w 1070017"/>
                <a:gd name="connsiteY4" fmla="*/ 0 h 554655"/>
                <a:gd name="connsiteX5" fmla="*/ 329384 w 1070017"/>
                <a:gd name="connsiteY5" fmla="*/ 0 h 554655"/>
                <a:gd name="connsiteX6" fmla="*/ 349271 w 1070017"/>
                <a:gd name="connsiteY6" fmla="*/ 0 h 554655"/>
                <a:gd name="connsiteX7" fmla="*/ 360845 w 1070017"/>
                <a:gd name="connsiteY7" fmla="*/ 0 h 554655"/>
                <a:gd name="connsiteX8" fmla="*/ 378972 w 1070017"/>
                <a:gd name="connsiteY8" fmla="*/ 0 h 554655"/>
                <a:gd name="connsiteX9" fmla="*/ 381081 w 1070017"/>
                <a:gd name="connsiteY9" fmla="*/ 0 h 554655"/>
                <a:gd name="connsiteX10" fmla="*/ 381092 w 1070017"/>
                <a:gd name="connsiteY10" fmla="*/ 0 h 554655"/>
                <a:gd name="connsiteX11" fmla="*/ 399219 w 1070017"/>
                <a:gd name="connsiteY11" fmla="*/ 0 h 554655"/>
                <a:gd name="connsiteX12" fmla="*/ 400968 w 1070017"/>
                <a:gd name="connsiteY12" fmla="*/ 0 h 554655"/>
                <a:gd name="connsiteX13" fmla="*/ 422361 w 1070017"/>
                <a:gd name="connsiteY13" fmla="*/ 0 h 554655"/>
                <a:gd name="connsiteX14" fmla="*/ 432789 w 1070017"/>
                <a:gd name="connsiteY14" fmla="*/ 0 h 554655"/>
                <a:gd name="connsiteX15" fmla="*/ 450916 w 1070017"/>
                <a:gd name="connsiteY15" fmla="*/ 0 h 554655"/>
                <a:gd name="connsiteX16" fmla="*/ 454182 w 1070017"/>
                <a:gd name="connsiteY16" fmla="*/ 0 h 554655"/>
                <a:gd name="connsiteX17" fmla="*/ 472309 w 1070017"/>
                <a:gd name="connsiteY17" fmla="*/ 0 h 554655"/>
                <a:gd name="connsiteX18" fmla="*/ 474057 w 1070017"/>
                <a:gd name="connsiteY18" fmla="*/ 0 h 554655"/>
                <a:gd name="connsiteX19" fmla="*/ 474069 w 1070017"/>
                <a:gd name="connsiteY19" fmla="*/ 0 h 554655"/>
                <a:gd name="connsiteX20" fmla="*/ 492196 w 1070017"/>
                <a:gd name="connsiteY20" fmla="*/ 0 h 554655"/>
                <a:gd name="connsiteX21" fmla="*/ 494304 w 1070017"/>
                <a:gd name="connsiteY21" fmla="*/ 0 h 554655"/>
                <a:gd name="connsiteX22" fmla="*/ 505878 w 1070017"/>
                <a:gd name="connsiteY22" fmla="*/ 0 h 554655"/>
                <a:gd name="connsiteX23" fmla="*/ 524005 w 1070017"/>
                <a:gd name="connsiteY23" fmla="*/ 0 h 554655"/>
                <a:gd name="connsiteX24" fmla="*/ 524017 w 1070017"/>
                <a:gd name="connsiteY24" fmla="*/ 0 h 554655"/>
                <a:gd name="connsiteX25" fmla="*/ 525765 w 1070017"/>
                <a:gd name="connsiteY25" fmla="*/ 0 h 554655"/>
                <a:gd name="connsiteX26" fmla="*/ 526125 w 1070017"/>
                <a:gd name="connsiteY26" fmla="*/ 0 h 554655"/>
                <a:gd name="connsiteX27" fmla="*/ 543892 w 1070017"/>
                <a:gd name="connsiteY27" fmla="*/ 0 h 554655"/>
                <a:gd name="connsiteX28" fmla="*/ 544252 w 1070017"/>
                <a:gd name="connsiteY28" fmla="*/ 0 h 554655"/>
                <a:gd name="connsiteX29" fmla="*/ 546001 w 1070017"/>
                <a:gd name="connsiteY29" fmla="*/ 0 h 554655"/>
                <a:gd name="connsiteX30" fmla="*/ 546012 w 1070017"/>
                <a:gd name="connsiteY30" fmla="*/ 0 h 554655"/>
                <a:gd name="connsiteX31" fmla="*/ 564139 w 1070017"/>
                <a:gd name="connsiteY31" fmla="*/ 0 h 554655"/>
                <a:gd name="connsiteX32" fmla="*/ 575713 w 1070017"/>
                <a:gd name="connsiteY32" fmla="*/ 0 h 554655"/>
                <a:gd name="connsiteX33" fmla="*/ 577822 w 1070017"/>
                <a:gd name="connsiteY33" fmla="*/ 0 h 554655"/>
                <a:gd name="connsiteX34" fmla="*/ 595949 w 1070017"/>
                <a:gd name="connsiteY34" fmla="*/ 0 h 554655"/>
                <a:gd name="connsiteX35" fmla="*/ 595960 w 1070017"/>
                <a:gd name="connsiteY35" fmla="*/ 0 h 554655"/>
                <a:gd name="connsiteX36" fmla="*/ 597709 w 1070017"/>
                <a:gd name="connsiteY36" fmla="*/ 0 h 554655"/>
                <a:gd name="connsiteX37" fmla="*/ 615836 w 1070017"/>
                <a:gd name="connsiteY37" fmla="*/ 0 h 554655"/>
                <a:gd name="connsiteX38" fmla="*/ 619102 w 1070017"/>
                <a:gd name="connsiteY38" fmla="*/ 0 h 554655"/>
                <a:gd name="connsiteX39" fmla="*/ 637229 w 1070017"/>
                <a:gd name="connsiteY39" fmla="*/ 0 h 554655"/>
                <a:gd name="connsiteX40" fmla="*/ 647657 w 1070017"/>
                <a:gd name="connsiteY40" fmla="*/ 0 h 554655"/>
                <a:gd name="connsiteX41" fmla="*/ 669050 w 1070017"/>
                <a:gd name="connsiteY41" fmla="*/ 0 h 554655"/>
                <a:gd name="connsiteX42" fmla="*/ 670798 w 1070017"/>
                <a:gd name="connsiteY42" fmla="*/ 0 h 554655"/>
                <a:gd name="connsiteX43" fmla="*/ 688925 w 1070017"/>
                <a:gd name="connsiteY43" fmla="*/ 0 h 554655"/>
                <a:gd name="connsiteX44" fmla="*/ 688937 w 1070017"/>
                <a:gd name="connsiteY44" fmla="*/ 0 h 554655"/>
                <a:gd name="connsiteX45" fmla="*/ 691045 w 1070017"/>
                <a:gd name="connsiteY45" fmla="*/ 0 h 554655"/>
                <a:gd name="connsiteX46" fmla="*/ 709172 w 1070017"/>
                <a:gd name="connsiteY46" fmla="*/ 0 h 554655"/>
                <a:gd name="connsiteX47" fmla="*/ 720746 w 1070017"/>
                <a:gd name="connsiteY47" fmla="*/ 0 h 554655"/>
                <a:gd name="connsiteX48" fmla="*/ 740633 w 1070017"/>
                <a:gd name="connsiteY48" fmla="*/ 0 h 554655"/>
                <a:gd name="connsiteX49" fmla="*/ 740993 w 1070017"/>
                <a:gd name="connsiteY49" fmla="*/ 0 h 554655"/>
                <a:gd name="connsiteX50" fmla="*/ 742742 w 1070017"/>
                <a:gd name="connsiteY50" fmla="*/ 0 h 554655"/>
                <a:gd name="connsiteX51" fmla="*/ 760869 w 1070017"/>
                <a:gd name="connsiteY51" fmla="*/ 0 h 554655"/>
                <a:gd name="connsiteX52" fmla="*/ 760880 w 1070017"/>
                <a:gd name="connsiteY52" fmla="*/ 0 h 554655"/>
                <a:gd name="connsiteX53" fmla="*/ 792690 w 1070017"/>
                <a:gd name="connsiteY53" fmla="*/ 0 h 554655"/>
                <a:gd name="connsiteX54" fmla="*/ 1070017 w 1070017"/>
                <a:gd name="connsiteY54" fmla="*/ 277328 h 554655"/>
                <a:gd name="connsiteX55" fmla="*/ 1070016 w 1070017"/>
                <a:gd name="connsiteY55" fmla="*/ 277328 h 554655"/>
                <a:gd name="connsiteX56" fmla="*/ 792689 w 1070017"/>
                <a:gd name="connsiteY56" fmla="*/ 554655 h 554655"/>
                <a:gd name="connsiteX57" fmla="*/ 760882 w 1070017"/>
                <a:gd name="connsiteY57" fmla="*/ 554655 h 554655"/>
                <a:gd name="connsiteX58" fmla="*/ 760879 w 1070017"/>
                <a:gd name="connsiteY58" fmla="*/ 554655 h 554655"/>
                <a:gd name="connsiteX59" fmla="*/ 760868 w 1070017"/>
                <a:gd name="connsiteY59" fmla="*/ 554655 h 554655"/>
                <a:gd name="connsiteX60" fmla="*/ 740995 w 1070017"/>
                <a:gd name="connsiteY60" fmla="*/ 554655 h 554655"/>
                <a:gd name="connsiteX61" fmla="*/ 740992 w 1070017"/>
                <a:gd name="connsiteY61" fmla="*/ 554655 h 554655"/>
                <a:gd name="connsiteX62" fmla="*/ 740633 w 1070017"/>
                <a:gd name="connsiteY62" fmla="*/ 554655 h 554655"/>
                <a:gd name="connsiteX63" fmla="*/ 740632 w 1070017"/>
                <a:gd name="connsiteY63" fmla="*/ 554655 h 554655"/>
                <a:gd name="connsiteX64" fmla="*/ 720746 w 1070017"/>
                <a:gd name="connsiteY64" fmla="*/ 554655 h 554655"/>
                <a:gd name="connsiteX65" fmla="*/ 720745 w 1070017"/>
                <a:gd name="connsiteY65" fmla="*/ 554655 h 554655"/>
                <a:gd name="connsiteX66" fmla="*/ 709174 w 1070017"/>
                <a:gd name="connsiteY66" fmla="*/ 554655 h 554655"/>
                <a:gd name="connsiteX67" fmla="*/ 709171 w 1070017"/>
                <a:gd name="connsiteY67" fmla="*/ 554655 h 554655"/>
                <a:gd name="connsiteX68" fmla="*/ 688938 w 1070017"/>
                <a:gd name="connsiteY68" fmla="*/ 554655 h 554655"/>
                <a:gd name="connsiteX69" fmla="*/ 688936 w 1070017"/>
                <a:gd name="connsiteY69" fmla="*/ 554655 h 554655"/>
                <a:gd name="connsiteX70" fmla="*/ 688925 w 1070017"/>
                <a:gd name="connsiteY70" fmla="*/ 554655 h 554655"/>
                <a:gd name="connsiteX71" fmla="*/ 688924 w 1070017"/>
                <a:gd name="connsiteY71" fmla="*/ 554655 h 554655"/>
                <a:gd name="connsiteX72" fmla="*/ 669052 w 1070017"/>
                <a:gd name="connsiteY72" fmla="*/ 554655 h 554655"/>
                <a:gd name="connsiteX73" fmla="*/ 669049 w 1070017"/>
                <a:gd name="connsiteY73" fmla="*/ 554655 h 554655"/>
                <a:gd name="connsiteX74" fmla="*/ 647657 w 1070017"/>
                <a:gd name="connsiteY74" fmla="*/ 554655 h 554655"/>
                <a:gd name="connsiteX75" fmla="*/ 647656 w 1070017"/>
                <a:gd name="connsiteY75" fmla="*/ 554655 h 554655"/>
                <a:gd name="connsiteX76" fmla="*/ 637231 w 1070017"/>
                <a:gd name="connsiteY76" fmla="*/ 554655 h 554655"/>
                <a:gd name="connsiteX77" fmla="*/ 637228 w 1070017"/>
                <a:gd name="connsiteY77" fmla="*/ 554655 h 554655"/>
                <a:gd name="connsiteX78" fmla="*/ 615836 w 1070017"/>
                <a:gd name="connsiteY78" fmla="*/ 554655 h 554655"/>
                <a:gd name="connsiteX79" fmla="*/ 615835 w 1070017"/>
                <a:gd name="connsiteY79" fmla="*/ 554655 h 554655"/>
                <a:gd name="connsiteX80" fmla="*/ 595962 w 1070017"/>
                <a:gd name="connsiteY80" fmla="*/ 554655 h 554655"/>
                <a:gd name="connsiteX81" fmla="*/ 595959 w 1070017"/>
                <a:gd name="connsiteY81" fmla="*/ 554655 h 554655"/>
                <a:gd name="connsiteX82" fmla="*/ 595948 w 1070017"/>
                <a:gd name="connsiteY82" fmla="*/ 554655 h 554655"/>
                <a:gd name="connsiteX83" fmla="*/ 575713 w 1070017"/>
                <a:gd name="connsiteY83" fmla="*/ 554655 h 554655"/>
                <a:gd name="connsiteX84" fmla="*/ 575712 w 1070017"/>
                <a:gd name="connsiteY84" fmla="*/ 554655 h 554655"/>
                <a:gd name="connsiteX85" fmla="*/ 564141 w 1070017"/>
                <a:gd name="connsiteY85" fmla="*/ 554655 h 554655"/>
                <a:gd name="connsiteX86" fmla="*/ 564138 w 1070017"/>
                <a:gd name="connsiteY86" fmla="*/ 554655 h 554655"/>
                <a:gd name="connsiteX87" fmla="*/ 544254 w 1070017"/>
                <a:gd name="connsiteY87" fmla="*/ 554655 h 554655"/>
                <a:gd name="connsiteX88" fmla="*/ 544251 w 1070017"/>
                <a:gd name="connsiteY88" fmla="*/ 554655 h 554655"/>
                <a:gd name="connsiteX89" fmla="*/ 543892 w 1070017"/>
                <a:gd name="connsiteY89" fmla="*/ 554655 h 554655"/>
                <a:gd name="connsiteX90" fmla="*/ 543891 w 1070017"/>
                <a:gd name="connsiteY90" fmla="*/ 554655 h 554655"/>
                <a:gd name="connsiteX91" fmla="*/ 524018 w 1070017"/>
                <a:gd name="connsiteY91" fmla="*/ 554655 h 554655"/>
                <a:gd name="connsiteX92" fmla="*/ 524016 w 1070017"/>
                <a:gd name="connsiteY92" fmla="*/ 554655 h 554655"/>
                <a:gd name="connsiteX93" fmla="*/ 524005 w 1070017"/>
                <a:gd name="connsiteY93" fmla="*/ 554655 h 554655"/>
                <a:gd name="connsiteX94" fmla="*/ 524004 w 1070017"/>
                <a:gd name="connsiteY94" fmla="*/ 554655 h 554655"/>
                <a:gd name="connsiteX95" fmla="*/ 492197 w 1070017"/>
                <a:gd name="connsiteY95" fmla="*/ 554655 h 554655"/>
                <a:gd name="connsiteX96" fmla="*/ 492195 w 1070017"/>
                <a:gd name="connsiteY96" fmla="*/ 554655 h 554655"/>
                <a:gd name="connsiteX97" fmla="*/ 277328 w 1070017"/>
                <a:gd name="connsiteY97" fmla="*/ 554654 h 554655"/>
                <a:gd name="connsiteX98" fmla="*/ 5634 w 1070017"/>
                <a:gd name="connsiteY98" fmla="*/ 333218 h 554655"/>
                <a:gd name="connsiteX99" fmla="*/ 0 w 1070017"/>
                <a:gd name="connsiteY99" fmla="*/ 277328 h 554655"/>
                <a:gd name="connsiteX100" fmla="*/ 5634 w 1070017"/>
                <a:gd name="connsiteY100" fmla="*/ 221437 h 554655"/>
                <a:gd name="connsiteX101" fmla="*/ 277328 w 1070017"/>
                <a:gd name="connsiteY101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1070017" h="554655">
                  <a:moveTo>
                    <a:pt x="277328" y="0"/>
                  </a:moveTo>
                  <a:lnTo>
                    <a:pt x="309137" y="0"/>
                  </a:lnTo>
                  <a:lnTo>
                    <a:pt x="309149" y="0"/>
                  </a:lnTo>
                  <a:lnTo>
                    <a:pt x="327276" y="0"/>
                  </a:lnTo>
                  <a:lnTo>
                    <a:pt x="329024" y="0"/>
                  </a:lnTo>
                  <a:lnTo>
                    <a:pt x="329384" y="0"/>
                  </a:lnTo>
                  <a:lnTo>
                    <a:pt x="349271" y="0"/>
                  </a:lnTo>
                  <a:lnTo>
                    <a:pt x="360845" y="0"/>
                  </a:lnTo>
                  <a:lnTo>
                    <a:pt x="378972" y="0"/>
                  </a:lnTo>
                  <a:lnTo>
                    <a:pt x="381081" y="0"/>
                  </a:lnTo>
                  <a:lnTo>
                    <a:pt x="381092" y="0"/>
                  </a:lnTo>
                  <a:lnTo>
                    <a:pt x="399219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32789" y="0"/>
                  </a:lnTo>
                  <a:lnTo>
                    <a:pt x="450916" y="0"/>
                  </a:lnTo>
                  <a:lnTo>
                    <a:pt x="454182" y="0"/>
                  </a:lnTo>
                  <a:lnTo>
                    <a:pt x="472309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05878" y="0"/>
                  </a:lnTo>
                  <a:lnTo>
                    <a:pt x="524005" y="0"/>
                  </a:lnTo>
                  <a:lnTo>
                    <a:pt x="524017" y="0"/>
                  </a:lnTo>
                  <a:lnTo>
                    <a:pt x="525765" y="0"/>
                  </a:lnTo>
                  <a:lnTo>
                    <a:pt x="526125" y="0"/>
                  </a:lnTo>
                  <a:lnTo>
                    <a:pt x="543892" y="0"/>
                  </a:lnTo>
                  <a:lnTo>
                    <a:pt x="54425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75713" y="0"/>
                  </a:lnTo>
                  <a:lnTo>
                    <a:pt x="577822" y="0"/>
                  </a:lnTo>
                  <a:lnTo>
                    <a:pt x="595949" y="0"/>
                  </a:lnTo>
                  <a:lnTo>
                    <a:pt x="595960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7229" y="0"/>
                  </a:lnTo>
                  <a:lnTo>
                    <a:pt x="647657" y="0"/>
                  </a:lnTo>
                  <a:lnTo>
                    <a:pt x="669050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9172" y="0"/>
                  </a:lnTo>
                  <a:lnTo>
                    <a:pt x="720746" y="0"/>
                  </a:lnTo>
                  <a:lnTo>
                    <a:pt x="740633" y="0"/>
                  </a:lnTo>
                  <a:lnTo>
                    <a:pt x="74099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92690" y="0"/>
                  </a:lnTo>
                  <a:cubicBezTo>
                    <a:pt x="945854" y="0"/>
                    <a:pt x="1070017" y="124164"/>
                    <a:pt x="1070017" y="277328"/>
                  </a:cubicBezTo>
                  <a:lnTo>
                    <a:pt x="1070016" y="277328"/>
                  </a:lnTo>
                  <a:cubicBezTo>
                    <a:pt x="1070016" y="430492"/>
                    <a:pt x="945853" y="554655"/>
                    <a:pt x="792689" y="554655"/>
                  </a:cubicBez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995" y="554655"/>
                  </a:lnTo>
                  <a:lnTo>
                    <a:pt x="740992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20746" y="554655"/>
                  </a:lnTo>
                  <a:lnTo>
                    <a:pt x="720745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69052" y="554655"/>
                  </a:lnTo>
                  <a:lnTo>
                    <a:pt x="669049" y="554655"/>
                  </a:lnTo>
                  <a:lnTo>
                    <a:pt x="647657" y="554655"/>
                  </a:lnTo>
                  <a:lnTo>
                    <a:pt x="647656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95962" y="554655"/>
                  </a:lnTo>
                  <a:lnTo>
                    <a:pt x="595959" y="554655"/>
                  </a:lnTo>
                  <a:lnTo>
                    <a:pt x="595948" y="554655"/>
                  </a:lnTo>
                  <a:lnTo>
                    <a:pt x="575713" y="554655"/>
                  </a:lnTo>
                  <a:lnTo>
                    <a:pt x="575712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4254" y="554655"/>
                  </a:lnTo>
                  <a:lnTo>
                    <a:pt x="544251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524018" y="554655"/>
                  </a:lnTo>
                  <a:lnTo>
                    <a:pt x="524016" y="554655"/>
                  </a:lnTo>
                  <a:lnTo>
                    <a:pt x="524005" y="554655"/>
                  </a:lnTo>
                  <a:lnTo>
                    <a:pt x="524004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115030" y="4675529"/>
              <a:ext cx="1203800" cy="323663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72" name="Полилиния 71"/>
            <p:cNvSpPr/>
            <p:nvPr/>
          </p:nvSpPr>
          <p:spPr>
            <a:xfrm>
              <a:off x="9876108" y="4567127"/>
              <a:ext cx="1627592" cy="537061"/>
            </a:xfrm>
            <a:custGeom>
              <a:avLst/>
              <a:gdLst>
                <a:gd name="connsiteX0" fmla="*/ 277328 w 1680912"/>
                <a:gd name="connsiteY0" fmla="*/ 0 h 554655"/>
                <a:gd name="connsiteX1" fmla="*/ 329024 w 1680912"/>
                <a:gd name="connsiteY1" fmla="*/ 0 h 554655"/>
                <a:gd name="connsiteX2" fmla="*/ 349271 w 1680912"/>
                <a:gd name="connsiteY2" fmla="*/ 0 h 554655"/>
                <a:gd name="connsiteX3" fmla="*/ 400968 w 1680912"/>
                <a:gd name="connsiteY3" fmla="*/ 0 h 554655"/>
                <a:gd name="connsiteX4" fmla="*/ 417632 w 1680912"/>
                <a:gd name="connsiteY4" fmla="*/ 0 h 554655"/>
                <a:gd name="connsiteX5" fmla="*/ 422361 w 1680912"/>
                <a:gd name="connsiteY5" fmla="*/ 0 h 554655"/>
                <a:gd name="connsiteX6" fmla="*/ 469328 w 1680912"/>
                <a:gd name="connsiteY6" fmla="*/ 0 h 554655"/>
                <a:gd name="connsiteX7" fmla="*/ 474057 w 1680912"/>
                <a:gd name="connsiteY7" fmla="*/ 0 h 554655"/>
                <a:gd name="connsiteX8" fmla="*/ 474069 w 1680912"/>
                <a:gd name="connsiteY8" fmla="*/ 0 h 554655"/>
                <a:gd name="connsiteX9" fmla="*/ 489575 w 1680912"/>
                <a:gd name="connsiteY9" fmla="*/ 0 h 554655"/>
                <a:gd name="connsiteX10" fmla="*/ 492196 w 1680912"/>
                <a:gd name="connsiteY10" fmla="*/ 0 h 554655"/>
                <a:gd name="connsiteX11" fmla="*/ 494304 w 1680912"/>
                <a:gd name="connsiteY11" fmla="*/ 0 h 554655"/>
                <a:gd name="connsiteX12" fmla="*/ 525765 w 1680912"/>
                <a:gd name="connsiteY12" fmla="*/ 0 h 554655"/>
                <a:gd name="connsiteX13" fmla="*/ 541272 w 1680912"/>
                <a:gd name="connsiteY13" fmla="*/ 0 h 554655"/>
                <a:gd name="connsiteX14" fmla="*/ 543892 w 1680912"/>
                <a:gd name="connsiteY14" fmla="*/ 0 h 554655"/>
                <a:gd name="connsiteX15" fmla="*/ 546001 w 1680912"/>
                <a:gd name="connsiteY15" fmla="*/ 0 h 554655"/>
                <a:gd name="connsiteX16" fmla="*/ 546012 w 1680912"/>
                <a:gd name="connsiteY16" fmla="*/ 0 h 554655"/>
                <a:gd name="connsiteX17" fmla="*/ 562665 w 1680912"/>
                <a:gd name="connsiteY17" fmla="*/ 0 h 554655"/>
                <a:gd name="connsiteX18" fmla="*/ 564139 w 1680912"/>
                <a:gd name="connsiteY18" fmla="*/ 0 h 554655"/>
                <a:gd name="connsiteX19" fmla="*/ 582999 w 1680912"/>
                <a:gd name="connsiteY19" fmla="*/ 0 h 554655"/>
                <a:gd name="connsiteX20" fmla="*/ 597709 w 1680912"/>
                <a:gd name="connsiteY20" fmla="*/ 0 h 554655"/>
                <a:gd name="connsiteX21" fmla="*/ 614361 w 1680912"/>
                <a:gd name="connsiteY21" fmla="*/ 0 h 554655"/>
                <a:gd name="connsiteX22" fmla="*/ 614373 w 1680912"/>
                <a:gd name="connsiteY22" fmla="*/ 0 h 554655"/>
                <a:gd name="connsiteX23" fmla="*/ 615836 w 1680912"/>
                <a:gd name="connsiteY23" fmla="*/ 0 h 554655"/>
                <a:gd name="connsiteX24" fmla="*/ 619102 w 1680912"/>
                <a:gd name="connsiteY24" fmla="*/ 0 h 554655"/>
                <a:gd name="connsiteX25" fmla="*/ 632500 w 1680912"/>
                <a:gd name="connsiteY25" fmla="*/ 0 h 554655"/>
                <a:gd name="connsiteX26" fmla="*/ 634608 w 1680912"/>
                <a:gd name="connsiteY26" fmla="*/ 0 h 554655"/>
                <a:gd name="connsiteX27" fmla="*/ 634695 w 1680912"/>
                <a:gd name="connsiteY27" fmla="*/ 0 h 554655"/>
                <a:gd name="connsiteX28" fmla="*/ 637229 w 1680912"/>
                <a:gd name="connsiteY28" fmla="*/ 0 h 554655"/>
                <a:gd name="connsiteX29" fmla="*/ 654942 w 1680912"/>
                <a:gd name="connsiteY29" fmla="*/ 0 h 554655"/>
                <a:gd name="connsiteX30" fmla="*/ 666069 w 1680912"/>
                <a:gd name="connsiteY30" fmla="*/ 0 h 554655"/>
                <a:gd name="connsiteX31" fmla="*/ 670798 w 1680912"/>
                <a:gd name="connsiteY31" fmla="*/ 0 h 554655"/>
                <a:gd name="connsiteX32" fmla="*/ 684196 w 1680912"/>
                <a:gd name="connsiteY32" fmla="*/ 0 h 554655"/>
                <a:gd name="connsiteX33" fmla="*/ 686305 w 1680912"/>
                <a:gd name="connsiteY33" fmla="*/ 0 h 554655"/>
                <a:gd name="connsiteX34" fmla="*/ 686316 w 1680912"/>
                <a:gd name="connsiteY34" fmla="*/ 0 h 554655"/>
                <a:gd name="connsiteX35" fmla="*/ 688925 w 1680912"/>
                <a:gd name="connsiteY35" fmla="*/ 0 h 554655"/>
                <a:gd name="connsiteX36" fmla="*/ 688937 w 1680912"/>
                <a:gd name="connsiteY36" fmla="*/ 0 h 554655"/>
                <a:gd name="connsiteX37" fmla="*/ 691045 w 1680912"/>
                <a:gd name="connsiteY37" fmla="*/ 0 h 554655"/>
                <a:gd name="connsiteX38" fmla="*/ 704443 w 1680912"/>
                <a:gd name="connsiteY38" fmla="*/ 0 h 554655"/>
                <a:gd name="connsiteX39" fmla="*/ 706639 w 1680912"/>
                <a:gd name="connsiteY39" fmla="*/ 0 h 554655"/>
                <a:gd name="connsiteX40" fmla="*/ 709172 w 1680912"/>
                <a:gd name="connsiteY40" fmla="*/ 0 h 554655"/>
                <a:gd name="connsiteX41" fmla="*/ 723303 w 1680912"/>
                <a:gd name="connsiteY41" fmla="*/ 0 h 554655"/>
                <a:gd name="connsiteX42" fmla="*/ 728032 w 1680912"/>
                <a:gd name="connsiteY42" fmla="*/ 0 h 554655"/>
                <a:gd name="connsiteX43" fmla="*/ 738013 w 1680912"/>
                <a:gd name="connsiteY43" fmla="*/ 0 h 554655"/>
                <a:gd name="connsiteX44" fmla="*/ 740633 w 1680912"/>
                <a:gd name="connsiteY44" fmla="*/ 0 h 554655"/>
                <a:gd name="connsiteX45" fmla="*/ 742742 w 1680912"/>
                <a:gd name="connsiteY45" fmla="*/ 0 h 554655"/>
                <a:gd name="connsiteX46" fmla="*/ 756140 w 1680912"/>
                <a:gd name="connsiteY46" fmla="*/ 0 h 554655"/>
                <a:gd name="connsiteX47" fmla="*/ 759406 w 1680912"/>
                <a:gd name="connsiteY47" fmla="*/ 0 h 554655"/>
                <a:gd name="connsiteX48" fmla="*/ 760869 w 1680912"/>
                <a:gd name="connsiteY48" fmla="*/ 0 h 554655"/>
                <a:gd name="connsiteX49" fmla="*/ 760880 w 1680912"/>
                <a:gd name="connsiteY49" fmla="*/ 0 h 554655"/>
                <a:gd name="connsiteX50" fmla="*/ 774999 w 1680912"/>
                <a:gd name="connsiteY50" fmla="*/ 0 h 554655"/>
                <a:gd name="connsiteX51" fmla="*/ 777533 w 1680912"/>
                <a:gd name="connsiteY51" fmla="*/ 0 h 554655"/>
                <a:gd name="connsiteX52" fmla="*/ 779728 w 1680912"/>
                <a:gd name="connsiteY52" fmla="*/ 0 h 554655"/>
                <a:gd name="connsiteX53" fmla="*/ 779740 w 1680912"/>
                <a:gd name="connsiteY53" fmla="*/ 0 h 554655"/>
                <a:gd name="connsiteX54" fmla="*/ 795246 w 1680912"/>
                <a:gd name="connsiteY54" fmla="*/ 0 h 554655"/>
                <a:gd name="connsiteX55" fmla="*/ 797867 w 1680912"/>
                <a:gd name="connsiteY55" fmla="*/ 0 h 554655"/>
                <a:gd name="connsiteX56" fmla="*/ 799975 w 1680912"/>
                <a:gd name="connsiteY56" fmla="*/ 0 h 554655"/>
                <a:gd name="connsiteX57" fmla="*/ 811102 w 1680912"/>
                <a:gd name="connsiteY57" fmla="*/ 0 h 554655"/>
                <a:gd name="connsiteX58" fmla="*/ 812577 w 1680912"/>
                <a:gd name="connsiteY58" fmla="*/ 0 h 554655"/>
                <a:gd name="connsiteX59" fmla="*/ 829229 w 1680912"/>
                <a:gd name="connsiteY59" fmla="*/ 0 h 554655"/>
                <a:gd name="connsiteX60" fmla="*/ 829241 w 1680912"/>
                <a:gd name="connsiteY60" fmla="*/ 0 h 554655"/>
                <a:gd name="connsiteX61" fmla="*/ 831349 w 1680912"/>
                <a:gd name="connsiteY61" fmla="*/ 0 h 554655"/>
                <a:gd name="connsiteX62" fmla="*/ 831436 w 1680912"/>
                <a:gd name="connsiteY62" fmla="*/ 0 h 554655"/>
                <a:gd name="connsiteX63" fmla="*/ 833970 w 1680912"/>
                <a:gd name="connsiteY63" fmla="*/ 0 h 554655"/>
                <a:gd name="connsiteX64" fmla="*/ 846943 w 1680912"/>
                <a:gd name="connsiteY64" fmla="*/ 0 h 554655"/>
                <a:gd name="connsiteX65" fmla="*/ 849476 w 1680912"/>
                <a:gd name="connsiteY65" fmla="*/ 0 h 554655"/>
                <a:gd name="connsiteX66" fmla="*/ 849563 w 1680912"/>
                <a:gd name="connsiteY66" fmla="*/ 0 h 554655"/>
                <a:gd name="connsiteX67" fmla="*/ 851672 w 1680912"/>
                <a:gd name="connsiteY67" fmla="*/ 0 h 554655"/>
                <a:gd name="connsiteX68" fmla="*/ 851683 w 1680912"/>
                <a:gd name="connsiteY68" fmla="*/ 0 h 554655"/>
                <a:gd name="connsiteX69" fmla="*/ 868336 w 1680912"/>
                <a:gd name="connsiteY69" fmla="*/ 0 h 554655"/>
                <a:gd name="connsiteX70" fmla="*/ 869810 w 1680912"/>
                <a:gd name="connsiteY70" fmla="*/ 0 h 554655"/>
                <a:gd name="connsiteX71" fmla="*/ 880937 w 1680912"/>
                <a:gd name="connsiteY71" fmla="*/ 0 h 554655"/>
                <a:gd name="connsiteX72" fmla="*/ 883046 w 1680912"/>
                <a:gd name="connsiteY72" fmla="*/ 0 h 554655"/>
                <a:gd name="connsiteX73" fmla="*/ 885666 w 1680912"/>
                <a:gd name="connsiteY73" fmla="*/ 0 h 554655"/>
                <a:gd name="connsiteX74" fmla="*/ 901173 w 1680912"/>
                <a:gd name="connsiteY74" fmla="*/ 0 h 554655"/>
                <a:gd name="connsiteX75" fmla="*/ 901184 w 1680912"/>
                <a:gd name="connsiteY75" fmla="*/ 0 h 554655"/>
                <a:gd name="connsiteX76" fmla="*/ 903380 w 1680912"/>
                <a:gd name="connsiteY76" fmla="*/ 0 h 554655"/>
                <a:gd name="connsiteX77" fmla="*/ 905913 w 1680912"/>
                <a:gd name="connsiteY77" fmla="*/ 0 h 554655"/>
                <a:gd name="connsiteX78" fmla="*/ 920032 w 1680912"/>
                <a:gd name="connsiteY78" fmla="*/ 0 h 554655"/>
                <a:gd name="connsiteX79" fmla="*/ 920044 w 1680912"/>
                <a:gd name="connsiteY79" fmla="*/ 0 h 554655"/>
                <a:gd name="connsiteX80" fmla="*/ 921507 w 1680912"/>
                <a:gd name="connsiteY80" fmla="*/ 0 h 554655"/>
                <a:gd name="connsiteX81" fmla="*/ 924773 w 1680912"/>
                <a:gd name="connsiteY81" fmla="*/ 0 h 554655"/>
                <a:gd name="connsiteX82" fmla="*/ 938171 w 1680912"/>
                <a:gd name="connsiteY82" fmla="*/ 0 h 554655"/>
                <a:gd name="connsiteX83" fmla="*/ 940279 w 1680912"/>
                <a:gd name="connsiteY83" fmla="*/ 0 h 554655"/>
                <a:gd name="connsiteX84" fmla="*/ 942900 w 1680912"/>
                <a:gd name="connsiteY84" fmla="*/ 0 h 554655"/>
                <a:gd name="connsiteX85" fmla="*/ 952881 w 1680912"/>
                <a:gd name="connsiteY85" fmla="*/ 0 h 554655"/>
                <a:gd name="connsiteX86" fmla="*/ 957610 w 1680912"/>
                <a:gd name="connsiteY86" fmla="*/ 0 h 554655"/>
                <a:gd name="connsiteX87" fmla="*/ 971740 w 1680912"/>
                <a:gd name="connsiteY87" fmla="*/ 0 h 554655"/>
                <a:gd name="connsiteX88" fmla="*/ 974274 w 1680912"/>
                <a:gd name="connsiteY88" fmla="*/ 0 h 554655"/>
                <a:gd name="connsiteX89" fmla="*/ 976469 w 1680912"/>
                <a:gd name="connsiteY89" fmla="*/ 0 h 554655"/>
                <a:gd name="connsiteX90" fmla="*/ 989867 w 1680912"/>
                <a:gd name="connsiteY90" fmla="*/ 0 h 554655"/>
                <a:gd name="connsiteX91" fmla="*/ 991976 w 1680912"/>
                <a:gd name="connsiteY91" fmla="*/ 0 h 554655"/>
                <a:gd name="connsiteX92" fmla="*/ 991987 w 1680912"/>
                <a:gd name="connsiteY92" fmla="*/ 0 h 554655"/>
                <a:gd name="connsiteX93" fmla="*/ 994596 w 1680912"/>
                <a:gd name="connsiteY93" fmla="*/ 0 h 554655"/>
                <a:gd name="connsiteX94" fmla="*/ 994608 w 1680912"/>
                <a:gd name="connsiteY94" fmla="*/ 0 h 554655"/>
                <a:gd name="connsiteX95" fmla="*/ 996716 w 1680912"/>
                <a:gd name="connsiteY95" fmla="*/ 0 h 554655"/>
                <a:gd name="connsiteX96" fmla="*/ 1010114 w 1680912"/>
                <a:gd name="connsiteY96" fmla="*/ 0 h 554655"/>
                <a:gd name="connsiteX97" fmla="*/ 1014843 w 1680912"/>
                <a:gd name="connsiteY97" fmla="*/ 0 h 554655"/>
                <a:gd name="connsiteX98" fmla="*/ 1025970 w 1680912"/>
                <a:gd name="connsiteY98" fmla="*/ 0 h 554655"/>
                <a:gd name="connsiteX99" fmla="*/ 1043684 w 1680912"/>
                <a:gd name="connsiteY99" fmla="*/ 0 h 554655"/>
                <a:gd name="connsiteX100" fmla="*/ 1046217 w 1680912"/>
                <a:gd name="connsiteY100" fmla="*/ 0 h 554655"/>
                <a:gd name="connsiteX101" fmla="*/ 1046304 w 1680912"/>
                <a:gd name="connsiteY101" fmla="*/ 0 h 554655"/>
                <a:gd name="connsiteX102" fmla="*/ 1048413 w 1680912"/>
                <a:gd name="connsiteY102" fmla="*/ 0 h 554655"/>
                <a:gd name="connsiteX103" fmla="*/ 1061811 w 1680912"/>
                <a:gd name="connsiteY103" fmla="*/ 0 h 554655"/>
                <a:gd name="connsiteX104" fmla="*/ 1065077 w 1680912"/>
                <a:gd name="connsiteY104" fmla="*/ 0 h 554655"/>
                <a:gd name="connsiteX105" fmla="*/ 1066540 w 1680912"/>
                <a:gd name="connsiteY105" fmla="*/ 0 h 554655"/>
                <a:gd name="connsiteX106" fmla="*/ 1066551 w 1680912"/>
                <a:gd name="connsiteY106" fmla="*/ 0 h 554655"/>
                <a:gd name="connsiteX107" fmla="*/ 1083204 w 1680912"/>
                <a:gd name="connsiteY107" fmla="*/ 0 h 554655"/>
                <a:gd name="connsiteX108" fmla="*/ 1097914 w 1680912"/>
                <a:gd name="connsiteY108" fmla="*/ 0 h 554655"/>
                <a:gd name="connsiteX109" fmla="*/ 1116773 w 1680912"/>
                <a:gd name="connsiteY109" fmla="*/ 0 h 554655"/>
                <a:gd name="connsiteX110" fmla="*/ 1118248 w 1680912"/>
                <a:gd name="connsiteY110" fmla="*/ 0 h 554655"/>
                <a:gd name="connsiteX111" fmla="*/ 1134900 w 1680912"/>
                <a:gd name="connsiteY111" fmla="*/ 0 h 554655"/>
                <a:gd name="connsiteX112" fmla="*/ 1134912 w 1680912"/>
                <a:gd name="connsiteY112" fmla="*/ 0 h 554655"/>
                <a:gd name="connsiteX113" fmla="*/ 1137020 w 1680912"/>
                <a:gd name="connsiteY113" fmla="*/ 0 h 554655"/>
                <a:gd name="connsiteX114" fmla="*/ 1139641 w 1680912"/>
                <a:gd name="connsiteY114" fmla="*/ 0 h 554655"/>
                <a:gd name="connsiteX115" fmla="*/ 1155147 w 1680912"/>
                <a:gd name="connsiteY115" fmla="*/ 0 h 554655"/>
                <a:gd name="connsiteX116" fmla="*/ 1186608 w 1680912"/>
                <a:gd name="connsiteY116" fmla="*/ 0 h 554655"/>
                <a:gd name="connsiteX117" fmla="*/ 1188717 w 1680912"/>
                <a:gd name="connsiteY117" fmla="*/ 0 h 554655"/>
                <a:gd name="connsiteX118" fmla="*/ 1191337 w 1680912"/>
                <a:gd name="connsiteY118" fmla="*/ 0 h 554655"/>
                <a:gd name="connsiteX119" fmla="*/ 1206844 w 1680912"/>
                <a:gd name="connsiteY119" fmla="*/ 0 h 554655"/>
                <a:gd name="connsiteX120" fmla="*/ 1206855 w 1680912"/>
                <a:gd name="connsiteY120" fmla="*/ 0 h 554655"/>
                <a:gd name="connsiteX121" fmla="*/ 1211584 w 1680912"/>
                <a:gd name="connsiteY121" fmla="*/ 0 h 554655"/>
                <a:gd name="connsiteX122" fmla="*/ 1258552 w 1680912"/>
                <a:gd name="connsiteY122" fmla="*/ 0 h 554655"/>
                <a:gd name="connsiteX123" fmla="*/ 1263281 w 1680912"/>
                <a:gd name="connsiteY123" fmla="*/ 0 h 554655"/>
                <a:gd name="connsiteX124" fmla="*/ 1279945 w 1680912"/>
                <a:gd name="connsiteY124" fmla="*/ 0 h 554655"/>
                <a:gd name="connsiteX125" fmla="*/ 1331641 w 1680912"/>
                <a:gd name="connsiteY125" fmla="*/ 0 h 554655"/>
                <a:gd name="connsiteX126" fmla="*/ 1351888 w 1680912"/>
                <a:gd name="connsiteY126" fmla="*/ 0 h 554655"/>
                <a:gd name="connsiteX127" fmla="*/ 1403585 w 1680912"/>
                <a:gd name="connsiteY127" fmla="*/ 0 h 554655"/>
                <a:gd name="connsiteX128" fmla="*/ 1680912 w 1680912"/>
                <a:gd name="connsiteY128" fmla="*/ 277328 h 554655"/>
                <a:gd name="connsiteX129" fmla="*/ 1680911 w 1680912"/>
                <a:gd name="connsiteY129" fmla="*/ 277328 h 554655"/>
                <a:gd name="connsiteX130" fmla="*/ 1403584 w 1680912"/>
                <a:gd name="connsiteY130" fmla="*/ 554655 h 554655"/>
                <a:gd name="connsiteX131" fmla="*/ 1351890 w 1680912"/>
                <a:gd name="connsiteY131" fmla="*/ 554655 h 554655"/>
                <a:gd name="connsiteX132" fmla="*/ 1351887 w 1680912"/>
                <a:gd name="connsiteY132" fmla="*/ 554655 h 554655"/>
                <a:gd name="connsiteX133" fmla="*/ 1331641 w 1680912"/>
                <a:gd name="connsiteY133" fmla="*/ 554655 h 554655"/>
                <a:gd name="connsiteX134" fmla="*/ 1331640 w 1680912"/>
                <a:gd name="connsiteY134" fmla="*/ 554655 h 554655"/>
                <a:gd name="connsiteX135" fmla="*/ 1279947 w 1680912"/>
                <a:gd name="connsiteY135" fmla="*/ 554655 h 554655"/>
                <a:gd name="connsiteX136" fmla="*/ 1279944 w 1680912"/>
                <a:gd name="connsiteY136" fmla="*/ 554655 h 554655"/>
                <a:gd name="connsiteX137" fmla="*/ 1263280 w 1680912"/>
                <a:gd name="connsiteY137" fmla="*/ 554655 h 554655"/>
                <a:gd name="connsiteX138" fmla="*/ 1258552 w 1680912"/>
                <a:gd name="connsiteY138" fmla="*/ 554655 h 554655"/>
                <a:gd name="connsiteX139" fmla="*/ 1258551 w 1680912"/>
                <a:gd name="connsiteY139" fmla="*/ 554655 h 554655"/>
                <a:gd name="connsiteX140" fmla="*/ 1211586 w 1680912"/>
                <a:gd name="connsiteY140" fmla="*/ 554655 h 554655"/>
                <a:gd name="connsiteX141" fmla="*/ 1211583 w 1680912"/>
                <a:gd name="connsiteY141" fmla="*/ 554655 h 554655"/>
                <a:gd name="connsiteX142" fmla="*/ 1206857 w 1680912"/>
                <a:gd name="connsiteY142" fmla="*/ 554655 h 554655"/>
                <a:gd name="connsiteX143" fmla="*/ 1206854 w 1680912"/>
                <a:gd name="connsiteY143" fmla="*/ 554655 h 554655"/>
                <a:gd name="connsiteX144" fmla="*/ 1206843 w 1680912"/>
                <a:gd name="connsiteY144" fmla="*/ 554655 h 554655"/>
                <a:gd name="connsiteX145" fmla="*/ 1191337 w 1680912"/>
                <a:gd name="connsiteY145" fmla="*/ 554655 h 554655"/>
                <a:gd name="connsiteX146" fmla="*/ 1191336 w 1680912"/>
                <a:gd name="connsiteY146" fmla="*/ 554655 h 554655"/>
                <a:gd name="connsiteX147" fmla="*/ 1186608 w 1680912"/>
                <a:gd name="connsiteY147" fmla="*/ 554655 h 554655"/>
                <a:gd name="connsiteX148" fmla="*/ 1186607 w 1680912"/>
                <a:gd name="connsiteY148" fmla="*/ 554655 h 554655"/>
                <a:gd name="connsiteX149" fmla="*/ 1155149 w 1680912"/>
                <a:gd name="connsiteY149" fmla="*/ 554655 h 554655"/>
                <a:gd name="connsiteX150" fmla="*/ 1155146 w 1680912"/>
                <a:gd name="connsiteY150" fmla="*/ 554655 h 554655"/>
                <a:gd name="connsiteX151" fmla="*/ 1139643 w 1680912"/>
                <a:gd name="connsiteY151" fmla="*/ 554655 h 554655"/>
                <a:gd name="connsiteX152" fmla="*/ 1139640 w 1680912"/>
                <a:gd name="connsiteY152" fmla="*/ 554655 h 554655"/>
                <a:gd name="connsiteX153" fmla="*/ 1134913 w 1680912"/>
                <a:gd name="connsiteY153" fmla="*/ 554655 h 554655"/>
                <a:gd name="connsiteX154" fmla="*/ 1134911 w 1680912"/>
                <a:gd name="connsiteY154" fmla="*/ 554655 h 554655"/>
                <a:gd name="connsiteX155" fmla="*/ 1134900 w 1680912"/>
                <a:gd name="connsiteY155" fmla="*/ 554655 h 554655"/>
                <a:gd name="connsiteX156" fmla="*/ 1134899 w 1680912"/>
                <a:gd name="connsiteY156" fmla="*/ 554655 h 554655"/>
                <a:gd name="connsiteX157" fmla="*/ 1118248 w 1680912"/>
                <a:gd name="connsiteY157" fmla="*/ 554655 h 554655"/>
                <a:gd name="connsiteX158" fmla="*/ 1118247 w 1680912"/>
                <a:gd name="connsiteY158" fmla="*/ 554655 h 554655"/>
                <a:gd name="connsiteX159" fmla="*/ 1097913 w 1680912"/>
                <a:gd name="connsiteY159" fmla="*/ 554655 h 554655"/>
                <a:gd name="connsiteX160" fmla="*/ 1083206 w 1680912"/>
                <a:gd name="connsiteY160" fmla="*/ 554655 h 554655"/>
                <a:gd name="connsiteX161" fmla="*/ 1083203 w 1680912"/>
                <a:gd name="connsiteY161" fmla="*/ 554655 h 554655"/>
                <a:gd name="connsiteX162" fmla="*/ 1066553 w 1680912"/>
                <a:gd name="connsiteY162" fmla="*/ 554655 h 554655"/>
                <a:gd name="connsiteX163" fmla="*/ 1066550 w 1680912"/>
                <a:gd name="connsiteY163" fmla="*/ 554655 h 554655"/>
                <a:gd name="connsiteX164" fmla="*/ 1066539 w 1680912"/>
                <a:gd name="connsiteY164" fmla="*/ 554655 h 554655"/>
                <a:gd name="connsiteX165" fmla="*/ 1061811 w 1680912"/>
                <a:gd name="connsiteY165" fmla="*/ 554655 h 554655"/>
                <a:gd name="connsiteX166" fmla="*/ 1061810 w 1680912"/>
                <a:gd name="connsiteY166" fmla="*/ 554655 h 554655"/>
                <a:gd name="connsiteX167" fmla="*/ 1046304 w 1680912"/>
                <a:gd name="connsiteY167" fmla="*/ 554655 h 554655"/>
                <a:gd name="connsiteX168" fmla="*/ 1046303 w 1680912"/>
                <a:gd name="connsiteY168" fmla="*/ 554655 h 554655"/>
                <a:gd name="connsiteX169" fmla="*/ 1046219 w 1680912"/>
                <a:gd name="connsiteY169" fmla="*/ 554655 h 554655"/>
                <a:gd name="connsiteX170" fmla="*/ 1046216 w 1680912"/>
                <a:gd name="connsiteY170" fmla="*/ 554655 h 554655"/>
                <a:gd name="connsiteX171" fmla="*/ 1025970 w 1680912"/>
                <a:gd name="connsiteY171" fmla="*/ 554655 h 554655"/>
                <a:gd name="connsiteX172" fmla="*/ 1025969 w 1680912"/>
                <a:gd name="connsiteY172" fmla="*/ 554655 h 554655"/>
                <a:gd name="connsiteX173" fmla="*/ 1014845 w 1680912"/>
                <a:gd name="connsiteY173" fmla="*/ 554655 h 554655"/>
                <a:gd name="connsiteX174" fmla="*/ 1014842 w 1680912"/>
                <a:gd name="connsiteY174" fmla="*/ 554655 h 554655"/>
                <a:gd name="connsiteX175" fmla="*/ 1010116 w 1680912"/>
                <a:gd name="connsiteY175" fmla="*/ 554655 h 554655"/>
                <a:gd name="connsiteX176" fmla="*/ 1010113 w 1680912"/>
                <a:gd name="connsiteY176" fmla="*/ 554655 h 554655"/>
                <a:gd name="connsiteX177" fmla="*/ 994609 w 1680912"/>
                <a:gd name="connsiteY177" fmla="*/ 554655 h 554655"/>
                <a:gd name="connsiteX178" fmla="*/ 994607 w 1680912"/>
                <a:gd name="connsiteY178" fmla="*/ 554655 h 554655"/>
                <a:gd name="connsiteX179" fmla="*/ 994596 w 1680912"/>
                <a:gd name="connsiteY179" fmla="*/ 554655 h 554655"/>
                <a:gd name="connsiteX180" fmla="*/ 994595 w 1680912"/>
                <a:gd name="connsiteY180" fmla="*/ 554655 h 554655"/>
                <a:gd name="connsiteX181" fmla="*/ 989867 w 1680912"/>
                <a:gd name="connsiteY181" fmla="*/ 554655 h 554655"/>
                <a:gd name="connsiteX182" fmla="*/ 989866 w 1680912"/>
                <a:gd name="connsiteY182" fmla="*/ 554655 h 554655"/>
                <a:gd name="connsiteX183" fmla="*/ 974276 w 1680912"/>
                <a:gd name="connsiteY183" fmla="*/ 554655 h 554655"/>
                <a:gd name="connsiteX184" fmla="*/ 974273 w 1680912"/>
                <a:gd name="connsiteY184" fmla="*/ 554655 h 554655"/>
                <a:gd name="connsiteX185" fmla="*/ 957609 w 1680912"/>
                <a:gd name="connsiteY185" fmla="*/ 554655 h 554655"/>
                <a:gd name="connsiteX186" fmla="*/ 952881 w 1680912"/>
                <a:gd name="connsiteY186" fmla="*/ 554655 h 554655"/>
                <a:gd name="connsiteX187" fmla="*/ 952880 w 1680912"/>
                <a:gd name="connsiteY187" fmla="*/ 554655 h 554655"/>
                <a:gd name="connsiteX188" fmla="*/ 942902 w 1680912"/>
                <a:gd name="connsiteY188" fmla="*/ 554655 h 554655"/>
                <a:gd name="connsiteX189" fmla="*/ 942899 w 1680912"/>
                <a:gd name="connsiteY189" fmla="*/ 554655 h 554655"/>
                <a:gd name="connsiteX190" fmla="*/ 938172 w 1680912"/>
                <a:gd name="connsiteY190" fmla="*/ 554655 h 554655"/>
                <a:gd name="connsiteX191" fmla="*/ 938170 w 1680912"/>
                <a:gd name="connsiteY191" fmla="*/ 554655 h 554655"/>
                <a:gd name="connsiteX192" fmla="*/ 921507 w 1680912"/>
                <a:gd name="connsiteY192" fmla="*/ 554655 h 554655"/>
                <a:gd name="connsiteX193" fmla="*/ 921506 w 1680912"/>
                <a:gd name="connsiteY193" fmla="*/ 554655 h 554655"/>
                <a:gd name="connsiteX194" fmla="*/ 905915 w 1680912"/>
                <a:gd name="connsiteY194" fmla="*/ 554655 h 554655"/>
                <a:gd name="connsiteX195" fmla="*/ 905912 w 1680912"/>
                <a:gd name="connsiteY195" fmla="*/ 554655 h 554655"/>
                <a:gd name="connsiteX196" fmla="*/ 901186 w 1680912"/>
                <a:gd name="connsiteY196" fmla="*/ 554655 h 554655"/>
                <a:gd name="connsiteX197" fmla="*/ 901183 w 1680912"/>
                <a:gd name="connsiteY197" fmla="*/ 554655 h 554655"/>
                <a:gd name="connsiteX198" fmla="*/ 901172 w 1680912"/>
                <a:gd name="connsiteY198" fmla="*/ 554655 h 554655"/>
                <a:gd name="connsiteX199" fmla="*/ 885666 w 1680912"/>
                <a:gd name="connsiteY199" fmla="*/ 554655 h 554655"/>
                <a:gd name="connsiteX200" fmla="*/ 885665 w 1680912"/>
                <a:gd name="connsiteY200" fmla="*/ 554655 h 554655"/>
                <a:gd name="connsiteX201" fmla="*/ 880937 w 1680912"/>
                <a:gd name="connsiteY201" fmla="*/ 554655 h 554655"/>
                <a:gd name="connsiteX202" fmla="*/ 880936 w 1680912"/>
                <a:gd name="connsiteY202" fmla="*/ 554655 h 554655"/>
                <a:gd name="connsiteX203" fmla="*/ 869812 w 1680912"/>
                <a:gd name="connsiteY203" fmla="*/ 554655 h 554655"/>
                <a:gd name="connsiteX204" fmla="*/ 869809 w 1680912"/>
                <a:gd name="connsiteY204" fmla="*/ 554655 h 554655"/>
                <a:gd name="connsiteX205" fmla="*/ 849563 w 1680912"/>
                <a:gd name="connsiteY205" fmla="*/ 554655 h 554655"/>
                <a:gd name="connsiteX206" fmla="*/ 849562 w 1680912"/>
                <a:gd name="connsiteY206" fmla="*/ 554655 h 554655"/>
                <a:gd name="connsiteX207" fmla="*/ 849478 w 1680912"/>
                <a:gd name="connsiteY207" fmla="*/ 554655 h 554655"/>
                <a:gd name="connsiteX208" fmla="*/ 849475 w 1680912"/>
                <a:gd name="connsiteY208" fmla="*/ 554655 h 554655"/>
                <a:gd name="connsiteX209" fmla="*/ 833972 w 1680912"/>
                <a:gd name="connsiteY209" fmla="*/ 554655 h 554655"/>
                <a:gd name="connsiteX210" fmla="*/ 833969 w 1680912"/>
                <a:gd name="connsiteY210" fmla="*/ 554655 h 554655"/>
                <a:gd name="connsiteX211" fmla="*/ 829242 w 1680912"/>
                <a:gd name="connsiteY211" fmla="*/ 554655 h 554655"/>
                <a:gd name="connsiteX212" fmla="*/ 829240 w 1680912"/>
                <a:gd name="connsiteY212" fmla="*/ 554655 h 554655"/>
                <a:gd name="connsiteX213" fmla="*/ 829229 w 1680912"/>
                <a:gd name="connsiteY213" fmla="*/ 554655 h 554655"/>
                <a:gd name="connsiteX214" fmla="*/ 829228 w 1680912"/>
                <a:gd name="connsiteY214" fmla="*/ 554655 h 554655"/>
                <a:gd name="connsiteX215" fmla="*/ 812577 w 1680912"/>
                <a:gd name="connsiteY215" fmla="*/ 554655 h 554655"/>
                <a:gd name="connsiteX216" fmla="*/ 812576 w 1680912"/>
                <a:gd name="connsiteY216" fmla="*/ 554655 h 554655"/>
                <a:gd name="connsiteX217" fmla="*/ 797868 w 1680912"/>
                <a:gd name="connsiteY217" fmla="*/ 554655 h 554655"/>
                <a:gd name="connsiteX218" fmla="*/ 797866 w 1680912"/>
                <a:gd name="connsiteY218" fmla="*/ 554655 h 554655"/>
                <a:gd name="connsiteX219" fmla="*/ 777535 w 1680912"/>
                <a:gd name="connsiteY219" fmla="*/ 554655 h 554655"/>
                <a:gd name="connsiteX220" fmla="*/ 777532 w 1680912"/>
                <a:gd name="connsiteY220" fmla="*/ 554655 h 554655"/>
                <a:gd name="connsiteX221" fmla="*/ 760882 w 1680912"/>
                <a:gd name="connsiteY221" fmla="*/ 554655 h 554655"/>
                <a:gd name="connsiteX222" fmla="*/ 760879 w 1680912"/>
                <a:gd name="connsiteY222" fmla="*/ 554655 h 554655"/>
                <a:gd name="connsiteX223" fmla="*/ 760868 w 1680912"/>
                <a:gd name="connsiteY223" fmla="*/ 554655 h 554655"/>
                <a:gd name="connsiteX224" fmla="*/ 756140 w 1680912"/>
                <a:gd name="connsiteY224" fmla="*/ 554655 h 554655"/>
                <a:gd name="connsiteX225" fmla="*/ 756139 w 1680912"/>
                <a:gd name="connsiteY225" fmla="*/ 554655 h 554655"/>
                <a:gd name="connsiteX226" fmla="*/ 740633 w 1680912"/>
                <a:gd name="connsiteY226" fmla="*/ 554655 h 554655"/>
                <a:gd name="connsiteX227" fmla="*/ 740632 w 1680912"/>
                <a:gd name="connsiteY227" fmla="*/ 554655 h 554655"/>
                <a:gd name="connsiteX228" fmla="*/ 709174 w 1680912"/>
                <a:gd name="connsiteY228" fmla="*/ 554655 h 554655"/>
                <a:gd name="connsiteX229" fmla="*/ 709171 w 1680912"/>
                <a:gd name="connsiteY229" fmla="*/ 554655 h 554655"/>
                <a:gd name="connsiteX230" fmla="*/ 704445 w 1680912"/>
                <a:gd name="connsiteY230" fmla="*/ 554655 h 554655"/>
                <a:gd name="connsiteX231" fmla="*/ 704442 w 1680912"/>
                <a:gd name="connsiteY231" fmla="*/ 554655 h 554655"/>
                <a:gd name="connsiteX232" fmla="*/ 688938 w 1680912"/>
                <a:gd name="connsiteY232" fmla="*/ 554655 h 554655"/>
                <a:gd name="connsiteX233" fmla="*/ 688936 w 1680912"/>
                <a:gd name="connsiteY233" fmla="*/ 554655 h 554655"/>
                <a:gd name="connsiteX234" fmla="*/ 688925 w 1680912"/>
                <a:gd name="connsiteY234" fmla="*/ 554655 h 554655"/>
                <a:gd name="connsiteX235" fmla="*/ 688924 w 1680912"/>
                <a:gd name="connsiteY235" fmla="*/ 554655 h 554655"/>
                <a:gd name="connsiteX236" fmla="*/ 684196 w 1680912"/>
                <a:gd name="connsiteY236" fmla="*/ 554655 h 554655"/>
                <a:gd name="connsiteX237" fmla="*/ 684195 w 1680912"/>
                <a:gd name="connsiteY237" fmla="*/ 554655 h 554655"/>
                <a:gd name="connsiteX238" fmla="*/ 637231 w 1680912"/>
                <a:gd name="connsiteY238" fmla="*/ 554655 h 554655"/>
                <a:gd name="connsiteX239" fmla="*/ 637228 w 1680912"/>
                <a:gd name="connsiteY239" fmla="*/ 554655 h 554655"/>
                <a:gd name="connsiteX240" fmla="*/ 632501 w 1680912"/>
                <a:gd name="connsiteY240" fmla="*/ 554655 h 554655"/>
                <a:gd name="connsiteX241" fmla="*/ 632499 w 1680912"/>
                <a:gd name="connsiteY241" fmla="*/ 554655 h 554655"/>
                <a:gd name="connsiteX242" fmla="*/ 615836 w 1680912"/>
                <a:gd name="connsiteY242" fmla="*/ 554655 h 554655"/>
                <a:gd name="connsiteX243" fmla="*/ 615835 w 1680912"/>
                <a:gd name="connsiteY243" fmla="*/ 554655 h 554655"/>
                <a:gd name="connsiteX244" fmla="*/ 564141 w 1680912"/>
                <a:gd name="connsiteY244" fmla="*/ 554655 h 554655"/>
                <a:gd name="connsiteX245" fmla="*/ 564138 w 1680912"/>
                <a:gd name="connsiteY245" fmla="*/ 554655 h 554655"/>
                <a:gd name="connsiteX246" fmla="*/ 543892 w 1680912"/>
                <a:gd name="connsiteY246" fmla="*/ 554655 h 554655"/>
                <a:gd name="connsiteX247" fmla="*/ 543891 w 1680912"/>
                <a:gd name="connsiteY247" fmla="*/ 554655 h 554655"/>
                <a:gd name="connsiteX248" fmla="*/ 492197 w 1680912"/>
                <a:gd name="connsiteY248" fmla="*/ 554655 h 554655"/>
                <a:gd name="connsiteX249" fmla="*/ 492195 w 1680912"/>
                <a:gd name="connsiteY249" fmla="*/ 554655 h 554655"/>
                <a:gd name="connsiteX250" fmla="*/ 277328 w 1680912"/>
                <a:gd name="connsiteY250" fmla="*/ 554654 h 554655"/>
                <a:gd name="connsiteX251" fmla="*/ 5634 w 1680912"/>
                <a:gd name="connsiteY251" fmla="*/ 333218 h 554655"/>
                <a:gd name="connsiteX252" fmla="*/ 0 w 1680912"/>
                <a:gd name="connsiteY252" fmla="*/ 277328 h 554655"/>
                <a:gd name="connsiteX253" fmla="*/ 5634 w 1680912"/>
                <a:gd name="connsiteY253" fmla="*/ 221437 h 554655"/>
                <a:gd name="connsiteX254" fmla="*/ 277328 w 1680912"/>
                <a:gd name="connsiteY254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</a:cxnLst>
              <a:rect l="l" t="t" r="r" b="b"/>
              <a:pathLst>
                <a:path w="1680912" h="554655">
                  <a:moveTo>
                    <a:pt x="277328" y="0"/>
                  </a:moveTo>
                  <a:lnTo>
                    <a:pt x="329024" y="0"/>
                  </a:lnTo>
                  <a:lnTo>
                    <a:pt x="349271" y="0"/>
                  </a:lnTo>
                  <a:lnTo>
                    <a:pt x="400968" y="0"/>
                  </a:lnTo>
                  <a:lnTo>
                    <a:pt x="417632" y="0"/>
                  </a:lnTo>
                  <a:lnTo>
                    <a:pt x="422361" y="0"/>
                  </a:lnTo>
                  <a:lnTo>
                    <a:pt x="469328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89575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25765" y="0"/>
                  </a:lnTo>
                  <a:lnTo>
                    <a:pt x="541272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2665" y="0"/>
                  </a:lnTo>
                  <a:lnTo>
                    <a:pt x="564139" y="0"/>
                  </a:lnTo>
                  <a:lnTo>
                    <a:pt x="582999" y="0"/>
                  </a:lnTo>
                  <a:lnTo>
                    <a:pt x="597709" y="0"/>
                  </a:lnTo>
                  <a:lnTo>
                    <a:pt x="614361" y="0"/>
                  </a:lnTo>
                  <a:lnTo>
                    <a:pt x="614373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2500" y="0"/>
                  </a:lnTo>
                  <a:lnTo>
                    <a:pt x="634608" y="0"/>
                  </a:lnTo>
                  <a:lnTo>
                    <a:pt x="634695" y="0"/>
                  </a:lnTo>
                  <a:lnTo>
                    <a:pt x="637229" y="0"/>
                  </a:lnTo>
                  <a:lnTo>
                    <a:pt x="654942" y="0"/>
                  </a:lnTo>
                  <a:lnTo>
                    <a:pt x="666069" y="0"/>
                  </a:lnTo>
                  <a:lnTo>
                    <a:pt x="670798" y="0"/>
                  </a:lnTo>
                  <a:lnTo>
                    <a:pt x="684196" y="0"/>
                  </a:lnTo>
                  <a:lnTo>
                    <a:pt x="686305" y="0"/>
                  </a:lnTo>
                  <a:lnTo>
                    <a:pt x="686316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4443" y="0"/>
                  </a:lnTo>
                  <a:lnTo>
                    <a:pt x="706639" y="0"/>
                  </a:lnTo>
                  <a:lnTo>
                    <a:pt x="709172" y="0"/>
                  </a:lnTo>
                  <a:lnTo>
                    <a:pt x="723303" y="0"/>
                  </a:lnTo>
                  <a:lnTo>
                    <a:pt x="728032" y="0"/>
                  </a:lnTo>
                  <a:lnTo>
                    <a:pt x="738013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56140" y="0"/>
                  </a:lnTo>
                  <a:lnTo>
                    <a:pt x="759406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74999" y="0"/>
                  </a:lnTo>
                  <a:lnTo>
                    <a:pt x="777533" y="0"/>
                  </a:lnTo>
                  <a:lnTo>
                    <a:pt x="779728" y="0"/>
                  </a:lnTo>
                  <a:lnTo>
                    <a:pt x="779740" y="0"/>
                  </a:lnTo>
                  <a:lnTo>
                    <a:pt x="795246" y="0"/>
                  </a:lnTo>
                  <a:lnTo>
                    <a:pt x="797867" y="0"/>
                  </a:lnTo>
                  <a:lnTo>
                    <a:pt x="799975" y="0"/>
                  </a:lnTo>
                  <a:lnTo>
                    <a:pt x="811102" y="0"/>
                  </a:lnTo>
                  <a:lnTo>
                    <a:pt x="812577" y="0"/>
                  </a:lnTo>
                  <a:lnTo>
                    <a:pt x="829229" y="0"/>
                  </a:lnTo>
                  <a:lnTo>
                    <a:pt x="829241" y="0"/>
                  </a:lnTo>
                  <a:lnTo>
                    <a:pt x="831349" y="0"/>
                  </a:lnTo>
                  <a:lnTo>
                    <a:pt x="831436" y="0"/>
                  </a:lnTo>
                  <a:lnTo>
                    <a:pt x="833970" y="0"/>
                  </a:lnTo>
                  <a:lnTo>
                    <a:pt x="846943" y="0"/>
                  </a:lnTo>
                  <a:lnTo>
                    <a:pt x="849476" y="0"/>
                  </a:lnTo>
                  <a:lnTo>
                    <a:pt x="849563" y="0"/>
                  </a:lnTo>
                  <a:lnTo>
                    <a:pt x="851672" y="0"/>
                  </a:lnTo>
                  <a:lnTo>
                    <a:pt x="851683" y="0"/>
                  </a:lnTo>
                  <a:lnTo>
                    <a:pt x="868336" y="0"/>
                  </a:lnTo>
                  <a:lnTo>
                    <a:pt x="869810" y="0"/>
                  </a:lnTo>
                  <a:lnTo>
                    <a:pt x="880937" y="0"/>
                  </a:lnTo>
                  <a:lnTo>
                    <a:pt x="883046" y="0"/>
                  </a:lnTo>
                  <a:lnTo>
                    <a:pt x="885666" y="0"/>
                  </a:lnTo>
                  <a:lnTo>
                    <a:pt x="901173" y="0"/>
                  </a:lnTo>
                  <a:lnTo>
                    <a:pt x="901184" y="0"/>
                  </a:lnTo>
                  <a:lnTo>
                    <a:pt x="903380" y="0"/>
                  </a:lnTo>
                  <a:lnTo>
                    <a:pt x="905913" y="0"/>
                  </a:lnTo>
                  <a:lnTo>
                    <a:pt x="920032" y="0"/>
                  </a:lnTo>
                  <a:lnTo>
                    <a:pt x="920044" y="0"/>
                  </a:lnTo>
                  <a:lnTo>
                    <a:pt x="921507" y="0"/>
                  </a:lnTo>
                  <a:lnTo>
                    <a:pt x="924773" y="0"/>
                  </a:lnTo>
                  <a:lnTo>
                    <a:pt x="938171" y="0"/>
                  </a:lnTo>
                  <a:lnTo>
                    <a:pt x="940279" y="0"/>
                  </a:lnTo>
                  <a:lnTo>
                    <a:pt x="942900" y="0"/>
                  </a:lnTo>
                  <a:lnTo>
                    <a:pt x="952881" y="0"/>
                  </a:lnTo>
                  <a:lnTo>
                    <a:pt x="957610" y="0"/>
                  </a:lnTo>
                  <a:lnTo>
                    <a:pt x="971740" y="0"/>
                  </a:lnTo>
                  <a:lnTo>
                    <a:pt x="974274" y="0"/>
                  </a:lnTo>
                  <a:lnTo>
                    <a:pt x="976469" y="0"/>
                  </a:lnTo>
                  <a:lnTo>
                    <a:pt x="989867" y="0"/>
                  </a:lnTo>
                  <a:lnTo>
                    <a:pt x="991976" y="0"/>
                  </a:lnTo>
                  <a:lnTo>
                    <a:pt x="991987" y="0"/>
                  </a:lnTo>
                  <a:lnTo>
                    <a:pt x="994596" y="0"/>
                  </a:lnTo>
                  <a:lnTo>
                    <a:pt x="994608" y="0"/>
                  </a:lnTo>
                  <a:lnTo>
                    <a:pt x="996716" y="0"/>
                  </a:lnTo>
                  <a:lnTo>
                    <a:pt x="1010114" y="0"/>
                  </a:lnTo>
                  <a:lnTo>
                    <a:pt x="1014843" y="0"/>
                  </a:lnTo>
                  <a:lnTo>
                    <a:pt x="1025970" y="0"/>
                  </a:lnTo>
                  <a:lnTo>
                    <a:pt x="1043684" y="0"/>
                  </a:lnTo>
                  <a:lnTo>
                    <a:pt x="1046217" y="0"/>
                  </a:lnTo>
                  <a:lnTo>
                    <a:pt x="1046304" y="0"/>
                  </a:lnTo>
                  <a:lnTo>
                    <a:pt x="1048413" y="0"/>
                  </a:lnTo>
                  <a:lnTo>
                    <a:pt x="1061811" y="0"/>
                  </a:lnTo>
                  <a:lnTo>
                    <a:pt x="1065077" y="0"/>
                  </a:lnTo>
                  <a:lnTo>
                    <a:pt x="1066540" y="0"/>
                  </a:lnTo>
                  <a:lnTo>
                    <a:pt x="1066551" y="0"/>
                  </a:lnTo>
                  <a:lnTo>
                    <a:pt x="1083204" y="0"/>
                  </a:lnTo>
                  <a:lnTo>
                    <a:pt x="1097914" y="0"/>
                  </a:lnTo>
                  <a:lnTo>
                    <a:pt x="1116773" y="0"/>
                  </a:lnTo>
                  <a:lnTo>
                    <a:pt x="1118248" y="0"/>
                  </a:lnTo>
                  <a:lnTo>
                    <a:pt x="1134900" y="0"/>
                  </a:lnTo>
                  <a:lnTo>
                    <a:pt x="1134912" y="0"/>
                  </a:lnTo>
                  <a:lnTo>
                    <a:pt x="1137020" y="0"/>
                  </a:lnTo>
                  <a:lnTo>
                    <a:pt x="1139641" y="0"/>
                  </a:lnTo>
                  <a:lnTo>
                    <a:pt x="1155147" y="0"/>
                  </a:lnTo>
                  <a:lnTo>
                    <a:pt x="1186608" y="0"/>
                  </a:lnTo>
                  <a:lnTo>
                    <a:pt x="1188717" y="0"/>
                  </a:lnTo>
                  <a:lnTo>
                    <a:pt x="1191337" y="0"/>
                  </a:lnTo>
                  <a:lnTo>
                    <a:pt x="1206844" y="0"/>
                  </a:lnTo>
                  <a:lnTo>
                    <a:pt x="1206855" y="0"/>
                  </a:lnTo>
                  <a:lnTo>
                    <a:pt x="1211584" y="0"/>
                  </a:lnTo>
                  <a:lnTo>
                    <a:pt x="1258552" y="0"/>
                  </a:lnTo>
                  <a:lnTo>
                    <a:pt x="1263281" y="0"/>
                  </a:lnTo>
                  <a:lnTo>
                    <a:pt x="1279945" y="0"/>
                  </a:lnTo>
                  <a:lnTo>
                    <a:pt x="1331641" y="0"/>
                  </a:lnTo>
                  <a:lnTo>
                    <a:pt x="1351888" y="0"/>
                  </a:lnTo>
                  <a:lnTo>
                    <a:pt x="1403585" y="0"/>
                  </a:lnTo>
                  <a:cubicBezTo>
                    <a:pt x="1556749" y="0"/>
                    <a:pt x="1680912" y="124164"/>
                    <a:pt x="1680912" y="277328"/>
                  </a:cubicBezTo>
                  <a:lnTo>
                    <a:pt x="1680911" y="277328"/>
                  </a:lnTo>
                  <a:cubicBezTo>
                    <a:pt x="1680911" y="430492"/>
                    <a:pt x="1556748" y="554655"/>
                    <a:pt x="1403584" y="554655"/>
                  </a:cubicBezTo>
                  <a:lnTo>
                    <a:pt x="1351890" y="554655"/>
                  </a:lnTo>
                  <a:lnTo>
                    <a:pt x="1351887" y="554655"/>
                  </a:lnTo>
                  <a:lnTo>
                    <a:pt x="1331641" y="554655"/>
                  </a:lnTo>
                  <a:lnTo>
                    <a:pt x="1331640" y="554655"/>
                  </a:lnTo>
                  <a:lnTo>
                    <a:pt x="1279947" y="554655"/>
                  </a:lnTo>
                  <a:lnTo>
                    <a:pt x="1279944" y="554655"/>
                  </a:lnTo>
                  <a:lnTo>
                    <a:pt x="1263280" y="554655"/>
                  </a:lnTo>
                  <a:lnTo>
                    <a:pt x="1258552" y="554655"/>
                  </a:lnTo>
                  <a:lnTo>
                    <a:pt x="1258551" y="554655"/>
                  </a:lnTo>
                  <a:lnTo>
                    <a:pt x="1211586" y="554655"/>
                  </a:lnTo>
                  <a:lnTo>
                    <a:pt x="1211583" y="554655"/>
                  </a:lnTo>
                  <a:lnTo>
                    <a:pt x="1206857" y="554655"/>
                  </a:lnTo>
                  <a:lnTo>
                    <a:pt x="1206854" y="554655"/>
                  </a:lnTo>
                  <a:lnTo>
                    <a:pt x="1206843" y="554655"/>
                  </a:lnTo>
                  <a:lnTo>
                    <a:pt x="1191337" y="554655"/>
                  </a:lnTo>
                  <a:lnTo>
                    <a:pt x="1191336" y="554655"/>
                  </a:lnTo>
                  <a:lnTo>
                    <a:pt x="1186608" y="554655"/>
                  </a:lnTo>
                  <a:lnTo>
                    <a:pt x="1186607" y="554655"/>
                  </a:lnTo>
                  <a:lnTo>
                    <a:pt x="1155149" y="554655"/>
                  </a:lnTo>
                  <a:lnTo>
                    <a:pt x="1155146" y="554655"/>
                  </a:lnTo>
                  <a:lnTo>
                    <a:pt x="1139643" y="554655"/>
                  </a:lnTo>
                  <a:lnTo>
                    <a:pt x="1139640" y="554655"/>
                  </a:lnTo>
                  <a:lnTo>
                    <a:pt x="1134913" y="554655"/>
                  </a:lnTo>
                  <a:lnTo>
                    <a:pt x="1134911" y="554655"/>
                  </a:lnTo>
                  <a:lnTo>
                    <a:pt x="1134900" y="554655"/>
                  </a:lnTo>
                  <a:lnTo>
                    <a:pt x="1134899" y="554655"/>
                  </a:lnTo>
                  <a:lnTo>
                    <a:pt x="1118248" y="554655"/>
                  </a:lnTo>
                  <a:lnTo>
                    <a:pt x="1118247" y="554655"/>
                  </a:lnTo>
                  <a:lnTo>
                    <a:pt x="1097913" y="554655"/>
                  </a:lnTo>
                  <a:lnTo>
                    <a:pt x="1083206" y="554655"/>
                  </a:lnTo>
                  <a:lnTo>
                    <a:pt x="1083203" y="554655"/>
                  </a:lnTo>
                  <a:lnTo>
                    <a:pt x="1066553" y="554655"/>
                  </a:lnTo>
                  <a:lnTo>
                    <a:pt x="1066550" y="554655"/>
                  </a:lnTo>
                  <a:lnTo>
                    <a:pt x="1066539" y="554655"/>
                  </a:lnTo>
                  <a:lnTo>
                    <a:pt x="1061811" y="554655"/>
                  </a:lnTo>
                  <a:lnTo>
                    <a:pt x="1061810" y="554655"/>
                  </a:lnTo>
                  <a:lnTo>
                    <a:pt x="1046304" y="554655"/>
                  </a:lnTo>
                  <a:lnTo>
                    <a:pt x="1046303" y="554655"/>
                  </a:lnTo>
                  <a:lnTo>
                    <a:pt x="1046219" y="554655"/>
                  </a:lnTo>
                  <a:lnTo>
                    <a:pt x="1046216" y="554655"/>
                  </a:lnTo>
                  <a:lnTo>
                    <a:pt x="1025970" y="554655"/>
                  </a:lnTo>
                  <a:lnTo>
                    <a:pt x="1025969" y="554655"/>
                  </a:lnTo>
                  <a:lnTo>
                    <a:pt x="1014845" y="554655"/>
                  </a:lnTo>
                  <a:lnTo>
                    <a:pt x="1014842" y="554655"/>
                  </a:lnTo>
                  <a:lnTo>
                    <a:pt x="1010116" y="554655"/>
                  </a:lnTo>
                  <a:lnTo>
                    <a:pt x="1010113" y="554655"/>
                  </a:lnTo>
                  <a:lnTo>
                    <a:pt x="994609" y="554655"/>
                  </a:lnTo>
                  <a:lnTo>
                    <a:pt x="994607" y="554655"/>
                  </a:lnTo>
                  <a:lnTo>
                    <a:pt x="994596" y="554655"/>
                  </a:lnTo>
                  <a:lnTo>
                    <a:pt x="994595" y="554655"/>
                  </a:lnTo>
                  <a:lnTo>
                    <a:pt x="989867" y="554655"/>
                  </a:lnTo>
                  <a:lnTo>
                    <a:pt x="989866" y="554655"/>
                  </a:lnTo>
                  <a:lnTo>
                    <a:pt x="974276" y="554655"/>
                  </a:lnTo>
                  <a:lnTo>
                    <a:pt x="974273" y="554655"/>
                  </a:lnTo>
                  <a:lnTo>
                    <a:pt x="957609" y="554655"/>
                  </a:lnTo>
                  <a:lnTo>
                    <a:pt x="952881" y="554655"/>
                  </a:lnTo>
                  <a:lnTo>
                    <a:pt x="952880" y="554655"/>
                  </a:lnTo>
                  <a:lnTo>
                    <a:pt x="942902" y="554655"/>
                  </a:lnTo>
                  <a:lnTo>
                    <a:pt x="942899" y="554655"/>
                  </a:lnTo>
                  <a:lnTo>
                    <a:pt x="938172" y="554655"/>
                  </a:lnTo>
                  <a:lnTo>
                    <a:pt x="938170" y="554655"/>
                  </a:lnTo>
                  <a:lnTo>
                    <a:pt x="921507" y="554655"/>
                  </a:lnTo>
                  <a:lnTo>
                    <a:pt x="921506" y="554655"/>
                  </a:lnTo>
                  <a:lnTo>
                    <a:pt x="905915" y="554655"/>
                  </a:lnTo>
                  <a:lnTo>
                    <a:pt x="905912" y="554655"/>
                  </a:lnTo>
                  <a:lnTo>
                    <a:pt x="901186" y="554655"/>
                  </a:lnTo>
                  <a:lnTo>
                    <a:pt x="901183" y="554655"/>
                  </a:lnTo>
                  <a:lnTo>
                    <a:pt x="90117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80937" y="554655"/>
                  </a:lnTo>
                  <a:lnTo>
                    <a:pt x="880936" y="554655"/>
                  </a:lnTo>
                  <a:lnTo>
                    <a:pt x="869812" y="554655"/>
                  </a:lnTo>
                  <a:lnTo>
                    <a:pt x="869809" y="554655"/>
                  </a:lnTo>
                  <a:lnTo>
                    <a:pt x="849563" y="554655"/>
                  </a:lnTo>
                  <a:lnTo>
                    <a:pt x="849562" y="554655"/>
                  </a:lnTo>
                  <a:lnTo>
                    <a:pt x="849478" y="554655"/>
                  </a:lnTo>
                  <a:lnTo>
                    <a:pt x="849475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29242" y="554655"/>
                  </a:lnTo>
                  <a:lnTo>
                    <a:pt x="829240" y="554655"/>
                  </a:lnTo>
                  <a:lnTo>
                    <a:pt x="829229" y="554655"/>
                  </a:lnTo>
                  <a:lnTo>
                    <a:pt x="829228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797868" y="554655"/>
                  </a:lnTo>
                  <a:lnTo>
                    <a:pt x="797866" y="554655"/>
                  </a:lnTo>
                  <a:lnTo>
                    <a:pt x="777535" y="554655"/>
                  </a:lnTo>
                  <a:lnTo>
                    <a:pt x="777532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56140" y="554655"/>
                  </a:lnTo>
                  <a:lnTo>
                    <a:pt x="756139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704445" y="554655"/>
                  </a:lnTo>
                  <a:lnTo>
                    <a:pt x="704442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84196" y="554655"/>
                  </a:lnTo>
                  <a:lnTo>
                    <a:pt x="684195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32501" y="554655"/>
                  </a:lnTo>
                  <a:lnTo>
                    <a:pt x="632499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73" name="Полилиния 72"/>
            <p:cNvSpPr/>
            <p:nvPr/>
          </p:nvSpPr>
          <p:spPr>
            <a:xfrm>
              <a:off x="5890156" y="5217011"/>
              <a:ext cx="1491738" cy="537061"/>
            </a:xfrm>
            <a:custGeom>
              <a:avLst/>
              <a:gdLst>
                <a:gd name="connsiteX0" fmla="*/ 277328 w 1540608"/>
                <a:gd name="connsiteY0" fmla="*/ 0 h 554655"/>
                <a:gd name="connsiteX1" fmla="*/ 329024 w 1540608"/>
                <a:gd name="connsiteY1" fmla="*/ 0 h 554655"/>
                <a:gd name="connsiteX2" fmla="*/ 349271 w 1540608"/>
                <a:gd name="connsiteY2" fmla="*/ 0 h 554655"/>
                <a:gd name="connsiteX3" fmla="*/ 400968 w 1540608"/>
                <a:gd name="connsiteY3" fmla="*/ 0 h 554655"/>
                <a:gd name="connsiteX4" fmla="*/ 422361 w 1540608"/>
                <a:gd name="connsiteY4" fmla="*/ 0 h 554655"/>
                <a:gd name="connsiteX5" fmla="*/ 474057 w 1540608"/>
                <a:gd name="connsiteY5" fmla="*/ 0 h 554655"/>
                <a:gd name="connsiteX6" fmla="*/ 474069 w 1540608"/>
                <a:gd name="connsiteY6" fmla="*/ 0 h 554655"/>
                <a:gd name="connsiteX7" fmla="*/ 492196 w 1540608"/>
                <a:gd name="connsiteY7" fmla="*/ 0 h 554655"/>
                <a:gd name="connsiteX8" fmla="*/ 494304 w 1540608"/>
                <a:gd name="connsiteY8" fmla="*/ 0 h 554655"/>
                <a:gd name="connsiteX9" fmla="*/ 525765 w 1540608"/>
                <a:gd name="connsiteY9" fmla="*/ 0 h 554655"/>
                <a:gd name="connsiteX10" fmla="*/ 543892 w 1540608"/>
                <a:gd name="connsiteY10" fmla="*/ 0 h 554655"/>
                <a:gd name="connsiteX11" fmla="*/ 546001 w 1540608"/>
                <a:gd name="connsiteY11" fmla="*/ 0 h 554655"/>
                <a:gd name="connsiteX12" fmla="*/ 546012 w 1540608"/>
                <a:gd name="connsiteY12" fmla="*/ 0 h 554655"/>
                <a:gd name="connsiteX13" fmla="*/ 564139 w 1540608"/>
                <a:gd name="connsiteY13" fmla="*/ 0 h 554655"/>
                <a:gd name="connsiteX14" fmla="*/ 582999 w 1540608"/>
                <a:gd name="connsiteY14" fmla="*/ 0 h 554655"/>
                <a:gd name="connsiteX15" fmla="*/ 597709 w 1540608"/>
                <a:gd name="connsiteY15" fmla="*/ 0 h 554655"/>
                <a:gd name="connsiteX16" fmla="*/ 615836 w 1540608"/>
                <a:gd name="connsiteY16" fmla="*/ 0 h 554655"/>
                <a:gd name="connsiteX17" fmla="*/ 619102 w 1540608"/>
                <a:gd name="connsiteY17" fmla="*/ 0 h 554655"/>
                <a:gd name="connsiteX18" fmla="*/ 634695 w 1540608"/>
                <a:gd name="connsiteY18" fmla="*/ 0 h 554655"/>
                <a:gd name="connsiteX19" fmla="*/ 637229 w 1540608"/>
                <a:gd name="connsiteY19" fmla="*/ 0 h 554655"/>
                <a:gd name="connsiteX20" fmla="*/ 654942 w 1540608"/>
                <a:gd name="connsiteY20" fmla="*/ 0 h 554655"/>
                <a:gd name="connsiteX21" fmla="*/ 670798 w 1540608"/>
                <a:gd name="connsiteY21" fmla="*/ 0 h 554655"/>
                <a:gd name="connsiteX22" fmla="*/ 688925 w 1540608"/>
                <a:gd name="connsiteY22" fmla="*/ 0 h 554655"/>
                <a:gd name="connsiteX23" fmla="*/ 688937 w 1540608"/>
                <a:gd name="connsiteY23" fmla="*/ 0 h 554655"/>
                <a:gd name="connsiteX24" fmla="*/ 691045 w 1540608"/>
                <a:gd name="connsiteY24" fmla="*/ 0 h 554655"/>
                <a:gd name="connsiteX25" fmla="*/ 706639 w 1540608"/>
                <a:gd name="connsiteY25" fmla="*/ 0 h 554655"/>
                <a:gd name="connsiteX26" fmla="*/ 709172 w 1540608"/>
                <a:gd name="connsiteY26" fmla="*/ 0 h 554655"/>
                <a:gd name="connsiteX27" fmla="*/ 728032 w 1540608"/>
                <a:gd name="connsiteY27" fmla="*/ 0 h 554655"/>
                <a:gd name="connsiteX28" fmla="*/ 740633 w 1540608"/>
                <a:gd name="connsiteY28" fmla="*/ 0 h 554655"/>
                <a:gd name="connsiteX29" fmla="*/ 742742 w 1540608"/>
                <a:gd name="connsiteY29" fmla="*/ 0 h 554655"/>
                <a:gd name="connsiteX30" fmla="*/ 760869 w 1540608"/>
                <a:gd name="connsiteY30" fmla="*/ 0 h 554655"/>
                <a:gd name="connsiteX31" fmla="*/ 760880 w 1540608"/>
                <a:gd name="connsiteY31" fmla="*/ 0 h 554655"/>
                <a:gd name="connsiteX32" fmla="*/ 779728 w 1540608"/>
                <a:gd name="connsiteY32" fmla="*/ 0 h 554655"/>
                <a:gd name="connsiteX33" fmla="*/ 779740 w 1540608"/>
                <a:gd name="connsiteY33" fmla="*/ 0 h 554655"/>
                <a:gd name="connsiteX34" fmla="*/ 797867 w 1540608"/>
                <a:gd name="connsiteY34" fmla="*/ 0 h 554655"/>
                <a:gd name="connsiteX35" fmla="*/ 799975 w 1540608"/>
                <a:gd name="connsiteY35" fmla="*/ 0 h 554655"/>
                <a:gd name="connsiteX36" fmla="*/ 812577 w 1540608"/>
                <a:gd name="connsiteY36" fmla="*/ 0 h 554655"/>
                <a:gd name="connsiteX37" fmla="*/ 831436 w 1540608"/>
                <a:gd name="connsiteY37" fmla="*/ 0 h 554655"/>
                <a:gd name="connsiteX38" fmla="*/ 833970 w 1540608"/>
                <a:gd name="connsiteY38" fmla="*/ 0 h 554655"/>
                <a:gd name="connsiteX39" fmla="*/ 849563 w 1540608"/>
                <a:gd name="connsiteY39" fmla="*/ 0 h 554655"/>
                <a:gd name="connsiteX40" fmla="*/ 851672 w 1540608"/>
                <a:gd name="connsiteY40" fmla="*/ 0 h 554655"/>
                <a:gd name="connsiteX41" fmla="*/ 851683 w 1540608"/>
                <a:gd name="connsiteY41" fmla="*/ 0 h 554655"/>
                <a:gd name="connsiteX42" fmla="*/ 869810 w 1540608"/>
                <a:gd name="connsiteY42" fmla="*/ 0 h 554655"/>
                <a:gd name="connsiteX43" fmla="*/ 885666 w 1540608"/>
                <a:gd name="connsiteY43" fmla="*/ 0 h 554655"/>
                <a:gd name="connsiteX44" fmla="*/ 903380 w 1540608"/>
                <a:gd name="connsiteY44" fmla="*/ 0 h 554655"/>
                <a:gd name="connsiteX45" fmla="*/ 905913 w 1540608"/>
                <a:gd name="connsiteY45" fmla="*/ 0 h 554655"/>
                <a:gd name="connsiteX46" fmla="*/ 921507 w 1540608"/>
                <a:gd name="connsiteY46" fmla="*/ 0 h 554655"/>
                <a:gd name="connsiteX47" fmla="*/ 924773 w 1540608"/>
                <a:gd name="connsiteY47" fmla="*/ 0 h 554655"/>
                <a:gd name="connsiteX48" fmla="*/ 942900 w 1540608"/>
                <a:gd name="connsiteY48" fmla="*/ 0 h 554655"/>
                <a:gd name="connsiteX49" fmla="*/ 957610 w 1540608"/>
                <a:gd name="connsiteY49" fmla="*/ 0 h 554655"/>
                <a:gd name="connsiteX50" fmla="*/ 976469 w 1540608"/>
                <a:gd name="connsiteY50" fmla="*/ 0 h 554655"/>
                <a:gd name="connsiteX51" fmla="*/ 994596 w 1540608"/>
                <a:gd name="connsiteY51" fmla="*/ 0 h 554655"/>
                <a:gd name="connsiteX52" fmla="*/ 994608 w 1540608"/>
                <a:gd name="connsiteY52" fmla="*/ 0 h 554655"/>
                <a:gd name="connsiteX53" fmla="*/ 996716 w 1540608"/>
                <a:gd name="connsiteY53" fmla="*/ 0 h 554655"/>
                <a:gd name="connsiteX54" fmla="*/ 1014843 w 1540608"/>
                <a:gd name="connsiteY54" fmla="*/ 0 h 554655"/>
                <a:gd name="connsiteX55" fmla="*/ 1046304 w 1540608"/>
                <a:gd name="connsiteY55" fmla="*/ 0 h 554655"/>
                <a:gd name="connsiteX56" fmla="*/ 1048413 w 1540608"/>
                <a:gd name="connsiteY56" fmla="*/ 0 h 554655"/>
                <a:gd name="connsiteX57" fmla="*/ 1066540 w 1540608"/>
                <a:gd name="connsiteY57" fmla="*/ 0 h 554655"/>
                <a:gd name="connsiteX58" fmla="*/ 1066551 w 1540608"/>
                <a:gd name="connsiteY58" fmla="*/ 0 h 554655"/>
                <a:gd name="connsiteX59" fmla="*/ 1118248 w 1540608"/>
                <a:gd name="connsiteY59" fmla="*/ 0 h 554655"/>
                <a:gd name="connsiteX60" fmla="*/ 1139641 w 1540608"/>
                <a:gd name="connsiteY60" fmla="*/ 0 h 554655"/>
                <a:gd name="connsiteX61" fmla="*/ 1191337 w 1540608"/>
                <a:gd name="connsiteY61" fmla="*/ 0 h 554655"/>
                <a:gd name="connsiteX62" fmla="*/ 1211584 w 1540608"/>
                <a:gd name="connsiteY62" fmla="*/ 0 h 554655"/>
                <a:gd name="connsiteX63" fmla="*/ 1263281 w 1540608"/>
                <a:gd name="connsiteY63" fmla="*/ 0 h 554655"/>
                <a:gd name="connsiteX64" fmla="*/ 1540608 w 1540608"/>
                <a:gd name="connsiteY64" fmla="*/ 277328 h 554655"/>
                <a:gd name="connsiteX65" fmla="*/ 1540607 w 1540608"/>
                <a:gd name="connsiteY65" fmla="*/ 277328 h 554655"/>
                <a:gd name="connsiteX66" fmla="*/ 1263280 w 1540608"/>
                <a:gd name="connsiteY66" fmla="*/ 554655 h 554655"/>
                <a:gd name="connsiteX67" fmla="*/ 1211586 w 1540608"/>
                <a:gd name="connsiteY67" fmla="*/ 554655 h 554655"/>
                <a:gd name="connsiteX68" fmla="*/ 1211583 w 1540608"/>
                <a:gd name="connsiteY68" fmla="*/ 554655 h 554655"/>
                <a:gd name="connsiteX69" fmla="*/ 1191337 w 1540608"/>
                <a:gd name="connsiteY69" fmla="*/ 554655 h 554655"/>
                <a:gd name="connsiteX70" fmla="*/ 1191336 w 1540608"/>
                <a:gd name="connsiteY70" fmla="*/ 554655 h 554655"/>
                <a:gd name="connsiteX71" fmla="*/ 1139643 w 1540608"/>
                <a:gd name="connsiteY71" fmla="*/ 554655 h 554655"/>
                <a:gd name="connsiteX72" fmla="*/ 1139640 w 1540608"/>
                <a:gd name="connsiteY72" fmla="*/ 554655 h 554655"/>
                <a:gd name="connsiteX73" fmla="*/ 1118248 w 1540608"/>
                <a:gd name="connsiteY73" fmla="*/ 554655 h 554655"/>
                <a:gd name="connsiteX74" fmla="*/ 1118247 w 1540608"/>
                <a:gd name="connsiteY74" fmla="*/ 554655 h 554655"/>
                <a:gd name="connsiteX75" fmla="*/ 1066553 w 1540608"/>
                <a:gd name="connsiteY75" fmla="*/ 554655 h 554655"/>
                <a:gd name="connsiteX76" fmla="*/ 1066550 w 1540608"/>
                <a:gd name="connsiteY76" fmla="*/ 554655 h 554655"/>
                <a:gd name="connsiteX77" fmla="*/ 1066539 w 1540608"/>
                <a:gd name="connsiteY77" fmla="*/ 554655 h 554655"/>
                <a:gd name="connsiteX78" fmla="*/ 1046304 w 1540608"/>
                <a:gd name="connsiteY78" fmla="*/ 554655 h 554655"/>
                <a:gd name="connsiteX79" fmla="*/ 1046303 w 1540608"/>
                <a:gd name="connsiteY79" fmla="*/ 554655 h 554655"/>
                <a:gd name="connsiteX80" fmla="*/ 1014845 w 1540608"/>
                <a:gd name="connsiteY80" fmla="*/ 554655 h 554655"/>
                <a:gd name="connsiteX81" fmla="*/ 1014842 w 1540608"/>
                <a:gd name="connsiteY81" fmla="*/ 554655 h 554655"/>
                <a:gd name="connsiteX82" fmla="*/ 994609 w 1540608"/>
                <a:gd name="connsiteY82" fmla="*/ 554655 h 554655"/>
                <a:gd name="connsiteX83" fmla="*/ 994607 w 1540608"/>
                <a:gd name="connsiteY83" fmla="*/ 554655 h 554655"/>
                <a:gd name="connsiteX84" fmla="*/ 994596 w 1540608"/>
                <a:gd name="connsiteY84" fmla="*/ 554655 h 554655"/>
                <a:gd name="connsiteX85" fmla="*/ 994595 w 1540608"/>
                <a:gd name="connsiteY85" fmla="*/ 554655 h 554655"/>
                <a:gd name="connsiteX86" fmla="*/ 957609 w 1540608"/>
                <a:gd name="connsiteY86" fmla="*/ 554655 h 554655"/>
                <a:gd name="connsiteX87" fmla="*/ 942902 w 1540608"/>
                <a:gd name="connsiteY87" fmla="*/ 554655 h 554655"/>
                <a:gd name="connsiteX88" fmla="*/ 942899 w 1540608"/>
                <a:gd name="connsiteY88" fmla="*/ 554655 h 554655"/>
                <a:gd name="connsiteX89" fmla="*/ 921507 w 1540608"/>
                <a:gd name="connsiteY89" fmla="*/ 554655 h 554655"/>
                <a:gd name="connsiteX90" fmla="*/ 921506 w 1540608"/>
                <a:gd name="connsiteY90" fmla="*/ 554655 h 554655"/>
                <a:gd name="connsiteX91" fmla="*/ 905915 w 1540608"/>
                <a:gd name="connsiteY91" fmla="*/ 554655 h 554655"/>
                <a:gd name="connsiteX92" fmla="*/ 905912 w 1540608"/>
                <a:gd name="connsiteY92" fmla="*/ 554655 h 554655"/>
                <a:gd name="connsiteX93" fmla="*/ 885666 w 1540608"/>
                <a:gd name="connsiteY93" fmla="*/ 554655 h 554655"/>
                <a:gd name="connsiteX94" fmla="*/ 885665 w 1540608"/>
                <a:gd name="connsiteY94" fmla="*/ 554655 h 554655"/>
                <a:gd name="connsiteX95" fmla="*/ 869812 w 1540608"/>
                <a:gd name="connsiteY95" fmla="*/ 554655 h 554655"/>
                <a:gd name="connsiteX96" fmla="*/ 869809 w 1540608"/>
                <a:gd name="connsiteY96" fmla="*/ 554655 h 554655"/>
                <a:gd name="connsiteX97" fmla="*/ 849563 w 1540608"/>
                <a:gd name="connsiteY97" fmla="*/ 554655 h 554655"/>
                <a:gd name="connsiteX98" fmla="*/ 849562 w 1540608"/>
                <a:gd name="connsiteY98" fmla="*/ 554655 h 554655"/>
                <a:gd name="connsiteX99" fmla="*/ 833972 w 1540608"/>
                <a:gd name="connsiteY99" fmla="*/ 554655 h 554655"/>
                <a:gd name="connsiteX100" fmla="*/ 833969 w 1540608"/>
                <a:gd name="connsiteY100" fmla="*/ 554655 h 554655"/>
                <a:gd name="connsiteX101" fmla="*/ 812577 w 1540608"/>
                <a:gd name="connsiteY101" fmla="*/ 554655 h 554655"/>
                <a:gd name="connsiteX102" fmla="*/ 812576 w 1540608"/>
                <a:gd name="connsiteY102" fmla="*/ 554655 h 554655"/>
                <a:gd name="connsiteX103" fmla="*/ 797868 w 1540608"/>
                <a:gd name="connsiteY103" fmla="*/ 554655 h 554655"/>
                <a:gd name="connsiteX104" fmla="*/ 797866 w 1540608"/>
                <a:gd name="connsiteY104" fmla="*/ 554655 h 554655"/>
                <a:gd name="connsiteX105" fmla="*/ 760882 w 1540608"/>
                <a:gd name="connsiteY105" fmla="*/ 554655 h 554655"/>
                <a:gd name="connsiteX106" fmla="*/ 760879 w 1540608"/>
                <a:gd name="connsiteY106" fmla="*/ 554655 h 554655"/>
                <a:gd name="connsiteX107" fmla="*/ 760868 w 1540608"/>
                <a:gd name="connsiteY107" fmla="*/ 554655 h 554655"/>
                <a:gd name="connsiteX108" fmla="*/ 740633 w 1540608"/>
                <a:gd name="connsiteY108" fmla="*/ 554655 h 554655"/>
                <a:gd name="connsiteX109" fmla="*/ 740632 w 1540608"/>
                <a:gd name="connsiteY109" fmla="*/ 554655 h 554655"/>
                <a:gd name="connsiteX110" fmla="*/ 709174 w 1540608"/>
                <a:gd name="connsiteY110" fmla="*/ 554655 h 554655"/>
                <a:gd name="connsiteX111" fmla="*/ 709171 w 1540608"/>
                <a:gd name="connsiteY111" fmla="*/ 554655 h 554655"/>
                <a:gd name="connsiteX112" fmla="*/ 688938 w 1540608"/>
                <a:gd name="connsiteY112" fmla="*/ 554655 h 554655"/>
                <a:gd name="connsiteX113" fmla="*/ 688936 w 1540608"/>
                <a:gd name="connsiteY113" fmla="*/ 554655 h 554655"/>
                <a:gd name="connsiteX114" fmla="*/ 688925 w 1540608"/>
                <a:gd name="connsiteY114" fmla="*/ 554655 h 554655"/>
                <a:gd name="connsiteX115" fmla="*/ 688924 w 1540608"/>
                <a:gd name="connsiteY115" fmla="*/ 554655 h 554655"/>
                <a:gd name="connsiteX116" fmla="*/ 637231 w 1540608"/>
                <a:gd name="connsiteY116" fmla="*/ 554655 h 554655"/>
                <a:gd name="connsiteX117" fmla="*/ 637228 w 1540608"/>
                <a:gd name="connsiteY117" fmla="*/ 554655 h 554655"/>
                <a:gd name="connsiteX118" fmla="*/ 615836 w 1540608"/>
                <a:gd name="connsiteY118" fmla="*/ 554655 h 554655"/>
                <a:gd name="connsiteX119" fmla="*/ 615835 w 1540608"/>
                <a:gd name="connsiteY119" fmla="*/ 554655 h 554655"/>
                <a:gd name="connsiteX120" fmla="*/ 564141 w 1540608"/>
                <a:gd name="connsiteY120" fmla="*/ 554655 h 554655"/>
                <a:gd name="connsiteX121" fmla="*/ 564138 w 1540608"/>
                <a:gd name="connsiteY121" fmla="*/ 554655 h 554655"/>
                <a:gd name="connsiteX122" fmla="*/ 543892 w 1540608"/>
                <a:gd name="connsiteY122" fmla="*/ 554655 h 554655"/>
                <a:gd name="connsiteX123" fmla="*/ 543891 w 1540608"/>
                <a:gd name="connsiteY123" fmla="*/ 554655 h 554655"/>
                <a:gd name="connsiteX124" fmla="*/ 492197 w 1540608"/>
                <a:gd name="connsiteY124" fmla="*/ 554655 h 554655"/>
                <a:gd name="connsiteX125" fmla="*/ 492195 w 1540608"/>
                <a:gd name="connsiteY125" fmla="*/ 554655 h 554655"/>
                <a:gd name="connsiteX126" fmla="*/ 277328 w 1540608"/>
                <a:gd name="connsiteY126" fmla="*/ 554654 h 554655"/>
                <a:gd name="connsiteX127" fmla="*/ 5634 w 1540608"/>
                <a:gd name="connsiteY127" fmla="*/ 333218 h 554655"/>
                <a:gd name="connsiteX128" fmla="*/ 0 w 1540608"/>
                <a:gd name="connsiteY128" fmla="*/ 277328 h 554655"/>
                <a:gd name="connsiteX129" fmla="*/ 5634 w 1540608"/>
                <a:gd name="connsiteY129" fmla="*/ 221437 h 554655"/>
                <a:gd name="connsiteX130" fmla="*/ 277328 w 1540608"/>
                <a:gd name="connsiteY130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1540608" h="554655">
                  <a:moveTo>
                    <a:pt x="277328" y="0"/>
                  </a:moveTo>
                  <a:lnTo>
                    <a:pt x="329024" y="0"/>
                  </a:lnTo>
                  <a:lnTo>
                    <a:pt x="349271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25765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82999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4695" y="0"/>
                  </a:lnTo>
                  <a:lnTo>
                    <a:pt x="637229" y="0"/>
                  </a:lnTo>
                  <a:lnTo>
                    <a:pt x="654942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6639" y="0"/>
                  </a:lnTo>
                  <a:lnTo>
                    <a:pt x="709172" y="0"/>
                  </a:lnTo>
                  <a:lnTo>
                    <a:pt x="728032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79728" y="0"/>
                  </a:lnTo>
                  <a:lnTo>
                    <a:pt x="779740" y="0"/>
                  </a:lnTo>
                  <a:lnTo>
                    <a:pt x="797867" y="0"/>
                  </a:lnTo>
                  <a:lnTo>
                    <a:pt x="799975" y="0"/>
                  </a:lnTo>
                  <a:lnTo>
                    <a:pt x="812577" y="0"/>
                  </a:lnTo>
                  <a:lnTo>
                    <a:pt x="831436" y="0"/>
                  </a:lnTo>
                  <a:lnTo>
                    <a:pt x="833970" y="0"/>
                  </a:lnTo>
                  <a:lnTo>
                    <a:pt x="849563" y="0"/>
                  </a:lnTo>
                  <a:lnTo>
                    <a:pt x="851672" y="0"/>
                  </a:lnTo>
                  <a:lnTo>
                    <a:pt x="851683" y="0"/>
                  </a:lnTo>
                  <a:lnTo>
                    <a:pt x="869810" y="0"/>
                  </a:lnTo>
                  <a:lnTo>
                    <a:pt x="885666" y="0"/>
                  </a:lnTo>
                  <a:lnTo>
                    <a:pt x="903380" y="0"/>
                  </a:lnTo>
                  <a:lnTo>
                    <a:pt x="905913" y="0"/>
                  </a:lnTo>
                  <a:lnTo>
                    <a:pt x="921507" y="0"/>
                  </a:lnTo>
                  <a:lnTo>
                    <a:pt x="924773" y="0"/>
                  </a:lnTo>
                  <a:lnTo>
                    <a:pt x="942900" y="0"/>
                  </a:lnTo>
                  <a:lnTo>
                    <a:pt x="957610" y="0"/>
                  </a:lnTo>
                  <a:lnTo>
                    <a:pt x="976469" y="0"/>
                  </a:lnTo>
                  <a:lnTo>
                    <a:pt x="994596" y="0"/>
                  </a:lnTo>
                  <a:lnTo>
                    <a:pt x="994608" y="0"/>
                  </a:lnTo>
                  <a:lnTo>
                    <a:pt x="996716" y="0"/>
                  </a:lnTo>
                  <a:lnTo>
                    <a:pt x="1014843" y="0"/>
                  </a:lnTo>
                  <a:lnTo>
                    <a:pt x="1046304" y="0"/>
                  </a:lnTo>
                  <a:lnTo>
                    <a:pt x="1048413" y="0"/>
                  </a:lnTo>
                  <a:lnTo>
                    <a:pt x="1066540" y="0"/>
                  </a:lnTo>
                  <a:lnTo>
                    <a:pt x="1066551" y="0"/>
                  </a:lnTo>
                  <a:lnTo>
                    <a:pt x="1118248" y="0"/>
                  </a:lnTo>
                  <a:lnTo>
                    <a:pt x="1139641" y="0"/>
                  </a:lnTo>
                  <a:lnTo>
                    <a:pt x="1191337" y="0"/>
                  </a:lnTo>
                  <a:lnTo>
                    <a:pt x="1211584" y="0"/>
                  </a:lnTo>
                  <a:lnTo>
                    <a:pt x="1263281" y="0"/>
                  </a:lnTo>
                  <a:cubicBezTo>
                    <a:pt x="1416445" y="0"/>
                    <a:pt x="1540608" y="124164"/>
                    <a:pt x="1540608" y="277328"/>
                  </a:cubicBezTo>
                  <a:lnTo>
                    <a:pt x="1540607" y="277328"/>
                  </a:lnTo>
                  <a:cubicBezTo>
                    <a:pt x="1540607" y="430492"/>
                    <a:pt x="1416444" y="554655"/>
                    <a:pt x="1263280" y="554655"/>
                  </a:cubicBezTo>
                  <a:lnTo>
                    <a:pt x="1211586" y="554655"/>
                  </a:lnTo>
                  <a:lnTo>
                    <a:pt x="1211583" y="554655"/>
                  </a:lnTo>
                  <a:lnTo>
                    <a:pt x="1191337" y="554655"/>
                  </a:lnTo>
                  <a:lnTo>
                    <a:pt x="1191336" y="554655"/>
                  </a:lnTo>
                  <a:lnTo>
                    <a:pt x="1139643" y="554655"/>
                  </a:lnTo>
                  <a:lnTo>
                    <a:pt x="1139640" y="554655"/>
                  </a:lnTo>
                  <a:lnTo>
                    <a:pt x="1118248" y="554655"/>
                  </a:lnTo>
                  <a:lnTo>
                    <a:pt x="1118247" y="554655"/>
                  </a:lnTo>
                  <a:lnTo>
                    <a:pt x="1066553" y="554655"/>
                  </a:lnTo>
                  <a:lnTo>
                    <a:pt x="1066550" y="554655"/>
                  </a:lnTo>
                  <a:lnTo>
                    <a:pt x="1066539" y="554655"/>
                  </a:lnTo>
                  <a:lnTo>
                    <a:pt x="1046304" y="554655"/>
                  </a:lnTo>
                  <a:lnTo>
                    <a:pt x="1046303" y="554655"/>
                  </a:lnTo>
                  <a:lnTo>
                    <a:pt x="1014845" y="554655"/>
                  </a:lnTo>
                  <a:lnTo>
                    <a:pt x="1014842" y="554655"/>
                  </a:lnTo>
                  <a:lnTo>
                    <a:pt x="994609" y="554655"/>
                  </a:lnTo>
                  <a:lnTo>
                    <a:pt x="994607" y="554655"/>
                  </a:lnTo>
                  <a:lnTo>
                    <a:pt x="994596" y="554655"/>
                  </a:lnTo>
                  <a:lnTo>
                    <a:pt x="994595" y="554655"/>
                  </a:lnTo>
                  <a:lnTo>
                    <a:pt x="957609" y="554655"/>
                  </a:lnTo>
                  <a:lnTo>
                    <a:pt x="942902" y="554655"/>
                  </a:lnTo>
                  <a:lnTo>
                    <a:pt x="942899" y="554655"/>
                  </a:lnTo>
                  <a:lnTo>
                    <a:pt x="921507" y="554655"/>
                  </a:lnTo>
                  <a:lnTo>
                    <a:pt x="921506" y="554655"/>
                  </a:lnTo>
                  <a:lnTo>
                    <a:pt x="905915" y="554655"/>
                  </a:lnTo>
                  <a:lnTo>
                    <a:pt x="90591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69812" y="554655"/>
                  </a:lnTo>
                  <a:lnTo>
                    <a:pt x="869809" y="554655"/>
                  </a:lnTo>
                  <a:lnTo>
                    <a:pt x="849563" y="554655"/>
                  </a:lnTo>
                  <a:lnTo>
                    <a:pt x="849562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797868" y="554655"/>
                  </a:lnTo>
                  <a:lnTo>
                    <a:pt x="797866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pic>
          <p:nvPicPr>
            <p:cNvPr id="75" name="Рисунок 7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645513" y="5329796"/>
              <a:ext cx="1075988" cy="309920"/>
            </a:xfrm>
            <a:prstGeom prst="rect">
              <a:avLst/>
            </a:prstGeom>
          </p:spPr>
        </p:pic>
        <p:sp>
          <p:nvSpPr>
            <p:cNvPr id="76" name="Полилиния 75"/>
            <p:cNvSpPr/>
            <p:nvPr/>
          </p:nvSpPr>
          <p:spPr>
            <a:xfrm>
              <a:off x="7437637" y="5217010"/>
              <a:ext cx="1491738" cy="537061"/>
            </a:xfrm>
            <a:custGeom>
              <a:avLst/>
              <a:gdLst>
                <a:gd name="connsiteX0" fmla="*/ 277328 w 1540608"/>
                <a:gd name="connsiteY0" fmla="*/ 0 h 554655"/>
                <a:gd name="connsiteX1" fmla="*/ 329024 w 1540608"/>
                <a:gd name="connsiteY1" fmla="*/ 0 h 554655"/>
                <a:gd name="connsiteX2" fmla="*/ 349271 w 1540608"/>
                <a:gd name="connsiteY2" fmla="*/ 0 h 554655"/>
                <a:gd name="connsiteX3" fmla="*/ 400968 w 1540608"/>
                <a:gd name="connsiteY3" fmla="*/ 0 h 554655"/>
                <a:gd name="connsiteX4" fmla="*/ 422361 w 1540608"/>
                <a:gd name="connsiteY4" fmla="*/ 0 h 554655"/>
                <a:gd name="connsiteX5" fmla="*/ 474057 w 1540608"/>
                <a:gd name="connsiteY5" fmla="*/ 0 h 554655"/>
                <a:gd name="connsiteX6" fmla="*/ 474069 w 1540608"/>
                <a:gd name="connsiteY6" fmla="*/ 0 h 554655"/>
                <a:gd name="connsiteX7" fmla="*/ 492196 w 1540608"/>
                <a:gd name="connsiteY7" fmla="*/ 0 h 554655"/>
                <a:gd name="connsiteX8" fmla="*/ 494304 w 1540608"/>
                <a:gd name="connsiteY8" fmla="*/ 0 h 554655"/>
                <a:gd name="connsiteX9" fmla="*/ 525765 w 1540608"/>
                <a:gd name="connsiteY9" fmla="*/ 0 h 554655"/>
                <a:gd name="connsiteX10" fmla="*/ 543892 w 1540608"/>
                <a:gd name="connsiteY10" fmla="*/ 0 h 554655"/>
                <a:gd name="connsiteX11" fmla="*/ 546001 w 1540608"/>
                <a:gd name="connsiteY11" fmla="*/ 0 h 554655"/>
                <a:gd name="connsiteX12" fmla="*/ 546012 w 1540608"/>
                <a:gd name="connsiteY12" fmla="*/ 0 h 554655"/>
                <a:gd name="connsiteX13" fmla="*/ 564139 w 1540608"/>
                <a:gd name="connsiteY13" fmla="*/ 0 h 554655"/>
                <a:gd name="connsiteX14" fmla="*/ 582999 w 1540608"/>
                <a:gd name="connsiteY14" fmla="*/ 0 h 554655"/>
                <a:gd name="connsiteX15" fmla="*/ 597709 w 1540608"/>
                <a:gd name="connsiteY15" fmla="*/ 0 h 554655"/>
                <a:gd name="connsiteX16" fmla="*/ 615836 w 1540608"/>
                <a:gd name="connsiteY16" fmla="*/ 0 h 554655"/>
                <a:gd name="connsiteX17" fmla="*/ 619102 w 1540608"/>
                <a:gd name="connsiteY17" fmla="*/ 0 h 554655"/>
                <a:gd name="connsiteX18" fmla="*/ 634695 w 1540608"/>
                <a:gd name="connsiteY18" fmla="*/ 0 h 554655"/>
                <a:gd name="connsiteX19" fmla="*/ 637229 w 1540608"/>
                <a:gd name="connsiteY19" fmla="*/ 0 h 554655"/>
                <a:gd name="connsiteX20" fmla="*/ 654942 w 1540608"/>
                <a:gd name="connsiteY20" fmla="*/ 0 h 554655"/>
                <a:gd name="connsiteX21" fmla="*/ 670798 w 1540608"/>
                <a:gd name="connsiteY21" fmla="*/ 0 h 554655"/>
                <a:gd name="connsiteX22" fmla="*/ 688925 w 1540608"/>
                <a:gd name="connsiteY22" fmla="*/ 0 h 554655"/>
                <a:gd name="connsiteX23" fmla="*/ 688937 w 1540608"/>
                <a:gd name="connsiteY23" fmla="*/ 0 h 554655"/>
                <a:gd name="connsiteX24" fmla="*/ 691045 w 1540608"/>
                <a:gd name="connsiteY24" fmla="*/ 0 h 554655"/>
                <a:gd name="connsiteX25" fmla="*/ 706639 w 1540608"/>
                <a:gd name="connsiteY25" fmla="*/ 0 h 554655"/>
                <a:gd name="connsiteX26" fmla="*/ 709172 w 1540608"/>
                <a:gd name="connsiteY26" fmla="*/ 0 h 554655"/>
                <a:gd name="connsiteX27" fmla="*/ 728032 w 1540608"/>
                <a:gd name="connsiteY27" fmla="*/ 0 h 554655"/>
                <a:gd name="connsiteX28" fmla="*/ 740633 w 1540608"/>
                <a:gd name="connsiteY28" fmla="*/ 0 h 554655"/>
                <a:gd name="connsiteX29" fmla="*/ 742742 w 1540608"/>
                <a:gd name="connsiteY29" fmla="*/ 0 h 554655"/>
                <a:gd name="connsiteX30" fmla="*/ 760869 w 1540608"/>
                <a:gd name="connsiteY30" fmla="*/ 0 h 554655"/>
                <a:gd name="connsiteX31" fmla="*/ 760880 w 1540608"/>
                <a:gd name="connsiteY31" fmla="*/ 0 h 554655"/>
                <a:gd name="connsiteX32" fmla="*/ 779728 w 1540608"/>
                <a:gd name="connsiteY32" fmla="*/ 0 h 554655"/>
                <a:gd name="connsiteX33" fmla="*/ 779740 w 1540608"/>
                <a:gd name="connsiteY33" fmla="*/ 0 h 554655"/>
                <a:gd name="connsiteX34" fmla="*/ 797867 w 1540608"/>
                <a:gd name="connsiteY34" fmla="*/ 0 h 554655"/>
                <a:gd name="connsiteX35" fmla="*/ 799975 w 1540608"/>
                <a:gd name="connsiteY35" fmla="*/ 0 h 554655"/>
                <a:gd name="connsiteX36" fmla="*/ 812577 w 1540608"/>
                <a:gd name="connsiteY36" fmla="*/ 0 h 554655"/>
                <a:gd name="connsiteX37" fmla="*/ 831436 w 1540608"/>
                <a:gd name="connsiteY37" fmla="*/ 0 h 554655"/>
                <a:gd name="connsiteX38" fmla="*/ 833970 w 1540608"/>
                <a:gd name="connsiteY38" fmla="*/ 0 h 554655"/>
                <a:gd name="connsiteX39" fmla="*/ 849563 w 1540608"/>
                <a:gd name="connsiteY39" fmla="*/ 0 h 554655"/>
                <a:gd name="connsiteX40" fmla="*/ 851672 w 1540608"/>
                <a:gd name="connsiteY40" fmla="*/ 0 h 554655"/>
                <a:gd name="connsiteX41" fmla="*/ 851683 w 1540608"/>
                <a:gd name="connsiteY41" fmla="*/ 0 h 554655"/>
                <a:gd name="connsiteX42" fmla="*/ 869810 w 1540608"/>
                <a:gd name="connsiteY42" fmla="*/ 0 h 554655"/>
                <a:gd name="connsiteX43" fmla="*/ 885666 w 1540608"/>
                <a:gd name="connsiteY43" fmla="*/ 0 h 554655"/>
                <a:gd name="connsiteX44" fmla="*/ 903380 w 1540608"/>
                <a:gd name="connsiteY44" fmla="*/ 0 h 554655"/>
                <a:gd name="connsiteX45" fmla="*/ 905913 w 1540608"/>
                <a:gd name="connsiteY45" fmla="*/ 0 h 554655"/>
                <a:gd name="connsiteX46" fmla="*/ 921507 w 1540608"/>
                <a:gd name="connsiteY46" fmla="*/ 0 h 554655"/>
                <a:gd name="connsiteX47" fmla="*/ 924773 w 1540608"/>
                <a:gd name="connsiteY47" fmla="*/ 0 h 554655"/>
                <a:gd name="connsiteX48" fmla="*/ 942900 w 1540608"/>
                <a:gd name="connsiteY48" fmla="*/ 0 h 554655"/>
                <a:gd name="connsiteX49" fmla="*/ 957610 w 1540608"/>
                <a:gd name="connsiteY49" fmla="*/ 0 h 554655"/>
                <a:gd name="connsiteX50" fmla="*/ 976469 w 1540608"/>
                <a:gd name="connsiteY50" fmla="*/ 0 h 554655"/>
                <a:gd name="connsiteX51" fmla="*/ 994596 w 1540608"/>
                <a:gd name="connsiteY51" fmla="*/ 0 h 554655"/>
                <a:gd name="connsiteX52" fmla="*/ 994608 w 1540608"/>
                <a:gd name="connsiteY52" fmla="*/ 0 h 554655"/>
                <a:gd name="connsiteX53" fmla="*/ 996716 w 1540608"/>
                <a:gd name="connsiteY53" fmla="*/ 0 h 554655"/>
                <a:gd name="connsiteX54" fmla="*/ 1014843 w 1540608"/>
                <a:gd name="connsiteY54" fmla="*/ 0 h 554655"/>
                <a:gd name="connsiteX55" fmla="*/ 1046304 w 1540608"/>
                <a:gd name="connsiteY55" fmla="*/ 0 h 554655"/>
                <a:gd name="connsiteX56" fmla="*/ 1048413 w 1540608"/>
                <a:gd name="connsiteY56" fmla="*/ 0 h 554655"/>
                <a:gd name="connsiteX57" fmla="*/ 1066540 w 1540608"/>
                <a:gd name="connsiteY57" fmla="*/ 0 h 554655"/>
                <a:gd name="connsiteX58" fmla="*/ 1066551 w 1540608"/>
                <a:gd name="connsiteY58" fmla="*/ 0 h 554655"/>
                <a:gd name="connsiteX59" fmla="*/ 1118248 w 1540608"/>
                <a:gd name="connsiteY59" fmla="*/ 0 h 554655"/>
                <a:gd name="connsiteX60" fmla="*/ 1139641 w 1540608"/>
                <a:gd name="connsiteY60" fmla="*/ 0 h 554655"/>
                <a:gd name="connsiteX61" fmla="*/ 1191337 w 1540608"/>
                <a:gd name="connsiteY61" fmla="*/ 0 h 554655"/>
                <a:gd name="connsiteX62" fmla="*/ 1211584 w 1540608"/>
                <a:gd name="connsiteY62" fmla="*/ 0 h 554655"/>
                <a:gd name="connsiteX63" fmla="*/ 1263281 w 1540608"/>
                <a:gd name="connsiteY63" fmla="*/ 0 h 554655"/>
                <a:gd name="connsiteX64" fmla="*/ 1540608 w 1540608"/>
                <a:gd name="connsiteY64" fmla="*/ 277328 h 554655"/>
                <a:gd name="connsiteX65" fmla="*/ 1540607 w 1540608"/>
                <a:gd name="connsiteY65" fmla="*/ 277328 h 554655"/>
                <a:gd name="connsiteX66" fmla="*/ 1263280 w 1540608"/>
                <a:gd name="connsiteY66" fmla="*/ 554655 h 554655"/>
                <a:gd name="connsiteX67" fmla="*/ 1211586 w 1540608"/>
                <a:gd name="connsiteY67" fmla="*/ 554655 h 554655"/>
                <a:gd name="connsiteX68" fmla="*/ 1211583 w 1540608"/>
                <a:gd name="connsiteY68" fmla="*/ 554655 h 554655"/>
                <a:gd name="connsiteX69" fmla="*/ 1191337 w 1540608"/>
                <a:gd name="connsiteY69" fmla="*/ 554655 h 554655"/>
                <a:gd name="connsiteX70" fmla="*/ 1191336 w 1540608"/>
                <a:gd name="connsiteY70" fmla="*/ 554655 h 554655"/>
                <a:gd name="connsiteX71" fmla="*/ 1139643 w 1540608"/>
                <a:gd name="connsiteY71" fmla="*/ 554655 h 554655"/>
                <a:gd name="connsiteX72" fmla="*/ 1139640 w 1540608"/>
                <a:gd name="connsiteY72" fmla="*/ 554655 h 554655"/>
                <a:gd name="connsiteX73" fmla="*/ 1118248 w 1540608"/>
                <a:gd name="connsiteY73" fmla="*/ 554655 h 554655"/>
                <a:gd name="connsiteX74" fmla="*/ 1118247 w 1540608"/>
                <a:gd name="connsiteY74" fmla="*/ 554655 h 554655"/>
                <a:gd name="connsiteX75" fmla="*/ 1066553 w 1540608"/>
                <a:gd name="connsiteY75" fmla="*/ 554655 h 554655"/>
                <a:gd name="connsiteX76" fmla="*/ 1066550 w 1540608"/>
                <a:gd name="connsiteY76" fmla="*/ 554655 h 554655"/>
                <a:gd name="connsiteX77" fmla="*/ 1066539 w 1540608"/>
                <a:gd name="connsiteY77" fmla="*/ 554655 h 554655"/>
                <a:gd name="connsiteX78" fmla="*/ 1046304 w 1540608"/>
                <a:gd name="connsiteY78" fmla="*/ 554655 h 554655"/>
                <a:gd name="connsiteX79" fmla="*/ 1046303 w 1540608"/>
                <a:gd name="connsiteY79" fmla="*/ 554655 h 554655"/>
                <a:gd name="connsiteX80" fmla="*/ 1014845 w 1540608"/>
                <a:gd name="connsiteY80" fmla="*/ 554655 h 554655"/>
                <a:gd name="connsiteX81" fmla="*/ 1014842 w 1540608"/>
                <a:gd name="connsiteY81" fmla="*/ 554655 h 554655"/>
                <a:gd name="connsiteX82" fmla="*/ 994609 w 1540608"/>
                <a:gd name="connsiteY82" fmla="*/ 554655 h 554655"/>
                <a:gd name="connsiteX83" fmla="*/ 994607 w 1540608"/>
                <a:gd name="connsiteY83" fmla="*/ 554655 h 554655"/>
                <a:gd name="connsiteX84" fmla="*/ 994596 w 1540608"/>
                <a:gd name="connsiteY84" fmla="*/ 554655 h 554655"/>
                <a:gd name="connsiteX85" fmla="*/ 994595 w 1540608"/>
                <a:gd name="connsiteY85" fmla="*/ 554655 h 554655"/>
                <a:gd name="connsiteX86" fmla="*/ 957609 w 1540608"/>
                <a:gd name="connsiteY86" fmla="*/ 554655 h 554655"/>
                <a:gd name="connsiteX87" fmla="*/ 942902 w 1540608"/>
                <a:gd name="connsiteY87" fmla="*/ 554655 h 554655"/>
                <a:gd name="connsiteX88" fmla="*/ 942899 w 1540608"/>
                <a:gd name="connsiteY88" fmla="*/ 554655 h 554655"/>
                <a:gd name="connsiteX89" fmla="*/ 921507 w 1540608"/>
                <a:gd name="connsiteY89" fmla="*/ 554655 h 554655"/>
                <a:gd name="connsiteX90" fmla="*/ 921506 w 1540608"/>
                <a:gd name="connsiteY90" fmla="*/ 554655 h 554655"/>
                <a:gd name="connsiteX91" fmla="*/ 905915 w 1540608"/>
                <a:gd name="connsiteY91" fmla="*/ 554655 h 554655"/>
                <a:gd name="connsiteX92" fmla="*/ 905912 w 1540608"/>
                <a:gd name="connsiteY92" fmla="*/ 554655 h 554655"/>
                <a:gd name="connsiteX93" fmla="*/ 885666 w 1540608"/>
                <a:gd name="connsiteY93" fmla="*/ 554655 h 554655"/>
                <a:gd name="connsiteX94" fmla="*/ 885665 w 1540608"/>
                <a:gd name="connsiteY94" fmla="*/ 554655 h 554655"/>
                <a:gd name="connsiteX95" fmla="*/ 869812 w 1540608"/>
                <a:gd name="connsiteY95" fmla="*/ 554655 h 554655"/>
                <a:gd name="connsiteX96" fmla="*/ 869809 w 1540608"/>
                <a:gd name="connsiteY96" fmla="*/ 554655 h 554655"/>
                <a:gd name="connsiteX97" fmla="*/ 849563 w 1540608"/>
                <a:gd name="connsiteY97" fmla="*/ 554655 h 554655"/>
                <a:gd name="connsiteX98" fmla="*/ 849562 w 1540608"/>
                <a:gd name="connsiteY98" fmla="*/ 554655 h 554655"/>
                <a:gd name="connsiteX99" fmla="*/ 833972 w 1540608"/>
                <a:gd name="connsiteY99" fmla="*/ 554655 h 554655"/>
                <a:gd name="connsiteX100" fmla="*/ 833969 w 1540608"/>
                <a:gd name="connsiteY100" fmla="*/ 554655 h 554655"/>
                <a:gd name="connsiteX101" fmla="*/ 812577 w 1540608"/>
                <a:gd name="connsiteY101" fmla="*/ 554655 h 554655"/>
                <a:gd name="connsiteX102" fmla="*/ 812576 w 1540608"/>
                <a:gd name="connsiteY102" fmla="*/ 554655 h 554655"/>
                <a:gd name="connsiteX103" fmla="*/ 797868 w 1540608"/>
                <a:gd name="connsiteY103" fmla="*/ 554655 h 554655"/>
                <a:gd name="connsiteX104" fmla="*/ 797866 w 1540608"/>
                <a:gd name="connsiteY104" fmla="*/ 554655 h 554655"/>
                <a:gd name="connsiteX105" fmla="*/ 760882 w 1540608"/>
                <a:gd name="connsiteY105" fmla="*/ 554655 h 554655"/>
                <a:gd name="connsiteX106" fmla="*/ 760879 w 1540608"/>
                <a:gd name="connsiteY106" fmla="*/ 554655 h 554655"/>
                <a:gd name="connsiteX107" fmla="*/ 760868 w 1540608"/>
                <a:gd name="connsiteY107" fmla="*/ 554655 h 554655"/>
                <a:gd name="connsiteX108" fmla="*/ 740633 w 1540608"/>
                <a:gd name="connsiteY108" fmla="*/ 554655 h 554655"/>
                <a:gd name="connsiteX109" fmla="*/ 740632 w 1540608"/>
                <a:gd name="connsiteY109" fmla="*/ 554655 h 554655"/>
                <a:gd name="connsiteX110" fmla="*/ 709174 w 1540608"/>
                <a:gd name="connsiteY110" fmla="*/ 554655 h 554655"/>
                <a:gd name="connsiteX111" fmla="*/ 709171 w 1540608"/>
                <a:gd name="connsiteY111" fmla="*/ 554655 h 554655"/>
                <a:gd name="connsiteX112" fmla="*/ 688938 w 1540608"/>
                <a:gd name="connsiteY112" fmla="*/ 554655 h 554655"/>
                <a:gd name="connsiteX113" fmla="*/ 688936 w 1540608"/>
                <a:gd name="connsiteY113" fmla="*/ 554655 h 554655"/>
                <a:gd name="connsiteX114" fmla="*/ 688925 w 1540608"/>
                <a:gd name="connsiteY114" fmla="*/ 554655 h 554655"/>
                <a:gd name="connsiteX115" fmla="*/ 688924 w 1540608"/>
                <a:gd name="connsiteY115" fmla="*/ 554655 h 554655"/>
                <a:gd name="connsiteX116" fmla="*/ 637231 w 1540608"/>
                <a:gd name="connsiteY116" fmla="*/ 554655 h 554655"/>
                <a:gd name="connsiteX117" fmla="*/ 637228 w 1540608"/>
                <a:gd name="connsiteY117" fmla="*/ 554655 h 554655"/>
                <a:gd name="connsiteX118" fmla="*/ 615836 w 1540608"/>
                <a:gd name="connsiteY118" fmla="*/ 554655 h 554655"/>
                <a:gd name="connsiteX119" fmla="*/ 615835 w 1540608"/>
                <a:gd name="connsiteY119" fmla="*/ 554655 h 554655"/>
                <a:gd name="connsiteX120" fmla="*/ 564141 w 1540608"/>
                <a:gd name="connsiteY120" fmla="*/ 554655 h 554655"/>
                <a:gd name="connsiteX121" fmla="*/ 564138 w 1540608"/>
                <a:gd name="connsiteY121" fmla="*/ 554655 h 554655"/>
                <a:gd name="connsiteX122" fmla="*/ 543892 w 1540608"/>
                <a:gd name="connsiteY122" fmla="*/ 554655 h 554655"/>
                <a:gd name="connsiteX123" fmla="*/ 543891 w 1540608"/>
                <a:gd name="connsiteY123" fmla="*/ 554655 h 554655"/>
                <a:gd name="connsiteX124" fmla="*/ 492197 w 1540608"/>
                <a:gd name="connsiteY124" fmla="*/ 554655 h 554655"/>
                <a:gd name="connsiteX125" fmla="*/ 492195 w 1540608"/>
                <a:gd name="connsiteY125" fmla="*/ 554655 h 554655"/>
                <a:gd name="connsiteX126" fmla="*/ 277328 w 1540608"/>
                <a:gd name="connsiteY126" fmla="*/ 554654 h 554655"/>
                <a:gd name="connsiteX127" fmla="*/ 5634 w 1540608"/>
                <a:gd name="connsiteY127" fmla="*/ 333218 h 554655"/>
                <a:gd name="connsiteX128" fmla="*/ 0 w 1540608"/>
                <a:gd name="connsiteY128" fmla="*/ 277328 h 554655"/>
                <a:gd name="connsiteX129" fmla="*/ 5634 w 1540608"/>
                <a:gd name="connsiteY129" fmla="*/ 221437 h 554655"/>
                <a:gd name="connsiteX130" fmla="*/ 277328 w 1540608"/>
                <a:gd name="connsiteY130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1540608" h="554655">
                  <a:moveTo>
                    <a:pt x="277328" y="0"/>
                  </a:moveTo>
                  <a:lnTo>
                    <a:pt x="329024" y="0"/>
                  </a:lnTo>
                  <a:lnTo>
                    <a:pt x="349271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25765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82999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4695" y="0"/>
                  </a:lnTo>
                  <a:lnTo>
                    <a:pt x="637229" y="0"/>
                  </a:lnTo>
                  <a:lnTo>
                    <a:pt x="654942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6639" y="0"/>
                  </a:lnTo>
                  <a:lnTo>
                    <a:pt x="709172" y="0"/>
                  </a:lnTo>
                  <a:lnTo>
                    <a:pt x="728032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79728" y="0"/>
                  </a:lnTo>
                  <a:lnTo>
                    <a:pt x="779740" y="0"/>
                  </a:lnTo>
                  <a:lnTo>
                    <a:pt x="797867" y="0"/>
                  </a:lnTo>
                  <a:lnTo>
                    <a:pt x="799975" y="0"/>
                  </a:lnTo>
                  <a:lnTo>
                    <a:pt x="812577" y="0"/>
                  </a:lnTo>
                  <a:lnTo>
                    <a:pt x="831436" y="0"/>
                  </a:lnTo>
                  <a:lnTo>
                    <a:pt x="833970" y="0"/>
                  </a:lnTo>
                  <a:lnTo>
                    <a:pt x="849563" y="0"/>
                  </a:lnTo>
                  <a:lnTo>
                    <a:pt x="851672" y="0"/>
                  </a:lnTo>
                  <a:lnTo>
                    <a:pt x="851683" y="0"/>
                  </a:lnTo>
                  <a:lnTo>
                    <a:pt x="869810" y="0"/>
                  </a:lnTo>
                  <a:lnTo>
                    <a:pt x="885666" y="0"/>
                  </a:lnTo>
                  <a:lnTo>
                    <a:pt x="903380" y="0"/>
                  </a:lnTo>
                  <a:lnTo>
                    <a:pt x="905913" y="0"/>
                  </a:lnTo>
                  <a:lnTo>
                    <a:pt x="921507" y="0"/>
                  </a:lnTo>
                  <a:lnTo>
                    <a:pt x="924773" y="0"/>
                  </a:lnTo>
                  <a:lnTo>
                    <a:pt x="942900" y="0"/>
                  </a:lnTo>
                  <a:lnTo>
                    <a:pt x="957610" y="0"/>
                  </a:lnTo>
                  <a:lnTo>
                    <a:pt x="976469" y="0"/>
                  </a:lnTo>
                  <a:lnTo>
                    <a:pt x="994596" y="0"/>
                  </a:lnTo>
                  <a:lnTo>
                    <a:pt x="994608" y="0"/>
                  </a:lnTo>
                  <a:lnTo>
                    <a:pt x="996716" y="0"/>
                  </a:lnTo>
                  <a:lnTo>
                    <a:pt x="1014843" y="0"/>
                  </a:lnTo>
                  <a:lnTo>
                    <a:pt x="1046304" y="0"/>
                  </a:lnTo>
                  <a:lnTo>
                    <a:pt x="1048413" y="0"/>
                  </a:lnTo>
                  <a:lnTo>
                    <a:pt x="1066540" y="0"/>
                  </a:lnTo>
                  <a:lnTo>
                    <a:pt x="1066551" y="0"/>
                  </a:lnTo>
                  <a:lnTo>
                    <a:pt x="1118248" y="0"/>
                  </a:lnTo>
                  <a:lnTo>
                    <a:pt x="1139641" y="0"/>
                  </a:lnTo>
                  <a:lnTo>
                    <a:pt x="1191337" y="0"/>
                  </a:lnTo>
                  <a:lnTo>
                    <a:pt x="1211584" y="0"/>
                  </a:lnTo>
                  <a:lnTo>
                    <a:pt x="1263281" y="0"/>
                  </a:lnTo>
                  <a:cubicBezTo>
                    <a:pt x="1416445" y="0"/>
                    <a:pt x="1540608" y="124164"/>
                    <a:pt x="1540608" y="277328"/>
                  </a:cubicBezTo>
                  <a:lnTo>
                    <a:pt x="1540607" y="277328"/>
                  </a:lnTo>
                  <a:cubicBezTo>
                    <a:pt x="1540607" y="430492"/>
                    <a:pt x="1416444" y="554655"/>
                    <a:pt x="1263280" y="554655"/>
                  </a:cubicBezTo>
                  <a:lnTo>
                    <a:pt x="1211586" y="554655"/>
                  </a:lnTo>
                  <a:lnTo>
                    <a:pt x="1211583" y="554655"/>
                  </a:lnTo>
                  <a:lnTo>
                    <a:pt x="1191337" y="554655"/>
                  </a:lnTo>
                  <a:lnTo>
                    <a:pt x="1191336" y="554655"/>
                  </a:lnTo>
                  <a:lnTo>
                    <a:pt x="1139643" y="554655"/>
                  </a:lnTo>
                  <a:lnTo>
                    <a:pt x="1139640" y="554655"/>
                  </a:lnTo>
                  <a:lnTo>
                    <a:pt x="1118248" y="554655"/>
                  </a:lnTo>
                  <a:lnTo>
                    <a:pt x="1118247" y="554655"/>
                  </a:lnTo>
                  <a:lnTo>
                    <a:pt x="1066553" y="554655"/>
                  </a:lnTo>
                  <a:lnTo>
                    <a:pt x="1066550" y="554655"/>
                  </a:lnTo>
                  <a:lnTo>
                    <a:pt x="1066539" y="554655"/>
                  </a:lnTo>
                  <a:lnTo>
                    <a:pt x="1046304" y="554655"/>
                  </a:lnTo>
                  <a:lnTo>
                    <a:pt x="1046303" y="554655"/>
                  </a:lnTo>
                  <a:lnTo>
                    <a:pt x="1014845" y="554655"/>
                  </a:lnTo>
                  <a:lnTo>
                    <a:pt x="1014842" y="554655"/>
                  </a:lnTo>
                  <a:lnTo>
                    <a:pt x="994609" y="554655"/>
                  </a:lnTo>
                  <a:lnTo>
                    <a:pt x="994607" y="554655"/>
                  </a:lnTo>
                  <a:lnTo>
                    <a:pt x="994596" y="554655"/>
                  </a:lnTo>
                  <a:lnTo>
                    <a:pt x="994595" y="554655"/>
                  </a:lnTo>
                  <a:lnTo>
                    <a:pt x="957609" y="554655"/>
                  </a:lnTo>
                  <a:lnTo>
                    <a:pt x="942902" y="554655"/>
                  </a:lnTo>
                  <a:lnTo>
                    <a:pt x="942899" y="554655"/>
                  </a:lnTo>
                  <a:lnTo>
                    <a:pt x="921507" y="554655"/>
                  </a:lnTo>
                  <a:lnTo>
                    <a:pt x="921506" y="554655"/>
                  </a:lnTo>
                  <a:lnTo>
                    <a:pt x="905915" y="554655"/>
                  </a:lnTo>
                  <a:lnTo>
                    <a:pt x="90591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69812" y="554655"/>
                  </a:lnTo>
                  <a:lnTo>
                    <a:pt x="869809" y="554655"/>
                  </a:lnTo>
                  <a:lnTo>
                    <a:pt x="849563" y="554655"/>
                  </a:lnTo>
                  <a:lnTo>
                    <a:pt x="849562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797868" y="554655"/>
                  </a:lnTo>
                  <a:lnTo>
                    <a:pt x="797866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pic>
          <p:nvPicPr>
            <p:cNvPr id="31" name="Picture 6" descr="https://cs8.pikabu.ru/post_img/big/2018/10/12/6/153933384611836260.png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53" t="14032" r="6586" b="36396"/>
            <a:stretch/>
          </p:blipFill>
          <p:spPr bwMode="auto">
            <a:xfrm>
              <a:off x="10228917" y="5223646"/>
              <a:ext cx="1155580" cy="4489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2" name="Полилиния 81"/>
            <p:cNvSpPr/>
            <p:nvPr/>
          </p:nvSpPr>
          <p:spPr>
            <a:xfrm>
              <a:off x="10091379" y="5222469"/>
              <a:ext cx="1414108" cy="537061"/>
            </a:xfrm>
            <a:custGeom>
              <a:avLst/>
              <a:gdLst>
                <a:gd name="connsiteX0" fmla="*/ 277328 w 1460435"/>
                <a:gd name="connsiteY0" fmla="*/ 0 h 554655"/>
                <a:gd name="connsiteX1" fmla="*/ 320795 w 1460435"/>
                <a:gd name="connsiteY1" fmla="*/ 0 h 554655"/>
                <a:gd name="connsiteX2" fmla="*/ 329024 w 1460435"/>
                <a:gd name="connsiteY2" fmla="*/ 0 h 554655"/>
                <a:gd name="connsiteX3" fmla="*/ 342188 w 1460435"/>
                <a:gd name="connsiteY3" fmla="*/ 0 h 554655"/>
                <a:gd name="connsiteX4" fmla="*/ 349271 w 1460435"/>
                <a:gd name="connsiteY4" fmla="*/ 0 h 554655"/>
                <a:gd name="connsiteX5" fmla="*/ 393884 w 1460435"/>
                <a:gd name="connsiteY5" fmla="*/ 0 h 554655"/>
                <a:gd name="connsiteX6" fmla="*/ 393896 w 1460435"/>
                <a:gd name="connsiteY6" fmla="*/ 0 h 554655"/>
                <a:gd name="connsiteX7" fmla="*/ 400968 w 1460435"/>
                <a:gd name="connsiteY7" fmla="*/ 0 h 554655"/>
                <a:gd name="connsiteX8" fmla="*/ 412023 w 1460435"/>
                <a:gd name="connsiteY8" fmla="*/ 0 h 554655"/>
                <a:gd name="connsiteX9" fmla="*/ 414131 w 1460435"/>
                <a:gd name="connsiteY9" fmla="*/ 0 h 554655"/>
                <a:gd name="connsiteX10" fmla="*/ 422361 w 1460435"/>
                <a:gd name="connsiteY10" fmla="*/ 0 h 554655"/>
                <a:gd name="connsiteX11" fmla="*/ 445592 w 1460435"/>
                <a:gd name="connsiteY11" fmla="*/ 0 h 554655"/>
                <a:gd name="connsiteX12" fmla="*/ 463719 w 1460435"/>
                <a:gd name="connsiteY12" fmla="*/ 0 h 554655"/>
                <a:gd name="connsiteX13" fmla="*/ 465828 w 1460435"/>
                <a:gd name="connsiteY13" fmla="*/ 0 h 554655"/>
                <a:gd name="connsiteX14" fmla="*/ 465839 w 1460435"/>
                <a:gd name="connsiteY14" fmla="*/ 0 h 554655"/>
                <a:gd name="connsiteX15" fmla="*/ 474057 w 1460435"/>
                <a:gd name="connsiteY15" fmla="*/ 0 h 554655"/>
                <a:gd name="connsiteX16" fmla="*/ 474069 w 1460435"/>
                <a:gd name="connsiteY16" fmla="*/ 0 h 554655"/>
                <a:gd name="connsiteX17" fmla="*/ 483966 w 1460435"/>
                <a:gd name="connsiteY17" fmla="*/ 0 h 554655"/>
                <a:gd name="connsiteX18" fmla="*/ 492196 w 1460435"/>
                <a:gd name="connsiteY18" fmla="*/ 0 h 554655"/>
                <a:gd name="connsiteX19" fmla="*/ 494304 w 1460435"/>
                <a:gd name="connsiteY19" fmla="*/ 0 h 554655"/>
                <a:gd name="connsiteX20" fmla="*/ 502826 w 1460435"/>
                <a:gd name="connsiteY20" fmla="*/ 0 h 554655"/>
                <a:gd name="connsiteX21" fmla="*/ 517536 w 1460435"/>
                <a:gd name="connsiteY21" fmla="*/ 0 h 554655"/>
                <a:gd name="connsiteX22" fmla="*/ 525765 w 1460435"/>
                <a:gd name="connsiteY22" fmla="*/ 0 h 554655"/>
                <a:gd name="connsiteX23" fmla="*/ 535663 w 1460435"/>
                <a:gd name="connsiteY23" fmla="*/ 0 h 554655"/>
                <a:gd name="connsiteX24" fmla="*/ 538929 w 1460435"/>
                <a:gd name="connsiteY24" fmla="*/ 0 h 554655"/>
                <a:gd name="connsiteX25" fmla="*/ 543892 w 1460435"/>
                <a:gd name="connsiteY25" fmla="*/ 0 h 554655"/>
                <a:gd name="connsiteX26" fmla="*/ 546001 w 1460435"/>
                <a:gd name="connsiteY26" fmla="*/ 0 h 554655"/>
                <a:gd name="connsiteX27" fmla="*/ 546012 w 1460435"/>
                <a:gd name="connsiteY27" fmla="*/ 0 h 554655"/>
                <a:gd name="connsiteX28" fmla="*/ 554522 w 1460435"/>
                <a:gd name="connsiteY28" fmla="*/ 0 h 554655"/>
                <a:gd name="connsiteX29" fmla="*/ 557056 w 1460435"/>
                <a:gd name="connsiteY29" fmla="*/ 0 h 554655"/>
                <a:gd name="connsiteX30" fmla="*/ 564139 w 1460435"/>
                <a:gd name="connsiteY30" fmla="*/ 0 h 554655"/>
                <a:gd name="connsiteX31" fmla="*/ 574769 w 1460435"/>
                <a:gd name="connsiteY31" fmla="*/ 0 h 554655"/>
                <a:gd name="connsiteX32" fmla="*/ 582999 w 1460435"/>
                <a:gd name="connsiteY32" fmla="*/ 0 h 554655"/>
                <a:gd name="connsiteX33" fmla="*/ 590625 w 1460435"/>
                <a:gd name="connsiteY33" fmla="*/ 0 h 554655"/>
                <a:gd name="connsiteX34" fmla="*/ 597709 w 1460435"/>
                <a:gd name="connsiteY34" fmla="*/ 0 h 554655"/>
                <a:gd name="connsiteX35" fmla="*/ 608752 w 1460435"/>
                <a:gd name="connsiteY35" fmla="*/ 0 h 554655"/>
                <a:gd name="connsiteX36" fmla="*/ 608764 w 1460435"/>
                <a:gd name="connsiteY36" fmla="*/ 0 h 554655"/>
                <a:gd name="connsiteX37" fmla="*/ 610872 w 1460435"/>
                <a:gd name="connsiteY37" fmla="*/ 0 h 554655"/>
                <a:gd name="connsiteX38" fmla="*/ 615836 w 1460435"/>
                <a:gd name="connsiteY38" fmla="*/ 0 h 554655"/>
                <a:gd name="connsiteX39" fmla="*/ 619102 w 1460435"/>
                <a:gd name="connsiteY39" fmla="*/ 0 h 554655"/>
                <a:gd name="connsiteX40" fmla="*/ 626466 w 1460435"/>
                <a:gd name="connsiteY40" fmla="*/ 0 h 554655"/>
                <a:gd name="connsiteX41" fmla="*/ 628999 w 1460435"/>
                <a:gd name="connsiteY41" fmla="*/ 0 h 554655"/>
                <a:gd name="connsiteX42" fmla="*/ 634695 w 1460435"/>
                <a:gd name="connsiteY42" fmla="*/ 0 h 554655"/>
                <a:gd name="connsiteX43" fmla="*/ 637229 w 1460435"/>
                <a:gd name="connsiteY43" fmla="*/ 0 h 554655"/>
                <a:gd name="connsiteX44" fmla="*/ 647859 w 1460435"/>
                <a:gd name="connsiteY44" fmla="*/ 0 h 554655"/>
                <a:gd name="connsiteX45" fmla="*/ 654942 w 1460435"/>
                <a:gd name="connsiteY45" fmla="*/ 0 h 554655"/>
                <a:gd name="connsiteX46" fmla="*/ 660460 w 1460435"/>
                <a:gd name="connsiteY46" fmla="*/ 0 h 554655"/>
                <a:gd name="connsiteX47" fmla="*/ 662569 w 1460435"/>
                <a:gd name="connsiteY47" fmla="*/ 0 h 554655"/>
                <a:gd name="connsiteX48" fmla="*/ 670798 w 1460435"/>
                <a:gd name="connsiteY48" fmla="*/ 0 h 554655"/>
                <a:gd name="connsiteX49" fmla="*/ 680696 w 1460435"/>
                <a:gd name="connsiteY49" fmla="*/ 0 h 554655"/>
                <a:gd name="connsiteX50" fmla="*/ 680707 w 1460435"/>
                <a:gd name="connsiteY50" fmla="*/ 0 h 554655"/>
                <a:gd name="connsiteX51" fmla="*/ 688925 w 1460435"/>
                <a:gd name="connsiteY51" fmla="*/ 0 h 554655"/>
                <a:gd name="connsiteX52" fmla="*/ 688937 w 1460435"/>
                <a:gd name="connsiteY52" fmla="*/ 0 h 554655"/>
                <a:gd name="connsiteX53" fmla="*/ 691045 w 1460435"/>
                <a:gd name="connsiteY53" fmla="*/ 0 h 554655"/>
                <a:gd name="connsiteX54" fmla="*/ 699555 w 1460435"/>
                <a:gd name="connsiteY54" fmla="*/ 0 h 554655"/>
                <a:gd name="connsiteX55" fmla="*/ 699567 w 1460435"/>
                <a:gd name="connsiteY55" fmla="*/ 0 h 554655"/>
                <a:gd name="connsiteX56" fmla="*/ 706639 w 1460435"/>
                <a:gd name="connsiteY56" fmla="*/ 0 h 554655"/>
                <a:gd name="connsiteX57" fmla="*/ 709172 w 1460435"/>
                <a:gd name="connsiteY57" fmla="*/ 0 h 554655"/>
                <a:gd name="connsiteX58" fmla="*/ 717694 w 1460435"/>
                <a:gd name="connsiteY58" fmla="*/ 0 h 554655"/>
                <a:gd name="connsiteX59" fmla="*/ 719802 w 1460435"/>
                <a:gd name="connsiteY59" fmla="*/ 0 h 554655"/>
                <a:gd name="connsiteX60" fmla="*/ 728032 w 1460435"/>
                <a:gd name="connsiteY60" fmla="*/ 0 h 554655"/>
                <a:gd name="connsiteX61" fmla="*/ 732404 w 1460435"/>
                <a:gd name="connsiteY61" fmla="*/ 0 h 554655"/>
                <a:gd name="connsiteX62" fmla="*/ 740633 w 1460435"/>
                <a:gd name="connsiteY62" fmla="*/ 0 h 554655"/>
                <a:gd name="connsiteX63" fmla="*/ 742742 w 1460435"/>
                <a:gd name="connsiteY63" fmla="*/ 0 h 554655"/>
                <a:gd name="connsiteX64" fmla="*/ 751263 w 1460435"/>
                <a:gd name="connsiteY64" fmla="*/ 0 h 554655"/>
                <a:gd name="connsiteX65" fmla="*/ 753797 w 1460435"/>
                <a:gd name="connsiteY65" fmla="*/ 0 h 554655"/>
                <a:gd name="connsiteX66" fmla="*/ 760869 w 1460435"/>
                <a:gd name="connsiteY66" fmla="*/ 0 h 554655"/>
                <a:gd name="connsiteX67" fmla="*/ 760880 w 1460435"/>
                <a:gd name="connsiteY67" fmla="*/ 0 h 554655"/>
                <a:gd name="connsiteX68" fmla="*/ 769390 w 1460435"/>
                <a:gd name="connsiteY68" fmla="*/ 0 h 554655"/>
                <a:gd name="connsiteX69" fmla="*/ 771499 w 1460435"/>
                <a:gd name="connsiteY69" fmla="*/ 0 h 554655"/>
                <a:gd name="connsiteX70" fmla="*/ 771510 w 1460435"/>
                <a:gd name="connsiteY70" fmla="*/ 0 h 554655"/>
                <a:gd name="connsiteX71" fmla="*/ 779728 w 1460435"/>
                <a:gd name="connsiteY71" fmla="*/ 0 h 554655"/>
                <a:gd name="connsiteX72" fmla="*/ 779740 w 1460435"/>
                <a:gd name="connsiteY72" fmla="*/ 0 h 554655"/>
                <a:gd name="connsiteX73" fmla="*/ 789637 w 1460435"/>
                <a:gd name="connsiteY73" fmla="*/ 0 h 554655"/>
                <a:gd name="connsiteX74" fmla="*/ 797867 w 1460435"/>
                <a:gd name="connsiteY74" fmla="*/ 0 h 554655"/>
                <a:gd name="connsiteX75" fmla="*/ 799975 w 1460435"/>
                <a:gd name="connsiteY75" fmla="*/ 0 h 554655"/>
                <a:gd name="connsiteX76" fmla="*/ 805493 w 1460435"/>
                <a:gd name="connsiteY76" fmla="*/ 0 h 554655"/>
                <a:gd name="connsiteX77" fmla="*/ 812577 w 1460435"/>
                <a:gd name="connsiteY77" fmla="*/ 0 h 554655"/>
                <a:gd name="connsiteX78" fmla="*/ 823207 w 1460435"/>
                <a:gd name="connsiteY78" fmla="*/ 0 h 554655"/>
                <a:gd name="connsiteX79" fmla="*/ 825740 w 1460435"/>
                <a:gd name="connsiteY79" fmla="*/ 0 h 554655"/>
                <a:gd name="connsiteX80" fmla="*/ 831436 w 1460435"/>
                <a:gd name="connsiteY80" fmla="*/ 0 h 554655"/>
                <a:gd name="connsiteX81" fmla="*/ 833970 w 1460435"/>
                <a:gd name="connsiteY81" fmla="*/ 0 h 554655"/>
                <a:gd name="connsiteX82" fmla="*/ 841334 w 1460435"/>
                <a:gd name="connsiteY82" fmla="*/ 0 h 554655"/>
                <a:gd name="connsiteX83" fmla="*/ 844600 w 1460435"/>
                <a:gd name="connsiteY83" fmla="*/ 0 h 554655"/>
                <a:gd name="connsiteX84" fmla="*/ 849563 w 1460435"/>
                <a:gd name="connsiteY84" fmla="*/ 0 h 554655"/>
                <a:gd name="connsiteX85" fmla="*/ 851672 w 1460435"/>
                <a:gd name="connsiteY85" fmla="*/ 0 h 554655"/>
                <a:gd name="connsiteX86" fmla="*/ 851683 w 1460435"/>
                <a:gd name="connsiteY86" fmla="*/ 0 h 554655"/>
                <a:gd name="connsiteX87" fmla="*/ 862727 w 1460435"/>
                <a:gd name="connsiteY87" fmla="*/ 0 h 554655"/>
                <a:gd name="connsiteX88" fmla="*/ 869810 w 1460435"/>
                <a:gd name="connsiteY88" fmla="*/ 0 h 554655"/>
                <a:gd name="connsiteX89" fmla="*/ 877437 w 1460435"/>
                <a:gd name="connsiteY89" fmla="*/ 0 h 554655"/>
                <a:gd name="connsiteX90" fmla="*/ 885666 w 1460435"/>
                <a:gd name="connsiteY90" fmla="*/ 0 h 554655"/>
                <a:gd name="connsiteX91" fmla="*/ 896296 w 1460435"/>
                <a:gd name="connsiteY91" fmla="*/ 0 h 554655"/>
                <a:gd name="connsiteX92" fmla="*/ 903380 w 1460435"/>
                <a:gd name="connsiteY92" fmla="*/ 0 h 554655"/>
                <a:gd name="connsiteX93" fmla="*/ 905913 w 1460435"/>
                <a:gd name="connsiteY93" fmla="*/ 0 h 554655"/>
                <a:gd name="connsiteX94" fmla="*/ 914423 w 1460435"/>
                <a:gd name="connsiteY94" fmla="*/ 0 h 554655"/>
                <a:gd name="connsiteX95" fmla="*/ 914435 w 1460435"/>
                <a:gd name="connsiteY95" fmla="*/ 0 h 554655"/>
                <a:gd name="connsiteX96" fmla="*/ 916543 w 1460435"/>
                <a:gd name="connsiteY96" fmla="*/ 0 h 554655"/>
                <a:gd name="connsiteX97" fmla="*/ 921507 w 1460435"/>
                <a:gd name="connsiteY97" fmla="*/ 0 h 554655"/>
                <a:gd name="connsiteX98" fmla="*/ 924773 w 1460435"/>
                <a:gd name="connsiteY98" fmla="*/ 0 h 554655"/>
                <a:gd name="connsiteX99" fmla="*/ 934670 w 1460435"/>
                <a:gd name="connsiteY99" fmla="*/ 0 h 554655"/>
                <a:gd name="connsiteX100" fmla="*/ 942900 w 1460435"/>
                <a:gd name="connsiteY100" fmla="*/ 0 h 554655"/>
                <a:gd name="connsiteX101" fmla="*/ 957610 w 1460435"/>
                <a:gd name="connsiteY101" fmla="*/ 0 h 554655"/>
                <a:gd name="connsiteX102" fmla="*/ 966131 w 1460435"/>
                <a:gd name="connsiteY102" fmla="*/ 0 h 554655"/>
                <a:gd name="connsiteX103" fmla="*/ 968240 w 1460435"/>
                <a:gd name="connsiteY103" fmla="*/ 0 h 554655"/>
                <a:gd name="connsiteX104" fmla="*/ 976469 w 1460435"/>
                <a:gd name="connsiteY104" fmla="*/ 0 h 554655"/>
                <a:gd name="connsiteX105" fmla="*/ 986367 w 1460435"/>
                <a:gd name="connsiteY105" fmla="*/ 0 h 554655"/>
                <a:gd name="connsiteX106" fmla="*/ 986378 w 1460435"/>
                <a:gd name="connsiteY106" fmla="*/ 0 h 554655"/>
                <a:gd name="connsiteX107" fmla="*/ 994596 w 1460435"/>
                <a:gd name="connsiteY107" fmla="*/ 0 h 554655"/>
                <a:gd name="connsiteX108" fmla="*/ 994608 w 1460435"/>
                <a:gd name="connsiteY108" fmla="*/ 0 h 554655"/>
                <a:gd name="connsiteX109" fmla="*/ 996716 w 1460435"/>
                <a:gd name="connsiteY109" fmla="*/ 0 h 554655"/>
                <a:gd name="connsiteX110" fmla="*/ 1014843 w 1460435"/>
                <a:gd name="connsiteY110" fmla="*/ 0 h 554655"/>
                <a:gd name="connsiteX111" fmla="*/ 1038075 w 1460435"/>
                <a:gd name="connsiteY111" fmla="*/ 0 h 554655"/>
                <a:gd name="connsiteX112" fmla="*/ 1046304 w 1460435"/>
                <a:gd name="connsiteY112" fmla="*/ 0 h 554655"/>
                <a:gd name="connsiteX113" fmla="*/ 1048413 w 1460435"/>
                <a:gd name="connsiteY113" fmla="*/ 0 h 554655"/>
                <a:gd name="connsiteX114" fmla="*/ 1059468 w 1460435"/>
                <a:gd name="connsiteY114" fmla="*/ 0 h 554655"/>
                <a:gd name="connsiteX115" fmla="*/ 1066540 w 1460435"/>
                <a:gd name="connsiteY115" fmla="*/ 0 h 554655"/>
                <a:gd name="connsiteX116" fmla="*/ 1066551 w 1460435"/>
                <a:gd name="connsiteY116" fmla="*/ 0 h 554655"/>
                <a:gd name="connsiteX117" fmla="*/ 1111164 w 1460435"/>
                <a:gd name="connsiteY117" fmla="*/ 0 h 554655"/>
                <a:gd name="connsiteX118" fmla="*/ 1118248 w 1460435"/>
                <a:gd name="connsiteY118" fmla="*/ 0 h 554655"/>
                <a:gd name="connsiteX119" fmla="*/ 1131411 w 1460435"/>
                <a:gd name="connsiteY119" fmla="*/ 0 h 554655"/>
                <a:gd name="connsiteX120" fmla="*/ 1139641 w 1460435"/>
                <a:gd name="connsiteY120" fmla="*/ 0 h 554655"/>
                <a:gd name="connsiteX121" fmla="*/ 1183108 w 1460435"/>
                <a:gd name="connsiteY121" fmla="*/ 0 h 554655"/>
                <a:gd name="connsiteX122" fmla="*/ 1460435 w 1460435"/>
                <a:gd name="connsiteY122" fmla="*/ 277328 h 554655"/>
                <a:gd name="connsiteX123" fmla="*/ 1460434 w 1460435"/>
                <a:gd name="connsiteY123" fmla="*/ 277328 h 554655"/>
                <a:gd name="connsiteX124" fmla="*/ 1183107 w 1460435"/>
                <a:gd name="connsiteY124" fmla="*/ 554655 h 554655"/>
                <a:gd name="connsiteX125" fmla="*/ 1139643 w 1460435"/>
                <a:gd name="connsiteY125" fmla="*/ 554655 h 554655"/>
                <a:gd name="connsiteX126" fmla="*/ 1139640 w 1460435"/>
                <a:gd name="connsiteY126" fmla="*/ 554655 h 554655"/>
                <a:gd name="connsiteX127" fmla="*/ 1131413 w 1460435"/>
                <a:gd name="connsiteY127" fmla="*/ 554655 h 554655"/>
                <a:gd name="connsiteX128" fmla="*/ 1131410 w 1460435"/>
                <a:gd name="connsiteY128" fmla="*/ 554655 h 554655"/>
                <a:gd name="connsiteX129" fmla="*/ 1118248 w 1460435"/>
                <a:gd name="connsiteY129" fmla="*/ 554655 h 554655"/>
                <a:gd name="connsiteX130" fmla="*/ 1118247 w 1460435"/>
                <a:gd name="connsiteY130" fmla="*/ 554655 h 554655"/>
                <a:gd name="connsiteX131" fmla="*/ 1111164 w 1460435"/>
                <a:gd name="connsiteY131" fmla="*/ 554655 h 554655"/>
                <a:gd name="connsiteX132" fmla="*/ 1111163 w 1460435"/>
                <a:gd name="connsiteY132" fmla="*/ 554655 h 554655"/>
                <a:gd name="connsiteX133" fmla="*/ 1066553 w 1460435"/>
                <a:gd name="connsiteY133" fmla="*/ 554655 h 554655"/>
                <a:gd name="connsiteX134" fmla="*/ 1066550 w 1460435"/>
                <a:gd name="connsiteY134" fmla="*/ 554655 h 554655"/>
                <a:gd name="connsiteX135" fmla="*/ 1066539 w 1460435"/>
                <a:gd name="connsiteY135" fmla="*/ 554655 h 554655"/>
                <a:gd name="connsiteX136" fmla="*/ 1059470 w 1460435"/>
                <a:gd name="connsiteY136" fmla="*/ 554655 h 554655"/>
                <a:gd name="connsiteX137" fmla="*/ 1059467 w 1460435"/>
                <a:gd name="connsiteY137" fmla="*/ 554655 h 554655"/>
                <a:gd name="connsiteX138" fmla="*/ 1046304 w 1460435"/>
                <a:gd name="connsiteY138" fmla="*/ 554655 h 554655"/>
                <a:gd name="connsiteX139" fmla="*/ 1046303 w 1460435"/>
                <a:gd name="connsiteY139" fmla="*/ 554655 h 554655"/>
                <a:gd name="connsiteX140" fmla="*/ 1038075 w 1460435"/>
                <a:gd name="connsiteY140" fmla="*/ 554655 h 554655"/>
                <a:gd name="connsiteX141" fmla="*/ 1038074 w 1460435"/>
                <a:gd name="connsiteY141" fmla="*/ 554655 h 554655"/>
                <a:gd name="connsiteX142" fmla="*/ 1014845 w 1460435"/>
                <a:gd name="connsiteY142" fmla="*/ 554655 h 554655"/>
                <a:gd name="connsiteX143" fmla="*/ 1014842 w 1460435"/>
                <a:gd name="connsiteY143" fmla="*/ 554655 h 554655"/>
                <a:gd name="connsiteX144" fmla="*/ 994609 w 1460435"/>
                <a:gd name="connsiteY144" fmla="*/ 554655 h 554655"/>
                <a:gd name="connsiteX145" fmla="*/ 994607 w 1460435"/>
                <a:gd name="connsiteY145" fmla="*/ 554655 h 554655"/>
                <a:gd name="connsiteX146" fmla="*/ 994596 w 1460435"/>
                <a:gd name="connsiteY146" fmla="*/ 554655 h 554655"/>
                <a:gd name="connsiteX147" fmla="*/ 994595 w 1460435"/>
                <a:gd name="connsiteY147" fmla="*/ 554655 h 554655"/>
                <a:gd name="connsiteX148" fmla="*/ 986380 w 1460435"/>
                <a:gd name="connsiteY148" fmla="*/ 554655 h 554655"/>
                <a:gd name="connsiteX149" fmla="*/ 986377 w 1460435"/>
                <a:gd name="connsiteY149" fmla="*/ 554655 h 554655"/>
                <a:gd name="connsiteX150" fmla="*/ 986366 w 1460435"/>
                <a:gd name="connsiteY150" fmla="*/ 554655 h 554655"/>
                <a:gd name="connsiteX151" fmla="*/ 966131 w 1460435"/>
                <a:gd name="connsiteY151" fmla="*/ 554655 h 554655"/>
                <a:gd name="connsiteX152" fmla="*/ 966130 w 1460435"/>
                <a:gd name="connsiteY152" fmla="*/ 554655 h 554655"/>
                <a:gd name="connsiteX153" fmla="*/ 957609 w 1460435"/>
                <a:gd name="connsiteY153" fmla="*/ 554655 h 554655"/>
                <a:gd name="connsiteX154" fmla="*/ 942902 w 1460435"/>
                <a:gd name="connsiteY154" fmla="*/ 554655 h 554655"/>
                <a:gd name="connsiteX155" fmla="*/ 942899 w 1460435"/>
                <a:gd name="connsiteY155" fmla="*/ 554655 h 554655"/>
                <a:gd name="connsiteX156" fmla="*/ 934672 w 1460435"/>
                <a:gd name="connsiteY156" fmla="*/ 554655 h 554655"/>
                <a:gd name="connsiteX157" fmla="*/ 934669 w 1460435"/>
                <a:gd name="connsiteY157" fmla="*/ 554655 h 554655"/>
                <a:gd name="connsiteX158" fmla="*/ 921507 w 1460435"/>
                <a:gd name="connsiteY158" fmla="*/ 554655 h 554655"/>
                <a:gd name="connsiteX159" fmla="*/ 921506 w 1460435"/>
                <a:gd name="connsiteY159" fmla="*/ 554655 h 554655"/>
                <a:gd name="connsiteX160" fmla="*/ 914436 w 1460435"/>
                <a:gd name="connsiteY160" fmla="*/ 554655 h 554655"/>
                <a:gd name="connsiteX161" fmla="*/ 914434 w 1460435"/>
                <a:gd name="connsiteY161" fmla="*/ 554655 h 554655"/>
                <a:gd name="connsiteX162" fmla="*/ 914423 w 1460435"/>
                <a:gd name="connsiteY162" fmla="*/ 554655 h 554655"/>
                <a:gd name="connsiteX163" fmla="*/ 914422 w 1460435"/>
                <a:gd name="connsiteY163" fmla="*/ 554655 h 554655"/>
                <a:gd name="connsiteX164" fmla="*/ 905915 w 1460435"/>
                <a:gd name="connsiteY164" fmla="*/ 554655 h 554655"/>
                <a:gd name="connsiteX165" fmla="*/ 905912 w 1460435"/>
                <a:gd name="connsiteY165" fmla="*/ 554655 h 554655"/>
                <a:gd name="connsiteX166" fmla="*/ 885666 w 1460435"/>
                <a:gd name="connsiteY166" fmla="*/ 554655 h 554655"/>
                <a:gd name="connsiteX167" fmla="*/ 885665 w 1460435"/>
                <a:gd name="connsiteY167" fmla="*/ 554655 h 554655"/>
                <a:gd name="connsiteX168" fmla="*/ 877436 w 1460435"/>
                <a:gd name="connsiteY168" fmla="*/ 554655 h 554655"/>
                <a:gd name="connsiteX169" fmla="*/ 869812 w 1460435"/>
                <a:gd name="connsiteY169" fmla="*/ 554655 h 554655"/>
                <a:gd name="connsiteX170" fmla="*/ 869809 w 1460435"/>
                <a:gd name="connsiteY170" fmla="*/ 554655 h 554655"/>
                <a:gd name="connsiteX171" fmla="*/ 862729 w 1460435"/>
                <a:gd name="connsiteY171" fmla="*/ 554655 h 554655"/>
                <a:gd name="connsiteX172" fmla="*/ 862726 w 1460435"/>
                <a:gd name="connsiteY172" fmla="*/ 554655 h 554655"/>
                <a:gd name="connsiteX173" fmla="*/ 849563 w 1460435"/>
                <a:gd name="connsiteY173" fmla="*/ 554655 h 554655"/>
                <a:gd name="connsiteX174" fmla="*/ 849562 w 1460435"/>
                <a:gd name="connsiteY174" fmla="*/ 554655 h 554655"/>
                <a:gd name="connsiteX175" fmla="*/ 841334 w 1460435"/>
                <a:gd name="connsiteY175" fmla="*/ 554655 h 554655"/>
                <a:gd name="connsiteX176" fmla="*/ 841333 w 1460435"/>
                <a:gd name="connsiteY176" fmla="*/ 554655 h 554655"/>
                <a:gd name="connsiteX177" fmla="*/ 833972 w 1460435"/>
                <a:gd name="connsiteY177" fmla="*/ 554655 h 554655"/>
                <a:gd name="connsiteX178" fmla="*/ 833969 w 1460435"/>
                <a:gd name="connsiteY178" fmla="*/ 554655 h 554655"/>
                <a:gd name="connsiteX179" fmla="*/ 825742 w 1460435"/>
                <a:gd name="connsiteY179" fmla="*/ 554655 h 554655"/>
                <a:gd name="connsiteX180" fmla="*/ 825739 w 1460435"/>
                <a:gd name="connsiteY180" fmla="*/ 554655 h 554655"/>
                <a:gd name="connsiteX181" fmla="*/ 812577 w 1460435"/>
                <a:gd name="connsiteY181" fmla="*/ 554655 h 554655"/>
                <a:gd name="connsiteX182" fmla="*/ 812576 w 1460435"/>
                <a:gd name="connsiteY182" fmla="*/ 554655 h 554655"/>
                <a:gd name="connsiteX183" fmla="*/ 805493 w 1460435"/>
                <a:gd name="connsiteY183" fmla="*/ 554655 h 554655"/>
                <a:gd name="connsiteX184" fmla="*/ 805492 w 1460435"/>
                <a:gd name="connsiteY184" fmla="*/ 554655 h 554655"/>
                <a:gd name="connsiteX185" fmla="*/ 797868 w 1460435"/>
                <a:gd name="connsiteY185" fmla="*/ 554655 h 554655"/>
                <a:gd name="connsiteX186" fmla="*/ 797866 w 1460435"/>
                <a:gd name="connsiteY186" fmla="*/ 554655 h 554655"/>
                <a:gd name="connsiteX187" fmla="*/ 789639 w 1460435"/>
                <a:gd name="connsiteY187" fmla="*/ 554655 h 554655"/>
                <a:gd name="connsiteX188" fmla="*/ 789636 w 1460435"/>
                <a:gd name="connsiteY188" fmla="*/ 554655 h 554655"/>
                <a:gd name="connsiteX189" fmla="*/ 769390 w 1460435"/>
                <a:gd name="connsiteY189" fmla="*/ 554655 h 554655"/>
                <a:gd name="connsiteX190" fmla="*/ 769389 w 1460435"/>
                <a:gd name="connsiteY190" fmla="*/ 554655 h 554655"/>
                <a:gd name="connsiteX191" fmla="*/ 760882 w 1460435"/>
                <a:gd name="connsiteY191" fmla="*/ 554655 h 554655"/>
                <a:gd name="connsiteX192" fmla="*/ 760879 w 1460435"/>
                <a:gd name="connsiteY192" fmla="*/ 554655 h 554655"/>
                <a:gd name="connsiteX193" fmla="*/ 760868 w 1460435"/>
                <a:gd name="connsiteY193" fmla="*/ 554655 h 554655"/>
                <a:gd name="connsiteX194" fmla="*/ 753799 w 1460435"/>
                <a:gd name="connsiteY194" fmla="*/ 554655 h 554655"/>
                <a:gd name="connsiteX195" fmla="*/ 753796 w 1460435"/>
                <a:gd name="connsiteY195" fmla="*/ 554655 h 554655"/>
                <a:gd name="connsiteX196" fmla="*/ 740633 w 1460435"/>
                <a:gd name="connsiteY196" fmla="*/ 554655 h 554655"/>
                <a:gd name="connsiteX197" fmla="*/ 740632 w 1460435"/>
                <a:gd name="connsiteY197" fmla="*/ 554655 h 554655"/>
                <a:gd name="connsiteX198" fmla="*/ 732404 w 1460435"/>
                <a:gd name="connsiteY198" fmla="*/ 554655 h 554655"/>
                <a:gd name="connsiteX199" fmla="*/ 732403 w 1460435"/>
                <a:gd name="connsiteY199" fmla="*/ 554655 h 554655"/>
                <a:gd name="connsiteX200" fmla="*/ 717695 w 1460435"/>
                <a:gd name="connsiteY200" fmla="*/ 554655 h 554655"/>
                <a:gd name="connsiteX201" fmla="*/ 717693 w 1460435"/>
                <a:gd name="connsiteY201" fmla="*/ 554655 h 554655"/>
                <a:gd name="connsiteX202" fmla="*/ 709174 w 1460435"/>
                <a:gd name="connsiteY202" fmla="*/ 554655 h 554655"/>
                <a:gd name="connsiteX203" fmla="*/ 709171 w 1460435"/>
                <a:gd name="connsiteY203" fmla="*/ 554655 h 554655"/>
                <a:gd name="connsiteX204" fmla="*/ 688938 w 1460435"/>
                <a:gd name="connsiteY204" fmla="*/ 554655 h 554655"/>
                <a:gd name="connsiteX205" fmla="*/ 688936 w 1460435"/>
                <a:gd name="connsiteY205" fmla="*/ 554655 h 554655"/>
                <a:gd name="connsiteX206" fmla="*/ 688925 w 1460435"/>
                <a:gd name="connsiteY206" fmla="*/ 554655 h 554655"/>
                <a:gd name="connsiteX207" fmla="*/ 688924 w 1460435"/>
                <a:gd name="connsiteY207" fmla="*/ 554655 h 554655"/>
                <a:gd name="connsiteX208" fmla="*/ 680709 w 1460435"/>
                <a:gd name="connsiteY208" fmla="*/ 554655 h 554655"/>
                <a:gd name="connsiteX209" fmla="*/ 680706 w 1460435"/>
                <a:gd name="connsiteY209" fmla="*/ 554655 h 554655"/>
                <a:gd name="connsiteX210" fmla="*/ 680695 w 1460435"/>
                <a:gd name="connsiteY210" fmla="*/ 554655 h 554655"/>
                <a:gd name="connsiteX211" fmla="*/ 660460 w 1460435"/>
                <a:gd name="connsiteY211" fmla="*/ 554655 h 554655"/>
                <a:gd name="connsiteX212" fmla="*/ 660459 w 1460435"/>
                <a:gd name="connsiteY212" fmla="*/ 554655 h 554655"/>
                <a:gd name="connsiteX213" fmla="*/ 637231 w 1460435"/>
                <a:gd name="connsiteY213" fmla="*/ 554655 h 554655"/>
                <a:gd name="connsiteX214" fmla="*/ 637228 w 1460435"/>
                <a:gd name="connsiteY214" fmla="*/ 554655 h 554655"/>
                <a:gd name="connsiteX215" fmla="*/ 629001 w 1460435"/>
                <a:gd name="connsiteY215" fmla="*/ 554655 h 554655"/>
                <a:gd name="connsiteX216" fmla="*/ 628998 w 1460435"/>
                <a:gd name="connsiteY216" fmla="*/ 554655 h 554655"/>
                <a:gd name="connsiteX217" fmla="*/ 615836 w 1460435"/>
                <a:gd name="connsiteY217" fmla="*/ 554655 h 554655"/>
                <a:gd name="connsiteX218" fmla="*/ 615835 w 1460435"/>
                <a:gd name="connsiteY218" fmla="*/ 554655 h 554655"/>
                <a:gd name="connsiteX219" fmla="*/ 608765 w 1460435"/>
                <a:gd name="connsiteY219" fmla="*/ 554655 h 554655"/>
                <a:gd name="connsiteX220" fmla="*/ 608763 w 1460435"/>
                <a:gd name="connsiteY220" fmla="*/ 554655 h 554655"/>
                <a:gd name="connsiteX221" fmla="*/ 608752 w 1460435"/>
                <a:gd name="connsiteY221" fmla="*/ 554655 h 554655"/>
                <a:gd name="connsiteX222" fmla="*/ 608751 w 1460435"/>
                <a:gd name="connsiteY222" fmla="*/ 554655 h 554655"/>
                <a:gd name="connsiteX223" fmla="*/ 564141 w 1460435"/>
                <a:gd name="connsiteY223" fmla="*/ 554655 h 554655"/>
                <a:gd name="connsiteX224" fmla="*/ 564138 w 1460435"/>
                <a:gd name="connsiteY224" fmla="*/ 554655 h 554655"/>
                <a:gd name="connsiteX225" fmla="*/ 557058 w 1460435"/>
                <a:gd name="connsiteY225" fmla="*/ 554655 h 554655"/>
                <a:gd name="connsiteX226" fmla="*/ 557055 w 1460435"/>
                <a:gd name="connsiteY226" fmla="*/ 554655 h 554655"/>
                <a:gd name="connsiteX227" fmla="*/ 543892 w 1460435"/>
                <a:gd name="connsiteY227" fmla="*/ 554655 h 554655"/>
                <a:gd name="connsiteX228" fmla="*/ 543891 w 1460435"/>
                <a:gd name="connsiteY228" fmla="*/ 554655 h 554655"/>
                <a:gd name="connsiteX229" fmla="*/ 535663 w 1460435"/>
                <a:gd name="connsiteY229" fmla="*/ 554655 h 554655"/>
                <a:gd name="connsiteX230" fmla="*/ 535662 w 1460435"/>
                <a:gd name="connsiteY230" fmla="*/ 554655 h 554655"/>
                <a:gd name="connsiteX231" fmla="*/ 492197 w 1460435"/>
                <a:gd name="connsiteY231" fmla="*/ 554655 h 554655"/>
                <a:gd name="connsiteX232" fmla="*/ 492195 w 1460435"/>
                <a:gd name="connsiteY232" fmla="*/ 554655 h 554655"/>
                <a:gd name="connsiteX233" fmla="*/ 277328 w 1460435"/>
                <a:gd name="connsiteY233" fmla="*/ 554654 h 554655"/>
                <a:gd name="connsiteX234" fmla="*/ 5634 w 1460435"/>
                <a:gd name="connsiteY234" fmla="*/ 333218 h 554655"/>
                <a:gd name="connsiteX235" fmla="*/ 0 w 1460435"/>
                <a:gd name="connsiteY235" fmla="*/ 277328 h 554655"/>
                <a:gd name="connsiteX236" fmla="*/ 5634 w 1460435"/>
                <a:gd name="connsiteY236" fmla="*/ 221437 h 554655"/>
                <a:gd name="connsiteX237" fmla="*/ 277328 w 1460435"/>
                <a:gd name="connsiteY237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</a:cxnLst>
              <a:rect l="l" t="t" r="r" b="b"/>
              <a:pathLst>
                <a:path w="1460435" h="554655">
                  <a:moveTo>
                    <a:pt x="277328" y="0"/>
                  </a:moveTo>
                  <a:lnTo>
                    <a:pt x="320795" y="0"/>
                  </a:lnTo>
                  <a:lnTo>
                    <a:pt x="329024" y="0"/>
                  </a:lnTo>
                  <a:lnTo>
                    <a:pt x="342188" y="0"/>
                  </a:lnTo>
                  <a:lnTo>
                    <a:pt x="349271" y="0"/>
                  </a:lnTo>
                  <a:lnTo>
                    <a:pt x="393884" y="0"/>
                  </a:lnTo>
                  <a:lnTo>
                    <a:pt x="393896" y="0"/>
                  </a:lnTo>
                  <a:lnTo>
                    <a:pt x="400968" y="0"/>
                  </a:lnTo>
                  <a:lnTo>
                    <a:pt x="412023" y="0"/>
                  </a:lnTo>
                  <a:lnTo>
                    <a:pt x="414131" y="0"/>
                  </a:lnTo>
                  <a:lnTo>
                    <a:pt x="422361" y="0"/>
                  </a:lnTo>
                  <a:lnTo>
                    <a:pt x="445592" y="0"/>
                  </a:lnTo>
                  <a:lnTo>
                    <a:pt x="463719" y="0"/>
                  </a:lnTo>
                  <a:lnTo>
                    <a:pt x="465828" y="0"/>
                  </a:lnTo>
                  <a:lnTo>
                    <a:pt x="465839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83966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02826" y="0"/>
                  </a:lnTo>
                  <a:lnTo>
                    <a:pt x="517536" y="0"/>
                  </a:lnTo>
                  <a:lnTo>
                    <a:pt x="525765" y="0"/>
                  </a:lnTo>
                  <a:lnTo>
                    <a:pt x="535663" y="0"/>
                  </a:lnTo>
                  <a:lnTo>
                    <a:pt x="538929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54522" y="0"/>
                  </a:lnTo>
                  <a:lnTo>
                    <a:pt x="557056" y="0"/>
                  </a:lnTo>
                  <a:lnTo>
                    <a:pt x="564139" y="0"/>
                  </a:lnTo>
                  <a:lnTo>
                    <a:pt x="574769" y="0"/>
                  </a:lnTo>
                  <a:lnTo>
                    <a:pt x="582999" y="0"/>
                  </a:lnTo>
                  <a:lnTo>
                    <a:pt x="590625" y="0"/>
                  </a:lnTo>
                  <a:lnTo>
                    <a:pt x="597709" y="0"/>
                  </a:lnTo>
                  <a:lnTo>
                    <a:pt x="608752" y="0"/>
                  </a:lnTo>
                  <a:lnTo>
                    <a:pt x="608764" y="0"/>
                  </a:lnTo>
                  <a:lnTo>
                    <a:pt x="610872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26466" y="0"/>
                  </a:lnTo>
                  <a:lnTo>
                    <a:pt x="628999" y="0"/>
                  </a:lnTo>
                  <a:lnTo>
                    <a:pt x="634695" y="0"/>
                  </a:lnTo>
                  <a:lnTo>
                    <a:pt x="637229" y="0"/>
                  </a:lnTo>
                  <a:lnTo>
                    <a:pt x="647859" y="0"/>
                  </a:lnTo>
                  <a:lnTo>
                    <a:pt x="654942" y="0"/>
                  </a:lnTo>
                  <a:lnTo>
                    <a:pt x="660460" y="0"/>
                  </a:lnTo>
                  <a:lnTo>
                    <a:pt x="662569" y="0"/>
                  </a:lnTo>
                  <a:lnTo>
                    <a:pt x="670798" y="0"/>
                  </a:lnTo>
                  <a:lnTo>
                    <a:pt x="680696" y="0"/>
                  </a:lnTo>
                  <a:lnTo>
                    <a:pt x="680707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699555" y="0"/>
                  </a:lnTo>
                  <a:lnTo>
                    <a:pt x="699567" y="0"/>
                  </a:lnTo>
                  <a:lnTo>
                    <a:pt x="706639" y="0"/>
                  </a:lnTo>
                  <a:lnTo>
                    <a:pt x="709172" y="0"/>
                  </a:lnTo>
                  <a:lnTo>
                    <a:pt x="717694" y="0"/>
                  </a:lnTo>
                  <a:lnTo>
                    <a:pt x="719802" y="0"/>
                  </a:lnTo>
                  <a:lnTo>
                    <a:pt x="728032" y="0"/>
                  </a:lnTo>
                  <a:lnTo>
                    <a:pt x="732404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51263" y="0"/>
                  </a:lnTo>
                  <a:lnTo>
                    <a:pt x="753797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69390" y="0"/>
                  </a:lnTo>
                  <a:lnTo>
                    <a:pt x="771499" y="0"/>
                  </a:lnTo>
                  <a:lnTo>
                    <a:pt x="771510" y="0"/>
                  </a:lnTo>
                  <a:lnTo>
                    <a:pt x="779728" y="0"/>
                  </a:lnTo>
                  <a:lnTo>
                    <a:pt x="779740" y="0"/>
                  </a:lnTo>
                  <a:lnTo>
                    <a:pt x="789637" y="0"/>
                  </a:lnTo>
                  <a:lnTo>
                    <a:pt x="797867" y="0"/>
                  </a:lnTo>
                  <a:lnTo>
                    <a:pt x="799975" y="0"/>
                  </a:lnTo>
                  <a:lnTo>
                    <a:pt x="805493" y="0"/>
                  </a:lnTo>
                  <a:lnTo>
                    <a:pt x="812577" y="0"/>
                  </a:lnTo>
                  <a:lnTo>
                    <a:pt x="823207" y="0"/>
                  </a:lnTo>
                  <a:lnTo>
                    <a:pt x="825740" y="0"/>
                  </a:lnTo>
                  <a:lnTo>
                    <a:pt x="831436" y="0"/>
                  </a:lnTo>
                  <a:lnTo>
                    <a:pt x="833970" y="0"/>
                  </a:lnTo>
                  <a:lnTo>
                    <a:pt x="841334" y="0"/>
                  </a:lnTo>
                  <a:lnTo>
                    <a:pt x="844600" y="0"/>
                  </a:lnTo>
                  <a:lnTo>
                    <a:pt x="849563" y="0"/>
                  </a:lnTo>
                  <a:lnTo>
                    <a:pt x="851672" y="0"/>
                  </a:lnTo>
                  <a:lnTo>
                    <a:pt x="851683" y="0"/>
                  </a:lnTo>
                  <a:lnTo>
                    <a:pt x="862727" y="0"/>
                  </a:lnTo>
                  <a:lnTo>
                    <a:pt x="869810" y="0"/>
                  </a:lnTo>
                  <a:lnTo>
                    <a:pt x="877437" y="0"/>
                  </a:lnTo>
                  <a:lnTo>
                    <a:pt x="885666" y="0"/>
                  </a:lnTo>
                  <a:lnTo>
                    <a:pt x="896296" y="0"/>
                  </a:lnTo>
                  <a:lnTo>
                    <a:pt x="903380" y="0"/>
                  </a:lnTo>
                  <a:lnTo>
                    <a:pt x="905913" y="0"/>
                  </a:lnTo>
                  <a:lnTo>
                    <a:pt x="914423" y="0"/>
                  </a:lnTo>
                  <a:lnTo>
                    <a:pt x="914435" y="0"/>
                  </a:lnTo>
                  <a:lnTo>
                    <a:pt x="916543" y="0"/>
                  </a:lnTo>
                  <a:lnTo>
                    <a:pt x="921507" y="0"/>
                  </a:lnTo>
                  <a:lnTo>
                    <a:pt x="924773" y="0"/>
                  </a:lnTo>
                  <a:lnTo>
                    <a:pt x="934670" y="0"/>
                  </a:lnTo>
                  <a:lnTo>
                    <a:pt x="942900" y="0"/>
                  </a:lnTo>
                  <a:lnTo>
                    <a:pt x="957610" y="0"/>
                  </a:lnTo>
                  <a:lnTo>
                    <a:pt x="966131" y="0"/>
                  </a:lnTo>
                  <a:lnTo>
                    <a:pt x="968240" y="0"/>
                  </a:lnTo>
                  <a:lnTo>
                    <a:pt x="976469" y="0"/>
                  </a:lnTo>
                  <a:lnTo>
                    <a:pt x="986367" y="0"/>
                  </a:lnTo>
                  <a:lnTo>
                    <a:pt x="986378" y="0"/>
                  </a:lnTo>
                  <a:lnTo>
                    <a:pt x="994596" y="0"/>
                  </a:lnTo>
                  <a:lnTo>
                    <a:pt x="994608" y="0"/>
                  </a:lnTo>
                  <a:lnTo>
                    <a:pt x="996716" y="0"/>
                  </a:lnTo>
                  <a:lnTo>
                    <a:pt x="1014843" y="0"/>
                  </a:lnTo>
                  <a:lnTo>
                    <a:pt x="1038075" y="0"/>
                  </a:lnTo>
                  <a:lnTo>
                    <a:pt x="1046304" y="0"/>
                  </a:lnTo>
                  <a:lnTo>
                    <a:pt x="1048413" y="0"/>
                  </a:lnTo>
                  <a:lnTo>
                    <a:pt x="1059468" y="0"/>
                  </a:lnTo>
                  <a:lnTo>
                    <a:pt x="1066540" y="0"/>
                  </a:lnTo>
                  <a:lnTo>
                    <a:pt x="1066551" y="0"/>
                  </a:lnTo>
                  <a:lnTo>
                    <a:pt x="1111164" y="0"/>
                  </a:lnTo>
                  <a:lnTo>
                    <a:pt x="1118248" y="0"/>
                  </a:lnTo>
                  <a:lnTo>
                    <a:pt x="1131411" y="0"/>
                  </a:lnTo>
                  <a:lnTo>
                    <a:pt x="1139641" y="0"/>
                  </a:lnTo>
                  <a:lnTo>
                    <a:pt x="1183108" y="0"/>
                  </a:lnTo>
                  <a:cubicBezTo>
                    <a:pt x="1336272" y="0"/>
                    <a:pt x="1460435" y="124164"/>
                    <a:pt x="1460435" y="277328"/>
                  </a:cubicBezTo>
                  <a:lnTo>
                    <a:pt x="1460434" y="277328"/>
                  </a:lnTo>
                  <a:cubicBezTo>
                    <a:pt x="1460434" y="430492"/>
                    <a:pt x="1336271" y="554655"/>
                    <a:pt x="1183107" y="554655"/>
                  </a:cubicBezTo>
                  <a:lnTo>
                    <a:pt x="1139643" y="554655"/>
                  </a:lnTo>
                  <a:lnTo>
                    <a:pt x="1139640" y="554655"/>
                  </a:lnTo>
                  <a:lnTo>
                    <a:pt x="1131413" y="554655"/>
                  </a:lnTo>
                  <a:lnTo>
                    <a:pt x="1131410" y="554655"/>
                  </a:lnTo>
                  <a:lnTo>
                    <a:pt x="1118248" y="554655"/>
                  </a:lnTo>
                  <a:lnTo>
                    <a:pt x="1118247" y="554655"/>
                  </a:lnTo>
                  <a:lnTo>
                    <a:pt x="1111164" y="554655"/>
                  </a:lnTo>
                  <a:lnTo>
                    <a:pt x="1111163" y="554655"/>
                  </a:lnTo>
                  <a:lnTo>
                    <a:pt x="1066553" y="554655"/>
                  </a:lnTo>
                  <a:lnTo>
                    <a:pt x="1066550" y="554655"/>
                  </a:lnTo>
                  <a:lnTo>
                    <a:pt x="1066539" y="554655"/>
                  </a:lnTo>
                  <a:lnTo>
                    <a:pt x="1059470" y="554655"/>
                  </a:lnTo>
                  <a:lnTo>
                    <a:pt x="1059467" y="554655"/>
                  </a:lnTo>
                  <a:lnTo>
                    <a:pt x="1046304" y="554655"/>
                  </a:lnTo>
                  <a:lnTo>
                    <a:pt x="1046303" y="554655"/>
                  </a:lnTo>
                  <a:lnTo>
                    <a:pt x="1038075" y="554655"/>
                  </a:lnTo>
                  <a:lnTo>
                    <a:pt x="1038074" y="554655"/>
                  </a:lnTo>
                  <a:lnTo>
                    <a:pt x="1014845" y="554655"/>
                  </a:lnTo>
                  <a:lnTo>
                    <a:pt x="1014842" y="554655"/>
                  </a:lnTo>
                  <a:lnTo>
                    <a:pt x="994609" y="554655"/>
                  </a:lnTo>
                  <a:lnTo>
                    <a:pt x="994607" y="554655"/>
                  </a:lnTo>
                  <a:lnTo>
                    <a:pt x="994596" y="554655"/>
                  </a:lnTo>
                  <a:lnTo>
                    <a:pt x="994595" y="554655"/>
                  </a:lnTo>
                  <a:lnTo>
                    <a:pt x="986380" y="554655"/>
                  </a:lnTo>
                  <a:lnTo>
                    <a:pt x="986377" y="554655"/>
                  </a:lnTo>
                  <a:lnTo>
                    <a:pt x="986366" y="554655"/>
                  </a:lnTo>
                  <a:lnTo>
                    <a:pt x="966131" y="554655"/>
                  </a:lnTo>
                  <a:lnTo>
                    <a:pt x="966130" y="554655"/>
                  </a:lnTo>
                  <a:lnTo>
                    <a:pt x="957609" y="554655"/>
                  </a:lnTo>
                  <a:lnTo>
                    <a:pt x="942902" y="554655"/>
                  </a:lnTo>
                  <a:lnTo>
                    <a:pt x="942899" y="554655"/>
                  </a:lnTo>
                  <a:lnTo>
                    <a:pt x="934672" y="554655"/>
                  </a:lnTo>
                  <a:lnTo>
                    <a:pt x="934669" y="554655"/>
                  </a:lnTo>
                  <a:lnTo>
                    <a:pt x="921507" y="554655"/>
                  </a:lnTo>
                  <a:lnTo>
                    <a:pt x="921506" y="554655"/>
                  </a:lnTo>
                  <a:lnTo>
                    <a:pt x="914436" y="554655"/>
                  </a:lnTo>
                  <a:lnTo>
                    <a:pt x="914434" y="554655"/>
                  </a:lnTo>
                  <a:lnTo>
                    <a:pt x="914423" y="554655"/>
                  </a:lnTo>
                  <a:lnTo>
                    <a:pt x="914422" y="554655"/>
                  </a:lnTo>
                  <a:lnTo>
                    <a:pt x="905915" y="554655"/>
                  </a:lnTo>
                  <a:lnTo>
                    <a:pt x="90591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77436" y="554655"/>
                  </a:lnTo>
                  <a:lnTo>
                    <a:pt x="869812" y="554655"/>
                  </a:lnTo>
                  <a:lnTo>
                    <a:pt x="869809" y="554655"/>
                  </a:lnTo>
                  <a:lnTo>
                    <a:pt x="862729" y="554655"/>
                  </a:lnTo>
                  <a:lnTo>
                    <a:pt x="862726" y="554655"/>
                  </a:lnTo>
                  <a:lnTo>
                    <a:pt x="849563" y="554655"/>
                  </a:lnTo>
                  <a:lnTo>
                    <a:pt x="849562" y="554655"/>
                  </a:lnTo>
                  <a:lnTo>
                    <a:pt x="841334" y="554655"/>
                  </a:lnTo>
                  <a:lnTo>
                    <a:pt x="841333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25742" y="554655"/>
                  </a:lnTo>
                  <a:lnTo>
                    <a:pt x="825739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805493" y="554655"/>
                  </a:lnTo>
                  <a:lnTo>
                    <a:pt x="805492" y="554655"/>
                  </a:lnTo>
                  <a:lnTo>
                    <a:pt x="797868" y="554655"/>
                  </a:lnTo>
                  <a:lnTo>
                    <a:pt x="797866" y="554655"/>
                  </a:lnTo>
                  <a:lnTo>
                    <a:pt x="789639" y="554655"/>
                  </a:lnTo>
                  <a:lnTo>
                    <a:pt x="789636" y="554655"/>
                  </a:lnTo>
                  <a:lnTo>
                    <a:pt x="769390" y="554655"/>
                  </a:lnTo>
                  <a:lnTo>
                    <a:pt x="769389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53799" y="554655"/>
                  </a:lnTo>
                  <a:lnTo>
                    <a:pt x="753796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32404" y="554655"/>
                  </a:lnTo>
                  <a:lnTo>
                    <a:pt x="732403" y="554655"/>
                  </a:lnTo>
                  <a:lnTo>
                    <a:pt x="717695" y="554655"/>
                  </a:lnTo>
                  <a:lnTo>
                    <a:pt x="717693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80709" y="554655"/>
                  </a:lnTo>
                  <a:lnTo>
                    <a:pt x="680706" y="554655"/>
                  </a:lnTo>
                  <a:lnTo>
                    <a:pt x="680695" y="554655"/>
                  </a:lnTo>
                  <a:lnTo>
                    <a:pt x="660460" y="554655"/>
                  </a:lnTo>
                  <a:lnTo>
                    <a:pt x="660459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29001" y="554655"/>
                  </a:lnTo>
                  <a:lnTo>
                    <a:pt x="62899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608765" y="554655"/>
                  </a:lnTo>
                  <a:lnTo>
                    <a:pt x="608763" y="554655"/>
                  </a:lnTo>
                  <a:lnTo>
                    <a:pt x="608752" y="554655"/>
                  </a:lnTo>
                  <a:lnTo>
                    <a:pt x="608751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57058" y="554655"/>
                  </a:lnTo>
                  <a:lnTo>
                    <a:pt x="557055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535663" y="554655"/>
                  </a:lnTo>
                  <a:lnTo>
                    <a:pt x="535662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pic>
          <p:nvPicPr>
            <p:cNvPr id="22" name="Picture 2" descr="новый логотип сбербанка 2020 на прозрачном фоне (пнг)– новый логотип  сбербанка 2020 png">
              <a:extLst>
                <a:ext uri="{FF2B5EF4-FFF2-40B4-BE49-F238E27FC236}">
                  <a16:creationId xmlns:a16="http://schemas.microsoft.com/office/drawing/2014/main" xmlns="" id="{2D08F332-50E1-7D4A-8629-94C31F4061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69926" y="5400192"/>
              <a:ext cx="708264" cy="1979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5" name="Полилиния 84"/>
            <p:cNvSpPr/>
            <p:nvPr/>
          </p:nvSpPr>
          <p:spPr>
            <a:xfrm>
              <a:off x="8985118" y="5228923"/>
              <a:ext cx="1036075" cy="537061"/>
            </a:xfrm>
            <a:custGeom>
              <a:avLst/>
              <a:gdLst>
                <a:gd name="connsiteX0" fmla="*/ 277328 w 1070017"/>
                <a:gd name="connsiteY0" fmla="*/ 0 h 554655"/>
                <a:gd name="connsiteX1" fmla="*/ 309137 w 1070017"/>
                <a:gd name="connsiteY1" fmla="*/ 0 h 554655"/>
                <a:gd name="connsiteX2" fmla="*/ 309149 w 1070017"/>
                <a:gd name="connsiteY2" fmla="*/ 0 h 554655"/>
                <a:gd name="connsiteX3" fmla="*/ 327276 w 1070017"/>
                <a:gd name="connsiteY3" fmla="*/ 0 h 554655"/>
                <a:gd name="connsiteX4" fmla="*/ 329024 w 1070017"/>
                <a:gd name="connsiteY4" fmla="*/ 0 h 554655"/>
                <a:gd name="connsiteX5" fmla="*/ 329384 w 1070017"/>
                <a:gd name="connsiteY5" fmla="*/ 0 h 554655"/>
                <a:gd name="connsiteX6" fmla="*/ 349271 w 1070017"/>
                <a:gd name="connsiteY6" fmla="*/ 0 h 554655"/>
                <a:gd name="connsiteX7" fmla="*/ 360845 w 1070017"/>
                <a:gd name="connsiteY7" fmla="*/ 0 h 554655"/>
                <a:gd name="connsiteX8" fmla="*/ 378972 w 1070017"/>
                <a:gd name="connsiteY8" fmla="*/ 0 h 554655"/>
                <a:gd name="connsiteX9" fmla="*/ 381081 w 1070017"/>
                <a:gd name="connsiteY9" fmla="*/ 0 h 554655"/>
                <a:gd name="connsiteX10" fmla="*/ 381092 w 1070017"/>
                <a:gd name="connsiteY10" fmla="*/ 0 h 554655"/>
                <a:gd name="connsiteX11" fmla="*/ 399219 w 1070017"/>
                <a:gd name="connsiteY11" fmla="*/ 0 h 554655"/>
                <a:gd name="connsiteX12" fmla="*/ 400968 w 1070017"/>
                <a:gd name="connsiteY12" fmla="*/ 0 h 554655"/>
                <a:gd name="connsiteX13" fmla="*/ 422361 w 1070017"/>
                <a:gd name="connsiteY13" fmla="*/ 0 h 554655"/>
                <a:gd name="connsiteX14" fmla="*/ 432789 w 1070017"/>
                <a:gd name="connsiteY14" fmla="*/ 0 h 554655"/>
                <a:gd name="connsiteX15" fmla="*/ 450916 w 1070017"/>
                <a:gd name="connsiteY15" fmla="*/ 0 h 554655"/>
                <a:gd name="connsiteX16" fmla="*/ 454182 w 1070017"/>
                <a:gd name="connsiteY16" fmla="*/ 0 h 554655"/>
                <a:gd name="connsiteX17" fmla="*/ 472309 w 1070017"/>
                <a:gd name="connsiteY17" fmla="*/ 0 h 554655"/>
                <a:gd name="connsiteX18" fmla="*/ 474057 w 1070017"/>
                <a:gd name="connsiteY18" fmla="*/ 0 h 554655"/>
                <a:gd name="connsiteX19" fmla="*/ 474069 w 1070017"/>
                <a:gd name="connsiteY19" fmla="*/ 0 h 554655"/>
                <a:gd name="connsiteX20" fmla="*/ 492196 w 1070017"/>
                <a:gd name="connsiteY20" fmla="*/ 0 h 554655"/>
                <a:gd name="connsiteX21" fmla="*/ 494304 w 1070017"/>
                <a:gd name="connsiteY21" fmla="*/ 0 h 554655"/>
                <a:gd name="connsiteX22" fmla="*/ 505878 w 1070017"/>
                <a:gd name="connsiteY22" fmla="*/ 0 h 554655"/>
                <a:gd name="connsiteX23" fmla="*/ 524005 w 1070017"/>
                <a:gd name="connsiteY23" fmla="*/ 0 h 554655"/>
                <a:gd name="connsiteX24" fmla="*/ 524017 w 1070017"/>
                <a:gd name="connsiteY24" fmla="*/ 0 h 554655"/>
                <a:gd name="connsiteX25" fmla="*/ 525765 w 1070017"/>
                <a:gd name="connsiteY25" fmla="*/ 0 h 554655"/>
                <a:gd name="connsiteX26" fmla="*/ 526125 w 1070017"/>
                <a:gd name="connsiteY26" fmla="*/ 0 h 554655"/>
                <a:gd name="connsiteX27" fmla="*/ 543892 w 1070017"/>
                <a:gd name="connsiteY27" fmla="*/ 0 h 554655"/>
                <a:gd name="connsiteX28" fmla="*/ 544252 w 1070017"/>
                <a:gd name="connsiteY28" fmla="*/ 0 h 554655"/>
                <a:gd name="connsiteX29" fmla="*/ 546001 w 1070017"/>
                <a:gd name="connsiteY29" fmla="*/ 0 h 554655"/>
                <a:gd name="connsiteX30" fmla="*/ 546012 w 1070017"/>
                <a:gd name="connsiteY30" fmla="*/ 0 h 554655"/>
                <a:gd name="connsiteX31" fmla="*/ 564139 w 1070017"/>
                <a:gd name="connsiteY31" fmla="*/ 0 h 554655"/>
                <a:gd name="connsiteX32" fmla="*/ 575713 w 1070017"/>
                <a:gd name="connsiteY32" fmla="*/ 0 h 554655"/>
                <a:gd name="connsiteX33" fmla="*/ 577822 w 1070017"/>
                <a:gd name="connsiteY33" fmla="*/ 0 h 554655"/>
                <a:gd name="connsiteX34" fmla="*/ 595949 w 1070017"/>
                <a:gd name="connsiteY34" fmla="*/ 0 h 554655"/>
                <a:gd name="connsiteX35" fmla="*/ 595960 w 1070017"/>
                <a:gd name="connsiteY35" fmla="*/ 0 h 554655"/>
                <a:gd name="connsiteX36" fmla="*/ 597709 w 1070017"/>
                <a:gd name="connsiteY36" fmla="*/ 0 h 554655"/>
                <a:gd name="connsiteX37" fmla="*/ 615836 w 1070017"/>
                <a:gd name="connsiteY37" fmla="*/ 0 h 554655"/>
                <a:gd name="connsiteX38" fmla="*/ 619102 w 1070017"/>
                <a:gd name="connsiteY38" fmla="*/ 0 h 554655"/>
                <a:gd name="connsiteX39" fmla="*/ 637229 w 1070017"/>
                <a:gd name="connsiteY39" fmla="*/ 0 h 554655"/>
                <a:gd name="connsiteX40" fmla="*/ 647657 w 1070017"/>
                <a:gd name="connsiteY40" fmla="*/ 0 h 554655"/>
                <a:gd name="connsiteX41" fmla="*/ 669050 w 1070017"/>
                <a:gd name="connsiteY41" fmla="*/ 0 h 554655"/>
                <a:gd name="connsiteX42" fmla="*/ 670798 w 1070017"/>
                <a:gd name="connsiteY42" fmla="*/ 0 h 554655"/>
                <a:gd name="connsiteX43" fmla="*/ 688925 w 1070017"/>
                <a:gd name="connsiteY43" fmla="*/ 0 h 554655"/>
                <a:gd name="connsiteX44" fmla="*/ 688937 w 1070017"/>
                <a:gd name="connsiteY44" fmla="*/ 0 h 554655"/>
                <a:gd name="connsiteX45" fmla="*/ 691045 w 1070017"/>
                <a:gd name="connsiteY45" fmla="*/ 0 h 554655"/>
                <a:gd name="connsiteX46" fmla="*/ 709172 w 1070017"/>
                <a:gd name="connsiteY46" fmla="*/ 0 h 554655"/>
                <a:gd name="connsiteX47" fmla="*/ 720746 w 1070017"/>
                <a:gd name="connsiteY47" fmla="*/ 0 h 554655"/>
                <a:gd name="connsiteX48" fmla="*/ 740633 w 1070017"/>
                <a:gd name="connsiteY48" fmla="*/ 0 h 554655"/>
                <a:gd name="connsiteX49" fmla="*/ 740993 w 1070017"/>
                <a:gd name="connsiteY49" fmla="*/ 0 h 554655"/>
                <a:gd name="connsiteX50" fmla="*/ 742742 w 1070017"/>
                <a:gd name="connsiteY50" fmla="*/ 0 h 554655"/>
                <a:gd name="connsiteX51" fmla="*/ 760869 w 1070017"/>
                <a:gd name="connsiteY51" fmla="*/ 0 h 554655"/>
                <a:gd name="connsiteX52" fmla="*/ 760880 w 1070017"/>
                <a:gd name="connsiteY52" fmla="*/ 0 h 554655"/>
                <a:gd name="connsiteX53" fmla="*/ 792690 w 1070017"/>
                <a:gd name="connsiteY53" fmla="*/ 0 h 554655"/>
                <a:gd name="connsiteX54" fmla="*/ 1070017 w 1070017"/>
                <a:gd name="connsiteY54" fmla="*/ 277328 h 554655"/>
                <a:gd name="connsiteX55" fmla="*/ 1070016 w 1070017"/>
                <a:gd name="connsiteY55" fmla="*/ 277328 h 554655"/>
                <a:gd name="connsiteX56" fmla="*/ 792689 w 1070017"/>
                <a:gd name="connsiteY56" fmla="*/ 554655 h 554655"/>
                <a:gd name="connsiteX57" fmla="*/ 760882 w 1070017"/>
                <a:gd name="connsiteY57" fmla="*/ 554655 h 554655"/>
                <a:gd name="connsiteX58" fmla="*/ 760879 w 1070017"/>
                <a:gd name="connsiteY58" fmla="*/ 554655 h 554655"/>
                <a:gd name="connsiteX59" fmla="*/ 760868 w 1070017"/>
                <a:gd name="connsiteY59" fmla="*/ 554655 h 554655"/>
                <a:gd name="connsiteX60" fmla="*/ 740995 w 1070017"/>
                <a:gd name="connsiteY60" fmla="*/ 554655 h 554655"/>
                <a:gd name="connsiteX61" fmla="*/ 740992 w 1070017"/>
                <a:gd name="connsiteY61" fmla="*/ 554655 h 554655"/>
                <a:gd name="connsiteX62" fmla="*/ 740633 w 1070017"/>
                <a:gd name="connsiteY62" fmla="*/ 554655 h 554655"/>
                <a:gd name="connsiteX63" fmla="*/ 740632 w 1070017"/>
                <a:gd name="connsiteY63" fmla="*/ 554655 h 554655"/>
                <a:gd name="connsiteX64" fmla="*/ 720746 w 1070017"/>
                <a:gd name="connsiteY64" fmla="*/ 554655 h 554655"/>
                <a:gd name="connsiteX65" fmla="*/ 720745 w 1070017"/>
                <a:gd name="connsiteY65" fmla="*/ 554655 h 554655"/>
                <a:gd name="connsiteX66" fmla="*/ 709174 w 1070017"/>
                <a:gd name="connsiteY66" fmla="*/ 554655 h 554655"/>
                <a:gd name="connsiteX67" fmla="*/ 709171 w 1070017"/>
                <a:gd name="connsiteY67" fmla="*/ 554655 h 554655"/>
                <a:gd name="connsiteX68" fmla="*/ 688938 w 1070017"/>
                <a:gd name="connsiteY68" fmla="*/ 554655 h 554655"/>
                <a:gd name="connsiteX69" fmla="*/ 688936 w 1070017"/>
                <a:gd name="connsiteY69" fmla="*/ 554655 h 554655"/>
                <a:gd name="connsiteX70" fmla="*/ 688925 w 1070017"/>
                <a:gd name="connsiteY70" fmla="*/ 554655 h 554655"/>
                <a:gd name="connsiteX71" fmla="*/ 688924 w 1070017"/>
                <a:gd name="connsiteY71" fmla="*/ 554655 h 554655"/>
                <a:gd name="connsiteX72" fmla="*/ 669052 w 1070017"/>
                <a:gd name="connsiteY72" fmla="*/ 554655 h 554655"/>
                <a:gd name="connsiteX73" fmla="*/ 669049 w 1070017"/>
                <a:gd name="connsiteY73" fmla="*/ 554655 h 554655"/>
                <a:gd name="connsiteX74" fmla="*/ 647657 w 1070017"/>
                <a:gd name="connsiteY74" fmla="*/ 554655 h 554655"/>
                <a:gd name="connsiteX75" fmla="*/ 647656 w 1070017"/>
                <a:gd name="connsiteY75" fmla="*/ 554655 h 554655"/>
                <a:gd name="connsiteX76" fmla="*/ 637231 w 1070017"/>
                <a:gd name="connsiteY76" fmla="*/ 554655 h 554655"/>
                <a:gd name="connsiteX77" fmla="*/ 637228 w 1070017"/>
                <a:gd name="connsiteY77" fmla="*/ 554655 h 554655"/>
                <a:gd name="connsiteX78" fmla="*/ 615836 w 1070017"/>
                <a:gd name="connsiteY78" fmla="*/ 554655 h 554655"/>
                <a:gd name="connsiteX79" fmla="*/ 615835 w 1070017"/>
                <a:gd name="connsiteY79" fmla="*/ 554655 h 554655"/>
                <a:gd name="connsiteX80" fmla="*/ 595962 w 1070017"/>
                <a:gd name="connsiteY80" fmla="*/ 554655 h 554655"/>
                <a:gd name="connsiteX81" fmla="*/ 595959 w 1070017"/>
                <a:gd name="connsiteY81" fmla="*/ 554655 h 554655"/>
                <a:gd name="connsiteX82" fmla="*/ 595948 w 1070017"/>
                <a:gd name="connsiteY82" fmla="*/ 554655 h 554655"/>
                <a:gd name="connsiteX83" fmla="*/ 575713 w 1070017"/>
                <a:gd name="connsiteY83" fmla="*/ 554655 h 554655"/>
                <a:gd name="connsiteX84" fmla="*/ 575712 w 1070017"/>
                <a:gd name="connsiteY84" fmla="*/ 554655 h 554655"/>
                <a:gd name="connsiteX85" fmla="*/ 564141 w 1070017"/>
                <a:gd name="connsiteY85" fmla="*/ 554655 h 554655"/>
                <a:gd name="connsiteX86" fmla="*/ 564138 w 1070017"/>
                <a:gd name="connsiteY86" fmla="*/ 554655 h 554655"/>
                <a:gd name="connsiteX87" fmla="*/ 544254 w 1070017"/>
                <a:gd name="connsiteY87" fmla="*/ 554655 h 554655"/>
                <a:gd name="connsiteX88" fmla="*/ 544251 w 1070017"/>
                <a:gd name="connsiteY88" fmla="*/ 554655 h 554655"/>
                <a:gd name="connsiteX89" fmla="*/ 543892 w 1070017"/>
                <a:gd name="connsiteY89" fmla="*/ 554655 h 554655"/>
                <a:gd name="connsiteX90" fmla="*/ 543891 w 1070017"/>
                <a:gd name="connsiteY90" fmla="*/ 554655 h 554655"/>
                <a:gd name="connsiteX91" fmla="*/ 524018 w 1070017"/>
                <a:gd name="connsiteY91" fmla="*/ 554655 h 554655"/>
                <a:gd name="connsiteX92" fmla="*/ 524016 w 1070017"/>
                <a:gd name="connsiteY92" fmla="*/ 554655 h 554655"/>
                <a:gd name="connsiteX93" fmla="*/ 524005 w 1070017"/>
                <a:gd name="connsiteY93" fmla="*/ 554655 h 554655"/>
                <a:gd name="connsiteX94" fmla="*/ 524004 w 1070017"/>
                <a:gd name="connsiteY94" fmla="*/ 554655 h 554655"/>
                <a:gd name="connsiteX95" fmla="*/ 492197 w 1070017"/>
                <a:gd name="connsiteY95" fmla="*/ 554655 h 554655"/>
                <a:gd name="connsiteX96" fmla="*/ 492195 w 1070017"/>
                <a:gd name="connsiteY96" fmla="*/ 554655 h 554655"/>
                <a:gd name="connsiteX97" fmla="*/ 277328 w 1070017"/>
                <a:gd name="connsiteY97" fmla="*/ 554654 h 554655"/>
                <a:gd name="connsiteX98" fmla="*/ 5634 w 1070017"/>
                <a:gd name="connsiteY98" fmla="*/ 333218 h 554655"/>
                <a:gd name="connsiteX99" fmla="*/ 0 w 1070017"/>
                <a:gd name="connsiteY99" fmla="*/ 277328 h 554655"/>
                <a:gd name="connsiteX100" fmla="*/ 5634 w 1070017"/>
                <a:gd name="connsiteY100" fmla="*/ 221437 h 554655"/>
                <a:gd name="connsiteX101" fmla="*/ 277328 w 1070017"/>
                <a:gd name="connsiteY101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1070017" h="554655">
                  <a:moveTo>
                    <a:pt x="277328" y="0"/>
                  </a:moveTo>
                  <a:lnTo>
                    <a:pt x="309137" y="0"/>
                  </a:lnTo>
                  <a:lnTo>
                    <a:pt x="309149" y="0"/>
                  </a:lnTo>
                  <a:lnTo>
                    <a:pt x="327276" y="0"/>
                  </a:lnTo>
                  <a:lnTo>
                    <a:pt x="329024" y="0"/>
                  </a:lnTo>
                  <a:lnTo>
                    <a:pt x="329384" y="0"/>
                  </a:lnTo>
                  <a:lnTo>
                    <a:pt x="349271" y="0"/>
                  </a:lnTo>
                  <a:lnTo>
                    <a:pt x="360845" y="0"/>
                  </a:lnTo>
                  <a:lnTo>
                    <a:pt x="378972" y="0"/>
                  </a:lnTo>
                  <a:lnTo>
                    <a:pt x="381081" y="0"/>
                  </a:lnTo>
                  <a:lnTo>
                    <a:pt x="381092" y="0"/>
                  </a:lnTo>
                  <a:lnTo>
                    <a:pt x="399219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32789" y="0"/>
                  </a:lnTo>
                  <a:lnTo>
                    <a:pt x="450916" y="0"/>
                  </a:lnTo>
                  <a:lnTo>
                    <a:pt x="454182" y="0"/>
                  </a:lnTo>
                  <a:lnTo>
                    <a:pt x="472309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05878" y="0"/>
                  </a:lnTo>
                  <a:lnTo>
                    <a:pt x="524005" y="0"/>
                  </a:lnTo>
                  <a:lnTo>
                    <a:pt x="524017" y="0"/>
                  </a:lnTo>
                  <a:lnTo>
                    <a:pt x="525765" y="0"/>
                  </a:lnTo>
                  <a:lnTo>
                    <a:pt x="526125" y="0"/>
                  </a:lnTo>
                  <a:lnTo>
                    <a:pt x="543892" y="0"/>
                  </a:lnTo>
                  <a:lnTo>
                    <a:pt x="54425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75713" y="0"/>
                  </a:lnTo>
                  <a:lnTo>
                    <a:pt x="577822" y="0"/>
                  </a:lnTo>
                  <a:lnTo>
                    <a:pt x="595949" y="0"/>
                  </a:lnTo>
                  <a:lnTo>
                    <a:pt x="595960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7229" y="0"/>
                  </a:lnTo>
                  <a:lnTo>
                    <a:pt x="647657" y="0"/>
                  </a:lnTo>
                  <a:lnTo>
                    <a:pt x="669050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9172" y="0"/>
                  </a:lnTo>
                  <a:lnTo>
                    <a:pt x="720746" y="0"/>
                  </a:lnTo>
                  <a:lnTo>
                    <a:pt x="740633" y="0"/>
                  </a:lnTo>
                  <a:lnTo>
                    <a:pt x="74099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92690" y="0"/>
                  </a:lnTo>
                  <a:cubicBezTo>
                    <a:pt x="945854" y="0"/>
                    <a:pt x="1070017" y="124164"/>
                    <a:pt x="1070017" y="277328"/>
                  </a:cubicBezTo>
                  <a:lnTo>
                    <a:pt x="1070016" y="277328"/>
                  </a:lnTo>
                  <a:cubicBezTo>
                    <a:pt x="1070016" y="430492"/>
                    <a:pt x="945853" y="554655"/>
                    <a:pt x="792689" y="554655"/>
                  </a:cubicBez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995" y="554655"/>
                  </a:lnTo>
                  <a:lnTo>
                    <a:pt x="740992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20746" y="554655"/>
                  </a:lnTo>
                  <a:lnTo>
                    <a:pt x="720745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69052" y="554655"/>
                  </a:lnTo>
                  <a:lnTo>
                    <a:pt x="669049" y="554655"/>
                  </a:lnTo>
                  <a:lnTo>
                    <a:pt x="647657" y="554655"/>
                  </a:lnTo>
                  <a:lnTo>
                    <a:pt x="647656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95962" y="554655"/>
                  </a:lnTo>
                  <a:lnTo>
                    <a:pt x="595959" y="554655"/>
                  </a:lnTo>
                  <a:lnTo>
                    <a:pt x="595948" y="554655"/>
                  </a:lnTo>
                  <a:lnTo>
                    <a:pt x="575713" y="554655"/>
                  </a:lnTo>
                  <a:lnTo>
                    <a:pt x="575712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4254" y="554655"/>
                  </a:lnTo>
                  <a:lnTo>
                    <a:pt x="544251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524018" y="554655"/>
                  </a:lnTo>
                  <a:lnTo>
                    <a:pt x="524016" y="554655"/>
                  </a:lnTo>
                  <a:lnTo>
                    <a:pt x="524005" y="554655"/>
                  </a:lnTo>
                  <a:lnTo>
                    <a:pt x="524004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364636" y="5243552"/>
              <a:ext cx="542778" cy="474100"/>
            </a:xfrm>
            <a:prstGeom prst="rect">
              <a:avLst/>
            </a:prstGeom>
          </p:spPr>
        </p:pic>
      </p:grpSp>
      <p:pic>
        <p:nvPicPr>
          <p:cNvPr id="43" name="Рисунок 4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474" y="6051996"/>
            <a:ext cx="2074411" cy="625435"/>
          </a:xfrm>
          <a:prstGeom prst="rect">
            <a:avLst/>
          </a:prstGeom>
        </p:spPr>
      </p:pic>
      <p:sp>
        <p:nvSpPr>
          <p:cNvPr id="44" name="Полилиния 43" descr="Прямоугольник">
            <a:extLst>
              <a:ext uri="{FF2B5EF4-FFF2-40B4-BE49-F238E27FC236}">
                <a16:creationId xmlns:a16="http://schemas.microsoft.com/office/drawing/2014/main" xmlns="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8519545" y="6234467"/>
            <a:ext cx="1009167" cy="262853"/>
          </a:xfrm>
          <a:custGeom>
            <a:avLst/>
            <a:gdLst>
              <a:gd name="connsiteX0" fmla="*/ 211524 w 1658755"/>
              <a:gd name="connsiteY0" fmla="*/ 0 h 432048"/>
              <a:gd name="connsiteX1" fmla="*/ 534967 w 1658755"/>
              <a:gd name="connsiteY1" fmla="*/ 0 h 432048"/>
              <a:gd name="connsiteX2" fmla="*/ 581746 w 1658755"/>
              <a:gd name="connsiteY2" fmla="*/ 0 h 432048"/>
              <a:gd name="connsiteX3" fmla="*/ 780497 w 1658755"/>
              <a:gd name="connsiteY3" fmla="*/ 0 h 432048"/>
              <a:gd name="connsiteX4" fmla="*/ 780539 w 1658755"/>
              <a:gd name="connsiteY4" fmla="*/ 0 h 432048"/>
              <a:gd name="connsiteX5" fmla="*/ 825351 w 1658755"/>
              <a:gd name="connsiteY5" fmla="*/ 0 h 432048"/>
              <a:gd name="connsiteX6" fmla="*/ 833404 w 1658755"/>
              <a:gd name="connsiteY6" fmla="*/ 0 h 432048"/>
              <a:gd name="connsiteX7" fmla="*/ 878216 w 1658755"/>
              <a:gd name="connsiteY7" fmla="*/ 0 h 432048"/>
              <a:gd name="connsiteX8" fmla="*/ 878258 w 1658755"/>
              <a:gd name="connsiteY8" fmla="*/ 0 h 432048"/>
              <a:gd name="connsiteX9" fmla="*/ 1077009 w 1658755"/>
              <a:gd name="connsiteY9" fmla="*/ 0 h 432048"/>
              <a:gd name="connsiteX10" fmla="*/ 1123789 w 1658755"/>
              <a:gd name="connsiteY10" fmla="*/ 0 h 432048"/>
              <a:gd name="connsiteX11" fmla="*/ 1447231 w 1658755"/>
              <a:gd name="connsiteY11" fmla="*/ 0 h 432048"/>
              <a:gd name="connsiteX12" fmla="*/ 1658755 w 1658755"/>
              <a:gd name="connsiteY12" fmla="*/ 216024 h 432048"/>
              <a:gd name="connsiteX13" fmla="*/ 1658753 w 1658755"/>
              <a:gd name="connsiteY13" fmla="*/ 216024 h 432048"/>
              <a:gd name="connsiteX14" fmla="*/ 1447229 w 1658755"/>
              <a:gd name="connsiteY14" fmla="*/ 432048 h 432048"/>
              <a:gd name="connsiteX15" fmla="*/ 825359 w 1658755"/>
              <a:gd name="connsiteY15" fmla="*/ 432046 h 432048"/>
              <a:gd name="connsiteX16" fmla="*/ 825352 w 1658755"/>
              <a:gd name="connsiteY16" fmla="*/ 432048 h 432048"/>
              <a:gd name="connsiteX17" fmla="*/ 211524 w 1658755"/>
              <a:gd name="connsiteY17" fmla="*/ 432046 h 432048"/>
              <a:gd name="connsiteX18" fmla="*/ 16621 w 1658755"/>
              <a:gd name="connsiteY18" fmla="*/ 300110 h 432048"/>
              <a:gd name="connsiteX19" fmla="*/ 0 w 1658755"/>
              <a:gd name="connsiteY19" fmla="*/ 216024 h 432048"/>
              <a:gd name="connsiteX20" fmla="*/ 16621 w 1658755"/>
              <a:gd name="connsiteY20" fmla="*/ 131939 h 432048"/>
              <a:gd name="connsiteX21" fmla="*/ 211524 w 1658755"/>
              <a:gd name="connsiteY21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58755" h="432048">
                <a:moveTo>
                  <a:pt x="211524" y="0"/>
                </a:moveTo>
                <a:lnTo>
                  <a:pt x="534967" y="0"/>
                </a:lnTo>
                <a:lnTo>
                  <a:pt x="581746" y="0"/>
                </a:lnTo>
                <a:lnTo>
                  <a:pt x="780497" y="0"/>
                </a:lnTo>
                <a:lnTo>
                  <a:pt x="780539" y="0"/>
                </a:lnTo>
                <a:lnTo>
                  <a:pt x="825351" y="0"/>
                </a:lnTo>
                <a:lnTo>
                  <a:pt x="833404" y="0"/>
                </a:lnTo>
                <a:lnTo>
                  <a:pt x="878216" y="0"/>
                </a:lnTo>
                <a:lnTo>
                  <a:pt x="878258" y="0"/>
                </a:lnTo>
                <a:lnTo>
                  <a:pt x="1077009" y="0"/>
                </a:lnTo>
                <a:lnTo>
                  <a:pt x="1123789" y="0"/>
                </a:lnTo>
                <a:lnTo>
                  <a:pt x="1447231" y="0"/>
                </a:lnTo>
                <a:cubicBezTo>
                  <a:pt x="1564053" y="0"/>
                  <a:pt x="1658755" y="96717"/>
                  <a:pt x="1658755" y="216024"/>
                </a:cubicBezTo>
                <a:lnTo>
                  <a:pt x="1658753" y="216024"/>
                </a:lnTo>
                <a:cubicBezTo>
                  <a:pt x="1658753" y="335332"/>
                  <a:pt x="1564051" y="432048"/>
                  <a:pt x="1447229" y="432048"/>
                </a:cubicBezTo>
                <a:lnTo>
                  <a:pt x="825359" y="432046"/>
                </a:lnTo>
                <a:lnTo>
                  <a:pt x="825352" y="432048"/>
                </a:lnTo>
                <a:lnTo>
                  <a:pt x="211524" y="432046"/>
                </a:lnTo>
                <a:cubicBezTo>
                  <a:pt x="123907" y="432046"/>
                  <a:pt x="48733" y="377643"/>
                  <a:pt x="16621" y="300110"/>
                </a:cubicBezTo>
                <a:lnTo>
                  <a:pt x="0" y="216024"/>
                </a:lnTo>
                <a:lnTo>
                  <a:pt x="16621" y="131939"/>
                </a:lnTo>
                <a:cubicBezTo>
                  <a:pt x="48733" y="54404"/>
                  <a:pt x="123907" y="0"/>
                  <a:pt x="21152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олучить на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48" name="Группа 47"/>
          <p:cNvGrpSpPr/>
          <p:nvPr/>
        </p:nvGrpSpPr>
        <p:grpSpPr>
          <a:xfrm>
            <a:off x="371476" y="282770"/>
            <a:ext cx="1371599" cy="276999"/>
            <a:chOff x="9353062" y="5079459"/>
            <a:chExt cx="2573191" cy="276999"/>
          </a:xfrm>
        </p:grpSpPr>
        <p:sp>
          <p:nvSpPr>
            <p:cNvPr id="49" name="Скругленный прямоугольник 48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598163" y="5079459"/>
              <a:ext cx="20829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рынки сбыта</a:t>
              </a:r>
            </a:p>
          </p:txBody>
        </p:sp>
      </p:grpSp>
      <p:sp>
        <p:nvSpPr>
          <p:cNvPr id="55" name="Овал 54"/>
          <p:cNvSpPr/>
          <p:nvPr/>
        </p:nvSpPr>
        <p:spPr>
          <a:xfrm>
            <a:off x="5644899" y="2766979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Овал 55"/>
          <p:cNvSpPr/>
          <p:nvPr/>
        </p:nvSpPr>
        <p:spPr>
          <a:xfrm>
            <a:off x="7491010" y="2766979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Овал 56"/>
          <p:cNvSpPr/>
          <p:nvPr/>
        </p:nvSpPr>
        <p:spPr>
          <a:xfrm>
            <a:off x="10026963" y="2766979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9921" y="2873010"/>
            <a:ext cx="254044" cy="25404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5065" y="2847308"/>
            <a:ext cx="338132" cy="338132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0388" y="2840379"/>
            <a:ext cx="338132" cy="338132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8782" y="2759931"/>
            <a:ext cx="2015226" cy="2002863"/>
          </a:xfrm>
          <a:prstGeom prst="rect">
            <a:avLst/>
          </a:prstGeom>
        </p:spPr>
      </p:pic>
      <p:pic>
        <p:nvPicPr>
          <p:cNvPr id="61442" name="Picture 2" descr="http://qrcoder.ru/code/?https%3A%2F%2F%EC%F1%EF.%F0%F4%2Fservices%2Fpurchase_access%2Fpromo&amp;4&amp;0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8775" y="5972401"/>
            <a:ext cx="784623" cy="7846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404872" y="1692963"/>
            <a:ext cx="3717185" cy="92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800"/>
              </a:lnSpc>
              <a:defRPr/>
            </a:pPr>
            <a:r>
              <a:rPr lang="ru-RU" sz="24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</a:t>
            </a:r>
            <a:r>
              <a:rPr lang="ru-RU" sz="24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лючая закупки </a:t>
            </a:r>
            <a:r>
              <a:rPr lang="ru-RU" sz="24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алого объема</a:t>
            </a:r>
            <a:endParaRPr lang="ru-RU" sz="24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64" name="Рисунок 63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449206"/>
            <a:ext cx="604745" cy="322513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454712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513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Прямоугольник 150">
            <a:extLst>
              <a:ext uri="{FF2B5EF4-FFF2-40B4-BE49-F238E27FC236}">
                <a16:creationId xmlns:a16="http://schemas.microsoft.com/office/drawing/2014/main" xmlns="" id="{A39BD8A9-1879-DD98-024A-04345C52F331}"/>
              </a:ext>
            </a:extLst>
          </p:cNvPr>
          <p:cNvSpPr/>
          <p:nvPr/>
        </p:nvSpPr>
        <p:spPr>
          <a:xfrm>
            <a:off x="7476873" y="1956351"/>
            <a:ext cx="1273427" cy="281134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0" y="3128"/>
            <a:ext cx="7218665" cy="685487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7464982" y="1311269"/>
            <a:ext cx="3717484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100" spc="-40" dirty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Договор на поставку товара, оказание услуги </a:t>
            </a:r>
            <a:r>
              <a:rPr lang="ru-RU" sz="1100" spc="-40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/>
            </a:r>
            <a:br>
              <a:rPr lang="ru-RU" sz="1100" spc="-40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</a:br>
            <a:r>
              <a:rPr lang="ru-RU" sz="1100" spc="-40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со </a:t>
            </a:r>
            <a:r>
              <a:rPr lang="ru-RU" sz="1100" spc="-40" dirty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встречными инвестиционными обязательствами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7464982" y="576773"/>
            <a:ext cx="387986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600"/>
              </a:lnSpc>
              <a:defRPr/>
            </a:pPr>
            <a:r>
              <a:rPr lang="ru-RU" sz="28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фсетные договоры</a:t>
            </a:r>
            <a:endParaRPr lang="ru-RU" sz="28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23628" y="1537019"/>
            <a:ext cx="4098055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600" spc="-40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рограмма поддержки поставщиков в целях </a:t>
            </a:r>
            <a:r>
              <a:rPr lang="ru-RU" sz="1600" spc="-40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/>
            </a:r>
            <a:br>
              <a:rPr lang="ru-RU" sz="1600" spc="-40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</a:br>
            <a:r>
              <a:rPr lang="ru-RU" sz="1600" spc="-40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их </a:t>
            </a:r>
            <a:r>
              <a:rPr lang="ru-RU" sz="1600" spc="-40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отенциального участия в закупках под потребности заказчиков</a:t>
            </a:r>
          </a:p>
        </p:txBody>
      </p:sp>
      <p:grpSp>
        <p:nvGrpSpPr>
          <p:cNvPr id="28" name="Группа 27"/>
          <p:cNvGrpSpPr/>
          <p:nvPr/>
        </p:nvGrpSpPr>
        <p:grpSpPr>
          <a:xfrm>
            <a:off x="199404" y="138742"/>
            <a:ext cx="1371599" cy="276999"/>
            <a:chOff x="9185983" y="5079459"/>
            <a:chExt cx="2573191" cy="276999"/>
          </a:xfrm>
        </p:grpSpPr>
        <p:sp>
          <p:nvSpPr>
            <p:cNvPr id="29" name="Скругленный прямоугольник 28"/>
            <p:cNvSpPr/>
            <p:nvPr/>
          </p:nvSpPr>
          <p:spPr>
            <a:xfrm>
              <a:off x="9185983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9431083" y="5079459"/>
              <a:ext cx="20829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рынки сбыта</a:t>
              </a:r>
            </a:p>
          </p:txBody>
        </p:sp>
      </p:grpSp>
      <p:sp>
        <p:nvSpPr>
          <p:cNvPr id="35" name="Прямоугольник 34"/>
          <p:cNvSpPr/>
          <p:nvPr/>
        </p:nvSpPr>
        <p:spPr>
          <a:xfrm>
            <a:off x="2993341" y="550715"/>
            <a:ext cx="4087388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223627" y="553726"/>
            <a:ext cx="7165224" cy="8720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400"/>
              </a:lnSpc>
              <a:defRPr/>
            </a:pP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грамма </a:t>
            </a: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«выращивания» </a:t>
            </a: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ставщиков</a:t>
            </a:r>
          </a:p>
        </p:txBody>
      </p:sp>
      <p:grpSp>
        <p:nvGrpSpPr>
          <p:cNvPr id="20" name="Группа 19"/>
          <p:cNvGrpSpPr/>
          <p:nvPr/>
        </p:nvGrpSpPr>
        <p:grpSpPr>
          <a:xfrm>
            <a:off x="6532865" y="118448"/>
            <a:ext cx="1371599" cy="280988"/>
            <a:chOff x="7388718" y="118448"/>
            <a:chExt cx="1371599" cy="280988"/>
          </a:xfrm>
        </p:grpSpPr>
        <p:sp>
          <p:nvSpPr>
            <p:cNvPr id="38" name="Скругленный прямоугольник 37"/>
            <p:cNvSpPr/>
            <p:nvPr/>
          </p:nvSpPr>
          <p:spPr>
            <a:xfrm>
              <a:off x="7388718" y="137355"/>
              <a:ext cx="1371599" cy="262081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7388851" y="118448"/>
              <a:ext cx="1371466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в рамках 223-ФЗ</a:t>
              </a: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5475191" y="1143805"/>
            <a:ext cx="1480966" cy="565469"/>
            <a:chOff x="8425719" y="6235770"/>
            <a:chExt cx="1332469" cy="565469"/>
          </a:xfrm>
        </p:grpSpPr>
        <p:sp>
          <p:nvSpPr>
            <p:cNvPr id="37" name="Полилиния 36" descr="Прямоугольник">
              <a:extLst>
                <a:ext uri="{FF2B5EF4-FFF2-40B4-BE49-F238E27FC236}">
                  <a16:creationId xmlns:a16="http://schemas.microsoft.com/office/drawing/2014/main" xmlns="" id="{0D1EF200-FCF1-C349-8B28-88F1D2410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5719" y="6235770"/>
              <a:ext cx="1160908" cy="262853"/>
            </a:xfrm>
            <a:custGeom>
              <a:avLst/>
              <a:gdLst>
                <a:gd name="connsiteX0" fmla="*/ 211524 w 1658755"/>
                <a:gd name="connsiteY0" fmla="*/ 0 h 432048"/>
                <a:gd name="connsiteX1" fmla="*/ 534967 w 1658755"/>
                <a:gd name="connsiteY1" fmla="*/ 0 h 432048"/>
                <a:gd name="connsiteX2" fmla="*/ 581746 w 1658755"/>
                <a:gd name="connsiteY2" fmla="*/ 0 h 432048"/>
                <a:gd name="connsiteX3" fmla="*/ 780497 w 1658755"/>
                <a:gd name="connsiteY3" fmla="*/ 0 h 432048"/>
                <a:gd name="connsiteX4" fmla="*/ 780539 w 1658755"/>
                <a:gd name="connsiteY4" fmla="*/ 0 h 432048"/>
                <a:gd name="connsiteX5" fmla="*/ 825351 w 1658755"/>
                <a:gd name="connsiteY5" fmla="*/ 0 h 432048"/>
                <a:gd name="connsiteX6" fmla="*/ 833404 w 1658755"/>
                <a:gd name="connsiteY6" fmla="*/ 0 h 432048"/>
                <a:gd name="connsiteX7" fmla="*/ 878216 w 1658755"/>
                <a:gd name="connsiteY7" fmla="*/ 0 h 432048"/>
                <a:gd name="connsiteX8" fmla="*/ 878258 w 1658755"/>
                <a:gd name="connsiteY8" fmla="*/ 0 h 432048"/>
                <a:gd name="connsiteX9" fmla="*/ 1077009 w 1658755"/>
                <a:gd name="connsiteY9" fmla="*/ 0 h 432048"/>
                <a:gd name="connsiteX10" fmla="*/ 1123789 w 1658755"/>
                <a:gd name="connsiteY10" fmla="*/ 0 h 432048"/>
                <a:gd name="connsiteX11" fmla="*/ 1447231 w 1658755"/>
                <a:gd name="connsiteY11" fmla="*/ 0 h 432048"/>
                <a:gd name="connsiteX12" fmla="*/ 1658755 w 1658755"/>
                <a:gd name="connsiteY12" fmla="*/ 216024 h 432048"/>
                <a:gd name="connsiteX13" fmla="*/ 1658753 w 1658755"/>
                <a:gd name="connsiteY13" fmla="*/ 216024 h 432048"/>
                <a:gd name="connsiteX14" fmla="*/ 1447229 w 1658755"/>
                <a:gd name="connsiteY14" fmla="*/ 432048 h 432048"/>
                <a:gd name="connsiteX15" fmla="*/ 825359 w 1658755"/>
                <a:gd name="connsiteY15" fmla="*/ 432046 h 432048"/>
                <a:gd name="connsiteX16" fmla="*/ 825352 w 1658755"/>
                <a:gd name="connsiteY16" fmla="*/ 432048 h 432048"/>
                <a:gd name="connsiteX17" fmla="*/ 211524 w 1658755"/>
                <a:gd name="connsiteY17" fmla="*/ 432046 h 432048"/>
                <a:gd name="connsiteX18" fmla="*/ 16621 w 1658755"/>
                <a:gd name="connsiteY18" fmla="*/ 300110 h 432048"/>
                <a:gd name="connsiteX19" fmla="*/ 0 w 1658755"/>
                <a:gd name="connsiteY19" fmla="*/ 216024 h 432048"/>
                <a:gd name="connsiteX20" fmla="*/ 16621 w 1658755"/>
                <a:gd name="connsiteY20" fmla="*/ 131939 h 432048"/>
                <a:gd name="connsiteX21" fmla="*/ 211524 w 1658755"/>
                <a:gd name="connsiteY21" fmla="*/ 0 h 432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658755" h="432048">
                  <a:moveTo>
                    <a:pt x="211524" y="0"/>
                  </a:moveTo>
                  <a:lnTo>
                    <a:pt x="534967" y="0"/>
                  </a:lnTo>
                  <a:lnTo>
                    <a:pt x="581746" y="0"/>
                  </a:lnTo>
                  <a:lnTo>
                    <a:pt x="780497" y="0"/>
                  </a:lnTo>
                  <a:lnTo>
                    <a:pt x="780539" y="0"/>
                  </a:lnTo>
                  <a:lnTo>
                    <a:pt x="825351" y="0"/>
                  </a:lnTo>
                  <a:lnTo>
                    <a:pt x="833404" y="0"/>
                  </a:lnTo>
                  <a:lnTo>
                    <a:pt x="878216" y="0"/>
                  </a:lnTo>
                  <a:lnTo>
                    <a:pt x="878258" y="0"/>
                  </a:lnTo>
                  <a:lnTo>
                    <a:pt x="1077009" y="0"/>
                  </a:lnTo>
                  <a:lnTo>
                    <a:pt x="1123789" y="0"/>
                  </a:lnTo>
                  <a:lnTo>
                    <a:pt x="1447231" y="0"/>
                  </a:lnTo>
                  <a:cubicBezTo>
                    <a:pt x="1564053" y="0"/>
                    <a:pt x="1658755" y="96717"/>
                    <a:pt x="1658755" y="216024"/>
                  </a:cubicBezTo>
                  <a:lnTo>
                    <a:pt x="1658753" y="216024"/>
                  </a:lnTo>
                  <a:cubicBezTo>
                    <a:pt x="1658753" y="335332"/>
                    <a:pt x="1564051" y="432048"/>
                    <a:pt x="1447229" y="432048"/>
                  </a:cubicBezTo>
                  <a:lnTo>
                    <a:pt x="825359" y="432046"/>
                  </a:lnTo>
                  <a:lnTo>
                    <a:pt x="825352" y="432048"/>
                  </a:lnTo>
                  <a:lnTo>
                    <a:pt x="211524" y="432046"/>
                  </a:lnTo>
                  <a:cubicBezTo>
                    <a:pt x="123907" y="432046"/>
                    <a:pt x="48733" y="377643"/>
                    <a:pt x="16621" y="300110"/>
                  </a:cubicBezTo>
                  <a:lnTo>
                    <a:pt x="0" y="216024"/>
                  </a:lnTo>
                  <a:lnTo>
                    <a:pt x="16621" y="131939"/>
                  </a:lnTo>
                  <a:cubicBezTo>
                    <a:pt x="48733" y="54404"/>
                    <a:pt x="123907" y="0"/>
                    <a:pt x="211524" y="0"/>
                  </a:cubicBez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wrap="square" lIns="0" tIns="0" rIns="0" bIns="36000" anchor="ctr">
              <a:noAutofit/>
            </a:bodyPr>
            <a:lstStyle>
              <a:lvl1pPr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1pPr>
              <a:lvl2pPr marL="742950" indent="-28575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2pPr>
              <a:lvl3pPr marL="1143000" indent="-22860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3pPr>
              <a:lvl4pPr marL="1600200" indent="-22860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4pPr>
              <a:lvl5pPr marL="2057400" indent="-22860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5pPr>
              <a:lvl6pPr marL="25146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6pPr>
              <a:lvl7pPr marL="29718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7pPr>
              <a:lvl8pPr marL="34290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8pPr>
              <a:lvl9pPr marL="38862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9pPr>
            </a:lstStyle>
            <a:p>
              <a:pPr algn="ctr" defTabSz="121840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1050" spc="-12" dirty="0">
                  <a:solidFill>
                    <a:schemeClr val="tx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</a:rPr>
                <a:t>подать заявку на</a:t>
              </a:r>
            </a:p>
          </p:txBody>
        </p:sp>
        <p:pic>
          <p:nvPicPr>
            <p:cNvPr id="41" name="Рисунок 4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75698" y="6591789"/>
              <a:ext cx="1282490" cy="209450"/>
            </a:xfrm>
            <a:prstGeom prst="rect">
              <a:avLst/>
            </a:prstGeom>
            <a:solidFill>
              <a:srgbClr val="191919"/>
            </a:solidFill>
          </p:spPr>
        </p:pic>
      </p:grpSp>
      <p:grpSp>
        <p:nvGrpSpPr>
          <p:cNvPr id="117" name="Группа 116">
            <a:extLst>
              <a:ext uri="{FF2B5EF4-FFF2-40B4-BE49-F238E27FC236}">
                <a16:creationId xmlns:a16="http://schemas.microsoft.com/office/drawing/2014/main" xmlns="" id="{10A0E882-B350-59CF-D0A0-0697D3B9A102}"/>
              </a:ext>
            </a:extLst>
          </p:cNvPr>
          <p:cNvGrpSpPr/>
          <p:nvPr/>
        </p:nvGrpSpPr>
        <p:grpSpPr>
          <a:xfrm>
            <a:off x="258044" y="5574577"/>
            <a:ext cx="941092" cy="284600"/>
            <a:chOff x="2029734" y="3440650"/>
            <a:chExt cx="2212043" cy="459956"/>
          </a:xfrm>
        </p:grpSpPr>
        <p:sp>
          <p:nvSpPr>
            <p:cNvPr id="118" name="Скругленный прямоугольник 117">
              <a:extLst>
                <a:ext uri="{FF2B5EF4-FFF2-40B4-BE49-F238E27FC236}">
                  <a16:creationId xmlns:a16="http://schemas.microsoft.com/office/drawing/2014/main" xmlns="" id="{EEE79837-2728-0236-0134-E3B0BE8AF885}"/>
                </a:ext>
              </a:extLst>
            </p:cNvPr>
            <p:cNvSpPr/>
            <p:nvPr/>
          </p:nvSpPr>
          <p:spPr>
            <a:xfrm>
              <a:off x="2029734" y="3440650"/>
              <a:ext cx="2212043" cy="459956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19" name="Рисунок 118">
              <a:extLst>
                <a:ext uri="{FF2B5EF4-FFF2-40B4-BE49-F238E27FC236}">
                  <a16:creationId xmlns:a16="http://schemas.microsoft.com/office/drawing/2014/main" xmlns="" id="{E57605EE-A959-9F04-276E-62F51A56A1B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124516" y="3502164"/>
              <a:ext cx="2030674" cy="336928"/>
            </a:xfrm>
            <a:prstGeom prst="rect">
              <a:avLst/>
            </a:prstGeom>
          </p:spPr>
        </p:pic>
      </p:grpSp>
      <p:sp>
        <p:nvSpPr>
          <p:cNvPr id="120" name="Прямоугольник 119">
            <a:extLst>
              <a:ext uri="{FF2B5EF4-FFF2-40B4-BE49-F238E27FC236}">
                <a16:creationId xmlns:a16="http://schemas.microsoft.com/office/drawing/2014/main" xmlns="" id="{AA434276-78BE-BCD1-16EA-2912C932632B}"/>
              </a:ext>
            </a:extLst>
          </p:cNvPr>
          <p:cNvSpPr/>
          <p:nvPr/>
        </p:nvSpPr>
        <p:spPr>
          <a:xfrm>
            <a:off x="225282" y="3218389"/>
            <a:ext cx="194579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9,9</a:t>
            </a:r>
            <a:r>
              <a:rPr lang="en-US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ыс.</a:t>
            </a:r>
          </a:p>
        </p:txBody>
      </p:sp>
      <p:sp>
        <p:nvSpPr>
          <p:cNvPr id="122" name="Прямоугольник 121">
            <a:extLst>
              <a:ext uri="{FF2B5EF4-FFF2-40B4-BE49-F238E27FC236}">
                <a16:creationId xmlns:a16="http://schemas.microsoft.com/office/drawing/2014/main" xmlns="" id="{B902A985-7AAC-DD95-70C6-8ABA3B280CFC}"/>
              </a:ext>
            </a:extLst>
          </p:cNvPr>
          <p:cNvSpPr/>
          <p:nvPr/>
        </p:nvSpPr>
        <p:spPr>
          <a:xfrm>
            <a:off x="2171080" y="3240622"/>
            <a:ext cx="375988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z="12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оменклатурных позиций, представленных заказчиками, </a:t>
            </a:r>
            <a:r>
              <a:rPr lang="ru-RU" sz="12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 </a:t>
            </a:r>
            <a:r>
              <a:rPr lang="ru-RU" sz="12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оторым могут</a:t>
            </a:r>
            <a:r>
              <a:rPr lang="en-US" sz="12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2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реализовываться программы «выращивания»</a:t>
            </a:r>
          </a:p>
        </p:txBody>
      </p:sp>
      <p:grpSp>
        <p:nvGrpSpPr>
          <p:cNvPr id="44033" name="Группа 44032">
            <a:extLst>
              <a:ext uri="{FF2B5EF4-FFF2-40B4-BE49-F238E27FC236}">
                <a16:creationId xmlns:a16="http://schemas.microsoft.com/office/drawing/2014/main" xmlns="" id="{0ACAFCC0-D040-32CF-A8C1-539C6C8A5621}"/>
              </a:ext>
            </a:extLst>
          </p:cNvPr>
          <p:cNvGrpSpPr/>
          <p:nvPr/>
        </p:nvGrpSpPr>
        <p:grpSpPr>
          <a:xfrm>
            <a:off x="262629" y="4626489"/>
            <a:ext cx="1874524" cy="553998"/>
            <a:chOff x="201379" y="2746788"/>
            <a:chExt cx="1874524" cy="553998"/>
          </a:xfrm>
        </p:grpSpPr>
        <p:sp>
          <p:nvSpPr>
            <p:cNvPr id="123" name="Прямоугольник 122">
              <a:extLst>
                <a:ext uri="{FF2B5EF4-FFF2-40B4-BE49-F238E27FC236}">
                  <a16:creationId xmlns:a16="http://schemas.microsoft.com/office/drawing/2014/main" xmlns="" id="{10E53434-66BB-77C0-1B1B-055793655AA9}"/>
                </a:ext>
              </a:extLst>
            </p:cNvPr>
            <p:cNvSpPr/>
            <p:nvPr/>
          </p:nvSpPr>
          <p:spPr>
            <a:xfrm>
              <a:off x="531466" y="3010368"/>
              <a:ext cx="1544437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1400" kern="0" spc="-5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утверждены</a:t>
              </a:r>
              <a:endParaRPr lang="ru-RU" sz="14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endParaRPr>
            </a:p>
          </p:txBody>
        </p:sp>
        <p:sp>
          <p:nvSpPr>
            <p:cNvPr id="124" name="Прямоугольник 123">
              <a:extLst>
                <a:ext uri="{FF2B5EF4-FFF2-40B4-BE49-F238E27FC236}">
                  <a16:creationId xmlns:a16="http://schemas.microsoft.com/office/drawing/2014/main" xmlns="" id="{E86AE7CC-61AF-8A11-9C36-A1E57DFBAEBD}"/>
                </a:ext>
              </a:extLst>
            </p:cNvPr>
            <p:cNvSpPr/>
            <p:nvPr/>
          </p:nvSpPr>
          <p:spPr>
            <a:xfrm>
              <a:off x="201379" y="2746788"/>
              <a:ext cx="898101" cy="5539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3600" kern="0" spc="-5" dirty="0">
                  <a:solidFill>
                    <a:srgbClr val="84E0F7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4</a:t>
              </a:r>
            </a:p>
          </p:txBody>
        </p:sp>
        <p:sp>
          <p:nvSpPr>
            <p:cNvPr id="125" name="Прямоугольник 124">
              <a:extLst>
                <a:ext uri="{FF2B5EF4-FFF2-40B4-BE49-F238E27FC236}">
                  <a16:creationId xmlns:a16="http://schemas.microsoft.com/office/drawing/2014/main" xmlns="" id="{55248CEA-0C0A-EF51-49B9-3A2AA78657CE}"/>
                </a:ext>
              </a:extLst>
            </p:cNvPr>
            <p:cNvSpPr/>
            <p:nvPr/>
          </p:nvSpPr>
          <p:spPr>
            <a:xfrm>
              <a:off x="531466" y="2800486"/>
              <a:ext cx="1544437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1400" kern="0" spc="-5" dirty="0" smtClean="0">
                  <a:solidFill>
                    <a:srgbClr val="84E0F7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программы</a:t>
              </a:r>
              <a:endParaRPr lang="ru-RU" sz="1400" kern="0" spc="-5" dirty="0">
                <a:solidFill>
                  <a:srgbClr val="84E0F7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44073" name="Группа 44072">
            <a:extLst>
              <a:ext uri="{FF2B5EF4-FFF2-40B4-BE49-F238E27FC236}">
                <a16:creationId xmlns:a16="http://schemas.microsoft.com/office/drawing/2014/main" xmlns="" id="{FA446ABD-BCEF-E1AE-C9EF-402DF0DE8BC7}"/>
              </a:ext>
            </a:extLst>
          </p:cNvPr>
          <p:cNvGrpSpPr/>
          <p:nvPr/>
        </p:nvGrpSpPr>
        <p:grpSpPr>
          <a:xfrm>
            <a:off x="1998422" y="4631323"/>
            <a:ext cx="5147501" cy="553998"/>
            <a:chOff x="2356736" y="2809497"/>
            <a:chExt cx="5147501" cy="553998"/>
          </a:xfrm>
        </p:grpSpPr>
        <p:sp>
          <p:nvSpPr>
            <p:cNvPr id="126" name="Прямоугольник 125">
              <a:extLst>
                <a:ext uri="{FF2B5EF4-FFF2-40B4-BE49-F238E27FC236}">
                  <a16:creationId xmlns:a16="http://schemas.microsoft.com/office/drawing/2014/main" xmlns="" id="{E6906E04-3FD2-485A-0455-1E2DCFDAB462}"/>
                </a:ext>
              </a:extLst>
            </p:cNvPr>
            <p:cNvSpPr/>
            <p:nvPr/>
          </p:nvSpPr>
          <p:spPr>
            <a:xfrm>
              <a:off x="2356736" y="2809497"/>
              <a:ext cx="898101" cy="5539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3600" kern="0" spc="-5" dirty="0" smtClean="0">
                  <a:solidFill>
                    <a:srgbClr val="84E0F7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20</a:t>
              </a:r>
              <a:endParaRPr lang="ru-RU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endParaRPr>
            </a:p>
          </p:txBody>
        </p:sp>
        <p:sp>
          <p:nvSpPr>
            <p:cNvPr id="127" name="Прямоугольник 126">
              <a:extLst>
                <a:ext uri="{FF2B5EF4-FFF2-40B4-BE49-F238E27FC236}">
                  <a16:creationId xmlns:a16="http://schemas.microsoft.com/office/drawing/2014/main" xmlns="" id="{97F7BDDB-304F-32B5-21DE-D81B4677E5AB}"/>
                </a:ext>
              </a:extLst>
            </p:cNvPr>
            <p:cNvSpPr/>
            <p:nvPr/>
          </p:nvSpPr>
          <p:spPr>
            <a:xfrm>
              <a:off x="2947483" y="2855958"/>
              <a:ext cx="3884784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1400" kern="0" spc="-5" dirty="0" smtClean="0">
                  <a:solidFill>
                    <a:srgbClr val="84E0F7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заказчиков </a:t>
              </a:r>
              <a:r>
                <a:rPr lang="ru-RU" sz="1400" kern="0" spc="-5" dirty="0">
                  <a:solidFill>
                    <a:schemeClr val="bg1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рассматривают возможность </a:t>
              </a:r>
              <a:endParaRPr lang="ru-RU" sz="1400" kern="0" spc="-5" dirty="0">
                <a:solidFill>
                  <a:srgbClr val="84E0F7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endParaRPr>
            </a:p>
          </p:txBody>
        </p:sp>
        <p:sp>
          <p:nvSpPr>
            <p:cNvPr id="44032" name="Прямоугольник 44031">
              <a:extLst>
                <a:ext uri="{FF2B5EF4-FFF2-40B4-BE49-F238E27FC236}">
                  <a16:creationId xmlns:a16="http://schemas.microsoft.com/office/drawing/2014/main" xmlns="" id="{0D0A2870-1FF9-6AC3-698D-257F8D4DBED7}"/>
                </a:ext>
              </a:extLst>
            </p:cNvPr>
            <p:cNvSpPr/>
            <p:nvPr/>
          </p:nvSpPr>
          <p:spPr>
            <a:xfrm>
              <a:off x="2947483" y="3058840"/>
              <a:ext cx="4556754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R="2786">
                <a:spcBef>
                  <a:spcPts val="361"/>
                </a:spcBef>
                <a:spcAft>
                  <a:spcPts val="657"/>
                </a:spcAft>
              </a:pPr>
              <a:r>
                <a:rPr lang="ru-RU" sz="1400" kern="0" spc="-5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утверждения программ</a:t>
              </a:r>
              <a:endParaRPr lang="ru-RU" sz="14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endParaRPr>
            </a:p>
          </p:txBody>
        </p:sp>
      </p:grp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4F0C9737-F57D-D0B8-E604-D7F05440E9E3}"/>
              </a:ext>
            </a:extLst>
          </p:cNvPr>
          <p:cNvCxnSpPr>
            <a:cxnSpLocks/>
          </p:cNvCxnSpPr>
          <p:nvPr/>
        </p:nvCxnSpPr>
        <p:spPr>
          <a:xfrm>
            <a:off x="1779440" y="4759813"/>
            <a:ext cx="0" cy="142257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48" t="14316" r="14915" b="13702"/>
          <a:stretch/>
        </p:blipFill>
        <p:spPr>
          <a:xfrm>
            <a:off x="5769693" y="2165589"/>
            <a:ext cx="1242204" cy="1276709"/>
          </a:xfrm>
          <a:prstGeom prst="rect">
            <a:avLst/>
          </a:prstGeom>
        </p:spPr>
      </p:pic>
      <p:grpSp>
        <p:nvGrpSpPr>
          <p:cNvPr id="82" name="Группа 81">
            <a:extLst>
              <a:ext uri="{FF2B5EF4-FFF2-40B4-BE49-F238E27FC236}">
                <a16:creationId xmlns:a16="http://schemas.microsoft.com/office/drawing/2014/main" xmlns="" id="{31006991-B7B4-B00D-79FE-DD49E85B56B9}"/>
              </a:ext>
            </a:extLst>
          </p:cNvPr>
          <p:cNvGrpSpPr/>
          <p:nvPr/>
        </p:nvGrpSpPr>
        <p:grpSpPr>
          <a:xfrm>
            <a:off x="908645" y="5241546"/>
            <a:ext cx="651316" cy="307566"/>
            <a:chOff x="-1182442" y="2095314"/>
            <a:chExt cx="1111098" cy="505420"/>
          </a:xfrm>
        </p:grpSpPr>
        <p:sp>
          <p:nvSpPr>
            <p:cNvPr id="131" name="Скругленный прямоугольник 130">
              <a:extLst>
                <a:ext uri="{FF2B5EF4-FFF2-40B4-BE49-F238E27FC236}">
                  <a16:creationId xmlns:a16="http://schemas.microsoft.com/office/drawing/2014/main" xmlns="" id="{35B24422-1E37-57F7-D856-C8C2EFB93177}"/>
                </a:ext>
              </a:extLst>
            </p:cNvPr>
            <p:cNvSpPr/>
            <p:nvPr/>
          </p:nvSpPr>
          <p:spPr>
            <a:xfrm>
              <a:off x="-1182442" y="2095314"/>
              <a:ext cx="1111098" cy="50542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2" name="Рисунок 131">
              <a:extLst>
                <a:ext uri="{FF2B5EF4-FFF2-40B4-BE49-F238E27FC236}">
                  <a16:creationId xmlns:a16="http://schemas.microsoft.com/office/drawing/2014/main" xmlns="" id="{7CDAF500-AEC7-4A66-3C4B-0F12CA8F932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874952" y="2125687"/>
              <a:ext cx="496116" cy="405161"/>
            </a:xfrm>
            <a:prstGeom prst="rect">
              <a:avLst/>
            </a:prstGeom>
          </p:spPr>
        </p:pic>
      </p:grpSp>
      <p:grpSp>
        <p:nvGrpSpPr>
          <p:cNvPr id="128" name="Группа 127">
            <a:extLst>
              <a:ext uri="{FF2B5EF4-FFF2-40B4-BE49-F238E27FC236}">
                <a16:creationId xmlns:a16="http://schemas.microsoft.com/office/drawing/2014/main" xmlns="" id="{22299DFD-7D2B-3ECA-9BD9-1A63893757E9}"/>
              </a:ext>
            </a:extLst>
          </p:cNvPr>
          <p:cNvGrpSpPr/>
          <p:nvPr/>
        </p:nvGrpSpPr>
        <p:grpSpPr>
          <a:xfrm>
            <a:off x="263454" y="5905302"/>
            <a:ext cx="1023777" cy="307566"/>
            <a:chOff x="98353" y="2095314"/>
            <a:chExt cx="1746490" cy="505420"/>
          </a:xfrm>
        </p:grpSpPr>
        <p:sp>
          <p:nvSpPr>
            <p:cNvPr id="129" name="Скругленный прямоугольник 128">
              <a:extLst>
                <a:ext uri="{FF2B5EF4-FFF2-40B4-BE49-F238E27FC236}">
                  <a16:creationId xmlns:a16="http://schemas.microsoft.com/office/drawing/2014/main" xmlns="" id="{0F881F02-57AB-BA16-BC5D-002B89CF3956}"/>
                </a:ext>
              </a:extLst>
            </p:cNvPr>
            <p:cNvSpPr/>
            <p:nvPr/>
          </p:nvSpPr>
          <p:spPr>
            <a:xfrm>
              <a:off x="98353" y="2095314"/>
              <a:ext cx="1746490" cy="50542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0" name="Рисунок 129">
              <a:extLst>
                <a:ext uri="{FF2B5EF4-FFF2-40B4-BE49-F238E27FC236}">
                  <a16:creationId xmlns:a16="http://schemas.microsoft.com/office/drawing/2014/main" xmlns="" id="{F84A58E3-0A57-A32D-B526-28AEE499A2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60" t="14455" r="5046" b="12032"/>
            <a:stretch/>
          </p:blipFill>
          <p:spPr>
            <a:xfrm>
              <a:off x="287430" y="2149630"/>
              <a:ext cx="1368335" cy="382323"/>
            </a:xfrm>
            <a:prstGeom prst="rect">
              <a:avLst/>
            </a:prstGeom>
          </p:spPr>
        </p:pic>
      </p:grpSp>
      <p:grpSp>
        <p:nvGrpSpPr>
          <p:cNvPr id="15" name="Группа 14"/>
          <p:cNvGrpSpPr/>
          <p:nvPr/>
        </p:nvGrpSpPr>
        <p:grpSpPr>
          <a:xfrm>
            <a:off x="250014" y="5252824"/>
            <a:ext cx="605269" cy="277835"/>
            <a:chOff x="1217008" y="3942124"/>
            <a:chExt cx="605269" cy="277835"/>
          </a:xfrm>
        </p:grpSpPr>
        <p:sp>
          <p:nvSpPr>
            <p:cNvPr id="133" name="Скругленный прямоугольник 132">
              <a:extLst>
                <a:ext uri="{FF2B5EF4-FFF2-40B4-BE49-F238E27FC236}">
                  <a16:creationId xmlns:a16="http://schemas.microsoft.com/office/drawing/2014/main" xmlns="" id="{64882590-7B5B-C6D4-0480-438D960AE6E5}"/>
                </a:ext>
              </a:extLst>
            </p:cNvPr>
            <p:cNvSpPr/>
            <p:nvPr/>
          </p:nvSpPr>
          <p:spPr>
            <a:xfrm>
              <a:off x="1217008" y="3942124"/>
              <a:ext cx="605269" cy="277835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4" name="Picture 4">
              <a:extLst>
                <a:ext uri="{FF2B5EF4-FFF2-40B4-BE49-F238E27FC236}">
                  <a16:creationId xmlns:a16="http://schemas.microsoft.com/office/drawing/2014/main" xmlns="" id="{0E64CCF9-3DF6-C54C-8378-6B85E38FE56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44789" y="3980880"/>
              <a:ext cx="342225" cy="1819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Группа 17"/>
          <p:cNvGrpSpPr/>
          <p:nvPr/>
        </p:nvGrpSpPr>
        <p:grpSpPr>
          <a:xfrm>
            <a:off x="1995166" y="5231931"/>
            <a:ext cx="3585560" cy="976320"/>
            <a:chOff x="2328080" y="3921231"/>
            <a:chExt cx="3585560" cy="976320"/>
          </a:xfrm>
        </p:grpSpPr>
        <p:grpSp>
          <p:nvGrpSpPr>
            <p:cNvPr id="90" name="Группа 89">
              <a:extLst>
                <a:ext uri="{FF2B5EF4-FFF2-40B4-BE49-F238E27FC236}">
                  <a16:creationId xmlns:a16="http://schemas.microsoft.com/office/drawing/2014/main" xmlns="" id="{DB301875-DAB6-C922-A102-5C8F6D09E680}"/>
                </a:ext>
              </a:extLst>
            </p:cNvPr>
            <p:cNvGrpSpPr/>
            <p:nvPr/>
          </p:nvGrpSpPr>
          <p:grpSpPr>
            <a:xfrm>
              <a:off x="4375733" y="3921231"/>
              <a:ext cx="690031" cy="279576"/>
              <a:chOff x="4722642" y="1207692"/>
              <a:chExt cx="1135234" cy="459956"/>
            </a:xfrm>
          </p:grpSpPr>
          <p:sp>
            <p:nvSpPr>
              <p:cNvPr id="114" name="Скругленный прямоугольник 113">
                <a:extLst>
                  <a:ext uri="{FF2B5EF4-FFF2-40B4-BE49-F238E27FC236}">
                    <a16:creationId xmlns:a16="http://schemas.microsoft.com/office/drawing/2014/main" xmlns="" id="{5E7D1416-AD2E-6802-08ED-555B75BC43A4}"/>
                  </a:ext>
                </a:extLst>
              </p:cNvPr>
              <p:cNvSpPr/>
              <p:nvPr/>
            </p:nvSpPr>
            <p:spPr>
              <a:xfrm>
                <a:off x="4722642" y="1207692"/>
                <a:ext cx="1135234" cy="4599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15" name="Рисунок 114">
                <a:extLst>
                  <a:ext uri="{FF2B5EF4-FFF2-40B4-BE49-F238E27FC236}">
                    <a16:creationId xmlns:a16="http://schemas.microsoft.com/office/drawing/2014/main" xmlns="" id="{82BAF7D4-629C-F24B-34CB-3B85A4F6770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363" t="15765" r="4688" b="14243"/>
              <a:stretch/>
            </p:blipFill>
            <p:spPr>
              <a:xfrm>
                <a:off x="4917676" y="1242982"/>
                <a:ext cx="753354" cy="389374"/>
              </a:xfrm>
              <a:prstGeom prst="rect">
                <a:avLst/>
              </a:prstGeom>
            </p:spPr>
          </p:pic>
        </p:grpSp>
        <p:grpSp>
          <p:nvGrpSpPr>
            <p:cNvPr id="91" name="Группа 90">
              <a:extLst>
                <a:ext uri="{FF2B5EF4-FFF2-40B4-BE49-F238E27FC236}">
                  <a16:creationId xmlns:a16="http://schemas.microsoft.com/office/drawing/2014/main" xmlns="" id="{9E83B523-8064-F458-1C58-03989BC2CD98}"/>
                </a:ext>
              </a:extLst>
            </p:cNvPr>
            <p:cNvGrpSpPr/>
            <p:nvPr/>
          </p:nvGrpSpPr>
          <p:grpSpPr>
            <a:xfrm>
              <a:off x="5119814" y="3921231"/>
              <a:ext cx="690031" cy="279576"/>
              <a:chOff x="5287376" y="1207692"/>
              <a:chExt cx="1135234" cy="459956"/>
            </a:xfrm>
          </p:grpSpPr>
          <p:sp>
            <p:nvSpPr>
              <p:cNvPr id="112" name="Скругленный прямоугольник 111">
                <a:extLst>
                  <a:ext uri="{FF2B5EF4-FFF2-40B4-BE49-F238E27FC236}">
                    <a16:creationId xmlns:a16="http://schemas.microsoft.com/office/drawing/2014/main" xmlns="" id="{7F89DF83-E188-062C-DDDB-919336CE0EF8}"/>
                  </a:ext>
                </a:extLst>
              </p:cNvPr>
              <p:cNvSpPr/>
              <p:nvPr/>
            </p:nvSpPr>
            <p:spPr>
              <a:xfrm>
                <a:off x="5287376" y="1207692"/>
                <a:ext cx="1135234" cy="4599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13" name="Рисунок 112">
                <a:extLst>
                  <a:ext uri="{FF2B5EF4-FFF2-40B4-BE49-F238E27FC236}">
                    <a16:creationId xmlns:a16="http://schemas.microsoft.com/office/drawing/2014/main" xmlns="" id="{F6C7CA71-E5A6-A13E-067E-67BDBD0F2D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18797" y="1304382"/>
                <a:ext cx="872392" cy="279824"/>
              </a:xfrm>
              <a:prstGeom prst="rect">
                <a:avLst/>
              </a:prstGeom>
            </p:spPr>
          </p:pic>
        </p:grpSp>
        <p:grpSp>
          <p:nvGrpSpPr>
            <p:cNvPr id="92" name="Группа 91">
              <a:extLst>
                <a:ext uri="{FF2B5EF4-FFF2-40B4-BE49-F238E27FC236}">
                  <a16:creationId xmlns:a16="http://schemas.microsoft.com/office/drawing/2014/main" xmlns="" id="{A5607FAA-2922-9384-9ECB-1A26D7FFADC4}"/>
                </a:ext>
              </a:extLst>
            </p:cNvPr>
            <p:cNvGrpSpPr/>
            <p:nvPr/>
          </p:nvGrpSpPr>
          <p:grpSpPr>
            <a:xfrm>
              <a:off x="5147246" y="4263076"/>
              <a:ext cx="766394" cy="279576"/>
              <a:chOff x="6511532" y="1207692"/>
              <a:chExt cx="1260867" cy="459956"/>
            </a:xfrm>
          </p:grpSpPr>
          <p:sp>
            <p:nvSpPr>
              <p:cNvPr id="110" name="Скругленный прямоугольник 109">
                <a:extLst>
                  <a:ext uri="{FF2B5EF4-FFF2-40B4-BE49-F238E27FC236}">
                    <a16:creationId xmlns:a16="http://schemas.microsoft.com/office/drawing/2014/main" xmlns="" id="{1A342921-642A-B35F-F330-867D1D7DFCE0}"/>
                  </a:ext>
                </a:extLst>
              </p:cNvPr>
              <p:cNvSpPr/>
              <p:nvPr/>
            </p:nvSpPr>
            <p:spPr>
              <a:xfrm>
                <a:off x="6511532" y="1207692"/>
                <a:ext cx="1260867" cy="4599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11" name="Рисунок 110">
                <a:extLst>
                  <a:ext uri="{FF2B5EF4-FFF2-40B4-BE49-F238E27FC236}">
                    <a16:creationId xmlns:a16="http://schemas.microsoft.com/office/drawing/2014/main" xmlns="" id="{02D37030-BCFE-FA4E-4FB3-94A77AD7527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930" t="29212" r="17390" b="29369"/>
              <a:stretch/>
            </p:blipFill>
            <p:spPr>
              <a:xfrm>
                <a:off x="6677019" y="1275025"/>
                <a:ext cx="937553" cy="332258"/>
              </a:xfrm>
              <a:prstGeom prst="rect">
                <a:avLst/>
              </a:prstGeom>
            </p:spPr>
          </p:pic>
        </p:grpSp>
        <p:grpSp>
          <p:nvGrpSpPr>
            <p:cNvPr id="14" name="Группа 13"/>
            <p:cNvGrpSpPr/>
            <p:nvPr/>
          </p:nvGrpSpPr>
          <p:grpSpPr>
            <a:xfrm>
              <a:off x="2328080" y="4264274"/>
              <a:ext cx="483469" cy="279576"/>
              <a:chOff x="6684340" y="4258510"/>
              <a:chExt cx="483469" cy="279576"/>
            </a:xfrm>
          </p:grpSpPr>
          <p:sp>
            <p:nvSpPr>
              <p:cNvPr id="107" name="Скругленный прямоугольник 106">
                <a:extLst>
                  <a:ext uri="{FF2B5EF4-FFF2-40B4-BE49-F238E27FC236}">
                    <a16:creationId xmlns:a16="http://schemas.microsoft.com/office/drawing/2014/main" xmlns="" id="{FD427260-66BA-80AC-739D-3741F7423C25}"/>
                  </a:ext>
                </a:extLst>
              </p:cNvPr>
              <p:cNvSpPr/>
              <p:nvPr/>
            </p:nvSpPr>
            <p:spPr>
              <a:xfrm>
                <a:off x="6684340" y="4258510"/>
                <a:ext cx="483469" cy="27957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08" name="Рисунок 107">
                <a:extLst>
                  <a:ext uri="{FF2B5EF4-FFF2-40B4-BE49-F238E27FC236}">
                    <a16:creationId xmlns:a16="http://schemas.microsoft.com/office/drawing/2014/main" xmlns="" id="{5F27AF59-15A9-5B3E-E9BF-C12605A32C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806867" y="4278712"/>
                <a:ext cx="242385" cy="238096"/>
              </a:xfrm>
              <a:prstGeom prst="rect">
                <a:avLst/>
              </a:prstGeom>
            </p:spPr>
          </p:pic>
        </p:grpSp>
        <p:grpSp>
          <p:nvGrpSpPr>
            <p:cNvPr id="95" name="Группа 94">
              <a:extLst>
                <a:ext uri="{FF2B5EF4-FFF2-40B4-BE49-F238E27FC236}">
                  <a16:creationId xmlns:a16="http://schemas.microsoft.com/office/drawing/2014/main" xmlns="" id="{AA351F89-B24D-1910-9DFD-F833E13A2016}"/>
                </a:ext>
              </a:extLst>
            </p:cNvPr>
            <p:cNvGrpSpPr/>
            <p:nvPr/>
          </p:nvGrpSpPr>
          <p:grpSpPr>
            <a:xfrm>
              <a:off x="4134718" y="4269603"/>
              <a:ext cx="941556" cy="279576"/>
              <a:chOff x="9945021" y="1207692"/>
              <a:chExt cx="1549041" cy="459956"/>
            </a:xfrm>
          </p:grpSpPr>
          <p:sp>
            <p:nvSpPr>
              <p:cNvPr id="103" name="Скругленный прямоугольник 102">
                <a:extLst>
                  <a:ext uri="{FF2B5EF4-FFF2-40B4-BE49-F238E27FC236}">
                    <a16:creationId xmlns:a16="http://schemas.microsoft.com/office/drawing/2014/main" xmlns="" id="{57FC1722-0FB0-EC32-175C-35069BD88048}"/>
                  </a:ext>
                </a:extLst>
              </p:cNvPr>
              <p:cNvSpPr/>
              <p:nvPr/>
            </p:nvSpPr>
            <p:spPr>
              <a:xfrm>
                <a:off x="9945021" y="1207692"/>
                <a:ext cx="1549041" cy="4599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04" name="Рисунок 103">
                <a:extLst>
                  <a:ext uri="{FF2B5EF4-FFF2-40B4-BE49-F238E27FC236}">
                    <a16:creationId xmlns:a16="http://schemas.microsoft.com/office/drawing/2014/main" xmlns="" id="{AB9E17D8-9EA7-F01F-76FD-FF3556090C5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173" t="24154" r="18846" b="25535"/>
              <a:stretch/>
            </p:blipFill>
            <p:spPr>
              <a:xfrm>
                <a:off x="10109076" y="1240643"/>
                <a:ext cx="1211218" cy="380668"/>
              </a:xfrm>
              <a:prstGeom prst="rect">
                <a:avLst/>
              </a:prstGeom>
            </p:spPr>
          </p:pic>
        </p:grpSp>
        <p:grpSp>
          <p:nvGrpSpPr>
            <p:cNvPr id="96" name="Группа 95">
              <a:extLst>
                <a:ext uri="{FF2B5EF4-FFF2-40B4-BE49-F238E27FC236}">
                  <a16:creationId xmlns:a16="http://schemas.microsoft.com/office/drawing/2014/main" xmlns="" id="{5AA0ABC6-9033-4D9B-28AF-3A7ECA5D0747}"/>
                </a:ext>
              </a:extLst>
            </p:cNvPr>
            <p:cNvGrpSpPr/>
            <p:nvPr/>
          </p:nvGrpSpPr>
          <p:grpSpPr>
            <a:xfrm>
              <a:off x="2328080" y="4617975"/>
              <a:ext cx="1215858" cy="279576"/>
              <a:chOff x="694434" y="1818438"/>
              <a:chExt cx="2000321" cy="459956"/>
            </a:xfrm>
          </p:grpSpPr>
          <p:sp>
            <p:nvSpPr>
              <p:cNvPr id="101" name="Скругленный прямоугольник 100">
                <a:extLst>
                  <a:ext uri="{FF2B5EF4-FFF2-40B4-BE49-F238E27FC236}">
                    <a16:creationId xmlns:a16="http://schemas.microsoft.com/office/drawing/2014/main" xmlns="" id="{1131E849-BAD9-A209-B8F4-ACC4AAFFB1F6}"/>
                  </a:ext>
                </a:extLst>
              </p:cNvPr>
              <p:cNvSpPr/>
              <p:nvPr/>
            </p:nvSpPr>
            <p:spPr>
              <a:xfrm>
                <a:off x="694434" y="1818438"/>
                <a:ext cx="2000321" cy="4599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02" name="Рисунок 101">
                <a:extLst>
                  <a:ext uri="{FF2B5EF4-FFF2-40B4-BE49-F238E27FC236}">
                    <a16:creationId xmlns:a16="http://schemas.microsoft.com/office/drawing/2014/main" xmlns="" id="{44BEB936-AA27-4300-9259-704BF2F613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3547" y="1903499"/>
                <a:ext cx="1720328" cy="277721"/>
              </a:xfrm>
              <a:prstGeom prst="rect">
                <a:avLst/>
              </a:prstGeom>
            </p:spPr>
          </p:pic>
        </p:grpSp>
        <p:grpSp>
          <p:nvGrpSpPr>
            <p:cNvPr id="98" name="Группа 97">
              <a:extLst>
                <a:ext uri="{FF2B5EF4-FFF2-40B4-BE49-F238E27FC236}">
                  <a16:creationId xmlns:a16="http://schemas.microsoft.com/office/drawing/2014/main" xmlns="" id="{5F70C365-3325-7CBD-790F-095607F5BF05}"/>
                </a:ext>
              </a:extLst>
            </p:cNvPr>
            <p:cNvGrpSpPr/>
            <p:nvPr/>
          </p:nvGrpSpPr>
          <p:grpSpPr>
            <a:xfrm>
              <a:off x="4750646" y="4617975"/>
              <a:ext cx="1057778" cy="279576"/>
              <a:chOff x="4680024" y="1818438"/>
              <a:chExt cx="1740250" cy="459956"/>
            </a:xfrm>
          </p:grpSpPr>
          <p:sp>
            <p:nvSpPr>
              <p:cNvPr id="99" name="Скругленный прямоугольник 98">
                <a:extLst>
                  <a:ext uri="{FF2B5EF4-FFF2-40B4-BE49-F238E27FC236}">
                    <a16:creationId xmlns:a16="http://schemas.microsoft.com/office/drawing/2014/main" xmlns="" id="{C0D40FE0-CE01-5A0E-349D-09AD930EED46}"/>
                  </a:ext>
                </a:extLst>
              </p:cNvPr>
              <p:cNvSpPr/>
              <p:nvPr/>
            </p:nvSpPr>
            <p:spPr>
              <a:xfrm>
                <a:off x="4680024" y="1818438"/>
                <a:ext cx="1740250" cy="45995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00" name="Рисунок 99">
                <a:extLst>
                  <a:ext uri="{FF2B5EF4-FFF2-40B4-BE49-F238E27FC236}">
                    <a16:creationId xmlns:a16="http://schemas.microsoft.com/office/drawing/2014/main" xmlns="" id="{6946FF26-E405-1226-132C-5B888887885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6673" b="34769"/>
              <a:stretch/>
            </p:blipFill>
            <p:spPr>
              <a:xfrm>
                <a:off x="4800177" y="1915438"/>
                <a:ext cx="1489490" cy="283577"/>
              </a:xfrm>
              <a:prstGeom prst="rect">
                <a:avLst/>
              </a:prstGeom>
            </p:spPr>
          </p:pic>
        </p:grpSp>
        <p:grpSp>
          <p:nvGrpSpPr>
            <p:cNvPr id="12" name="Группа 11"/>
            <p:cNvGrpSpPr/>
            <p:nvPr/>
          </p:nvGrpSpPr>
          <p:grpSpPr>
            <a:xfrm>
              <a:off x="3594072" y="4617975"/>
              <a:ext cx="1104084" cy="279576"/>
              <a:chOff x="5329047" y="4632042"/>
              <a:chExt cx="1104084" cy="279576"/>
            </a:xfrm>
          </p:grpSpPr>
          <p:sp>
            <p:nvSpPr>
              <p:cNvPr id="97" name="Скругленный прямоугольник 96">
                <a:extLst>
                  <a:ext uri="{FF2B5EF4-FFF2-40B4-BE49-F238E27FC236}">
                    <a16:creationId xmlns:a16="http://schemas.microsoft.com/office/drawing/2014/main" xmlns="" id="{2EDCB4CE-51CF-ECCF-1148-B86FC26E15C2}"/>
                  </a:ext>
                </a:extLst>
              </p:cNvPr>
              <p:cNvSpPr/>
              <p:nvPr/>
            </p:nvSpPr>
            <p:spPr>
              <a:xfrm>
                <a:off x="5329047" y="4632042"/>
                <a:ext cx="1104084" cy="27957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pic>
            <p:nvPicPr>
              <p:cNvPr id="85" name="Рисунок 84">
                <a:extLst>
                  <a:ext uri="{FF2B5EF4-FFF2-40B4-BE49-F238E27FC236}">
                    <a16:creationId xmlns:a16="http://schemas.microsoft.com/office/drawing/2014/main" xmlns="" id="{E87EBC49-981A-A6A1-84E1-5DD799CB44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29771" y="4725140"/>
                <a:ext cx="883583" cy="101612"/>
              </a:xfrm>
              <a:prstGeom prst="rect">
                <a:avLst/>
              </a:prstGeom>
            </p:spPr>
          </p:pic>
        </p:grpSp>
        <p:grpSp>
          <p:nvGrpSpPr>
            <p:cNvPr id="13" name="Группа 12"/>
            <p:cNvGrpSpPr/>
            <p:nvPr/>
          </p:nvGrpSpPr>
          <p:grpSpPr>
            <a:xfrm>
              <a:off x="2864700" y="4264274"/>
              <a:ext cx="483469" cy="279576"/>
              <a:chOff x="7220960" y="4258510"/>
              <a:chExt cx="483469" cy="279576"/>
            </a:xfrm>
          </p:grpSpPr>
          <p:sp>
            <p:nvSpPr>
              <p:cNvPr id="109" name="Скругленный прямоугольник 108">
                <a:extLst>
                  <a:ext uri="{FF2B5EF4-FFF2-40B4-BE49-F238E27FC236}">
                    <a16:creationId xmlns:a16="http://schemas.microsoft.com/office/drawing/2014/main" xmlns="" id="{44315CCC-E59A-8A9D-A35B-0B17D927EC89}"/>
                  </a:ext>
                </a:extLst>
              </p:cNvPr>
              <p:cNvSpPr/>
              <p:nvPr/>
            </p:nvSpPr>
            <p:spPr>
              <a:xfrm>
                <a:off x="7220960" y="4258510"/>
                <a:ext cx="483469" cy="27957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86" name="Рисунок 85">
                <a:extLst>
                  <a:ext uri="{FF2B5EF4-FFF2-40B4-BE49-F238E27FC236}">
                    <a16:creationId xmlns:a16="http://schemas.microsoft.com/office/drawing/2014/main" xmlns="" id="{6C8AB97D-7DB6-D496-7E7C-AA94BFA8F5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33678" y="4308958"/>
                <a:ext cx="285447" cy="192436"/>
              </a:xfrm>
              <a:prstGeom prst="rect">
                <a:avLst/>
              </a:prstGeom>
            </p:spPr>
          </p:pic>
        </p:grpSp>
        <p:grpSp>
          <p:nvGrpSpPr>
            <p:cNvPr id="7" name="Группа 6"/>
            <p:cNvGrpSpPr/>
            <p:nvPr/>
          </p:nvGrpSpPr>
          <p:grpSpPr>
            <a:xfrm>
              <a:off x="2330209" y="3921231"/>
              <a:ext cx="507201" cy="279576"/>
              <a:chOff x="2330209" y="4258510"/>
              <a:chExt cx="507201" cy="279576"/>
            </a:xfrm>
          </p:grpSpPr>
          <p:sp>
            <p:nvSpPr>
              <p:cNvPr id="44074" name="Скругленный прямоугольник 44073">
                <a:extLst>
                  <a:ext uri="{FF2B5EF4-FFF2-40B4-BE49-F238E27FC236}">
                    <a16:creationId xmlns:a16="http://schemas.microsoft.com/office/drawing/2014/main" xmlns="" id="{3D9E550A-8275-B4A0-9D95-C43D1B988822}"/>
                  </a:ext>
                </a:extLst>
              </p:cNvPr>
              <p:cNvSpPr/>
              <p:nvPr/>
            </p:nvSpPr>
            <p:spPr>
              <a:xfrm>
                <a:off x="2330209" y="4258510"/>
                <a:ext cx="507201" cy="27957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35" name="Picture 2" descr="https://gazeta-kurkino.ru/upload/iblock/4dc/4dcbb96dc47cb633488d915a42a559e9.png">
                <a:extLst>
                  <a:ext uri="{FF2B5EF4-FFF2-40B4-BE49-F238E27FC236}">
                    <a16:creationId xmlns:a16="http://schemas.microsoft.com/office/drawing/2014/main" xmlns="" id="{646A6AD6-0412-06FA-7596-EFC20813121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72472" y="4349938"/>
                <a:ext cx="391126" cy="10967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8" name="Группа 7"/>
            <p:cNvGrpSpPr/>
            <p:nvPr/>
          </p:nvGrpSpPr>
          <p:grpSpPr>
            <a:xfrm>
              <a:off x="2891459" y="3921231"/>
              <a:ext cx="868973" cy="279576"/>
              <a:chOff x="2891459" y="4258510"/>
              <a:chExt cx="868973" cy="279576"/>
            </a:xfrm>
          </p:grpSpPr>
          <p:sp>
            <p:nvSpPr>
              <p:cNvPr id="116" name="Скругленный прямоугольник 115">
                <a:extLst>
                  <a:ext uri="{FF2B5EF4-FFF2-40B4-BE49-F238E27FC236}">
                    <a16:creationId xmlns:a16="http://schemas.microsoft.com/office/drawing/2014/main" xmlns="" id="{980E0DB7-8403-E9D7-C30E-B841502DDBC7}"/>
                  </a:ext>
                </a:extLst>
              </p:cNvPr>
              <p:cNvSpPr/>
              <p:nvPr/>
            </p:nvSpPr>
            <p:spPr>
              <a:xfrm>
                <a:off x="2891459" y="4258510"/>
                <a:ext cx="868973" cy="27957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136" name="Рисунок 4" descr="https://kamaz.market/upload/iblock/280/1bc5pwsoy0dhgxesbh56le22rbthekn5.png"/>
              <p:cNvPicPr>
                <a:picLocks noChangeAspect="1" noChangeArrowheads="1"/>
              </p:cNvPicPr>
              <p:nvPr/>
            </p:nvPicPr>
            <p:blipFill rotWithShape="1"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6360" r="27394" b="15828"/>
              <a:stretch/>
            </p:blipFill>
            <p:spPr bwMode="auto">
              <a:xfrm>
                <a:off x="3027999" y="4300452"/>
                <a:ext cx="614887" cy="1930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11" name="Группа 10"/>
            <p:cNvGrpSpPr/>
            <p:nvPr/>
          </p:nvGrpSpPr>
          <p:grpSpPr>
            <a:xfrm>
              <a:off x="3405700" y="4269603"/>
              <a:ext cx="674969" cy="279576"/>
              <a:chOff x="2328080" y="4632042"/>
              <a:chExt cx="674969" cy="279576"/>
            </a:xfrm>
          </p:grpSpPr>
          <p:sp>
            <p:nvSpPr>
              <p:cNvPr id="105" name="Скругленный прямоугольник 104">
                <a:extLst>
                  <a:ext uri="{FF2B5EF4-FFF2-40B4-BE49-F238E27FC236}">
                    <a16:creationId xmlns:a16="http://schemas.microsoft.com/office/drawing/2014/main" xmlns="" id="{7ADBF293-5C57-406F-AC60-3DC2769CDD26}"/>
                  </a:ext>
                </a:extLst>
              </p:cNvPr>
              <p:cNvSpPr/>
              <p:nvPr/>
            </p:nvSpPr>
            <p:spPr>
              <a:xfrm>
                <a:off x="2328080" y="4632042"/>
                <a:ext cx="674969" cy="27957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3" name="Рисунок 2"/>
              <p:cNvPicPr>
                <a:picLocks noChangeAspect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404027" y="4674561"/>
                <a:ext cx="522230" cy="208892"/>
              </a:xfrm>
              <a:prstGeom prst="rect">
                <a:avLst/>
              </a:prstGeom>
            </p:spPr>
          </p:pic>
        </p:grpSp>
        <p:grpSp>
          <p:nvGrpSpPr>
            <p:cNvPr id="10" name="Группа 9"/>
            <p:cNvGrpSpPr/>
            <p:nvPr/>
          </p:nvGrpSpPr>
          <p:grpSpPr>
            <a:xfrm>
              <a:off x="3814482" y="3921231"/>
              <a:ext cx="507201" cy="279576"/>
              <a:chOff x="3814482" y="4258510"/>
              <a:chExt cx="507201" cy="279576"/>
            </a:xfrm>
          </p:grpSpPr>
          <p:sp>
            <p:nvSpPr>
              <p:cNvPr id="44077" name="Скругленный прямоугольник 44076">
                <a:extLst>
                  <a:ext uri="{FF2B5EF4-FFF2-40B4-BE49-F238E27FC236}">
                    <a16:creationId xmlns:a16="http://schemas.microsoft.com/office/drawing/2014/main" xmlns="" id="{1EA5F75B-BF60-5084-38F5-F7C563D22B1E}"/>
                  </a:ext>
                </a:extLst>
              </p:cNvPr>
              <p:cNvSpPr/>
              <p:nvPr/>
            </p:nvSpPr>
            <p:spPr>
              <a:xfrm>
                <a:off x="3814482" y="4258510"/>
                <a:ext cx="507201" cy="279576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90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pic>
            <p:nvPicPr>
              <p:cNvPr id="5" name="Рисунок 4"/>
              <p:cNvPicPr>
                <a:picLocks noChangeAspect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15919" y="4274367"/>
                <a:ext cx="290950" cy="239462"/>
              </a:xfrm>
              <a:prstGeom prst="rect">
                <a:avLst/>
              </a:prstGeom>
            </p:spPr>
          </p:pic>
        </p:grpSp>
      </p:grp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xmlns="" id="{A71E1C21-95A9-2727-1667-4FAF3DFA1792}"/>
              </a:ext>
            </a:extLst>
          </p:cNvPr>
          <p:cNvSpPr/>
          <p:nvPr/>
        </p:nvSpPr>
        <p:spPr>
          <a:xfrm>
            <a:off x="7464982" y="1017128"/>
            <a:ext cx="3954901" cy="1708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10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по поручению Президента РФ на ПМЭФ-2022 </a:t>
            </a:r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xmlns="" id="{F4B898B9-D408-9322-2C3B-628D0694148B}"/>
              </a:ext>
            </a:extLst>
          </p:cNvPr>
          <p:cNvSpPr/>
          <p:nvPr/>
        </p:nvSpPr>
        <p:spPr>
          <a:xfrm>
            <a:off x="7464982" y="2305179"/>
            <a:ext cx="1285318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7846">
              <a:spcAft>
                <a:spcPts val="600"/>
              </a:spcAft>
            </a:pPr>
            <a:r>
              <a:rPr lang="ru-RU" sz="1200" dirty="0" smtClean="0">
                <a:solidFill>
                  <a:srgbClr val="191919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малого бизнеса</a:t>
            </a:r>
          </a:p>
          <a:p>
            <a:pPr defTabSz="1507846">
              <a:spcAft>
                <a:spcPts val="600"/>
              </a:spcAft>
            </a:pPr>
            <a: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ро</a:t>
            </a:r>
            <a: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ст </a:t>
            </a:r>
            <a:r>
              <a:rPr lang="ru-RU" sz="1050" dirty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и новый рынок сбыта </a:t>
            </a:r>
          </a:p>
        </p:txBody>
      </p: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xmlns="" id="{5A90D303-F25B-7DF4-C283-ABB43AAA2415}"/>
              </a:ext>
            </a:extLst>
          </p:cNvPr>
          <p:cNvSpPr/>
          <p:nvPr/>
        </p:nvSpPr>
        <p:spPr>
          <a:xfrm>
            <a:off x="7535766" y="1934905"/>
            <a:ext cx="1299138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ru-RU" spc="7" dirty="0" smtClean="0">
                <a:solidFill>
                  <a:srgbClr val="191919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эффекты</a:t>
            </a:r>
            <a:endParaRPr lang="ru-RU" spc="7" dirty="0">
              <a:solidFill>
                <a:srgbClr val="191919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6" name="Прямоугольник 105">
            <a:extLst>
              <a:ext uri="{FF2B5EF4-FFF2-40B4-BE49-F238E27FC236}">
                <a16:creationId xmlns:a16="http://schemas.microsoft.com/office/drawing/2014/main" xmlns="" id="{E83D7E2E-34A7-01FF-EC8D-4D4C11D997D9}"/>
              </a:ext>
            </a:extLst>
          </p:cNvPr>
          <p:cNvSpPr/>
          <p:nvPr/>
        </p:nvSpPr>
        <p:spPr>
          <a:xfrm>
            <a:off x="8964275" y="2305179"/>
            <a:ext cx="1273911" cy="106952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7846">
              <a:spcAft>
                <a:spcPts val="600"/>
              </a:spcAft>
            </a:pPr>
            <a:r>
              <a:rPr lang="ru-RU" sz="1200" dirty="0">
                <a:solidFill>
                  <a:srgbClr val="191919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</a:t>
            </a:r>
            <a:r>
              <a:rPr lang="ru-RU" sz="1200" dirty="0" smtClean="0">
                <a:solidFill>
                  <a:srgbClr val="191919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заказчика</a:t>
            </a:r>
          </a:p>
          <a:p>
            <a:pPr defTabSz="1507846">
              <a:spcAft>
                <a:spcPts val="600"/>
              </a:spcAft>
            </a:pPr>
            <a: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</a:t>
            </a:r>
            <a: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олучение </a:t>
            </a:r>
            <a:r>
              <a:rPr lang="ru-RU" sz="1050" dirty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родукции нужного качества </a:t>
            </a:r>
            <a: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/>
            </a:r>
            <a:b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</a:br>
            <a: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в </a:t>
            </a:r>
            <a:r>
              <a:rPr lang="ru-RU" sz="1050" dirty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необходимом объеме</a:t>
            </a:r>
          </a:p>
        </p:txBody>
      </p:sp>
      <p:sp>
        <p:nvSpPr>
          <p:cNvPr id="121" name="Прямоугольник 120">
            <a:extLst>
              <a:ext uri="{FF2B5EF4-FFF2-40B4-BE49-F238E27FC236}">
                <a16:creationId xmlns:a16="http://schemas.microsoft.com/office/drawing/2014/main" xmlns="" id="{AEABDDC9-E629-E40F-476B-741BF48F7702}"/>
              </a:ext>
            </a:extLst>
          </p:cNvPr>
          <p:cNvSpPr/>
          <p:nvPr/>
        </p:nvSpPr>
        <p:spPr>
          <a:xfrm>
            <a:off x="10553021" y="2305179"/>
            <a:ext cx="1467184" cy="9079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507846">
              <a:spcAft>
                <a:spcPts val="600"/>
              </a:spcAft>
            </a:pPr>
            <a:r>
              <a:rPr lang="ru-RU" sz="1200" dirty="0">
                <a:solidFill>
                  <a:srgbClr val="191919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</a:t>
            </a:r>
            <a:r>
              <a:rPr lang="ru-RU" sz="1200" dirty="0" smtClean="0">
                <a:solidFill>
                  <a:srgbClr val="191919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региона</a:t>
            </a:r>
          </a:p>
          <a:p>
            <a:pPr defTabSz="1507846">
              <a:spcAft>
                <a:spcPts val="600"/>
              </a:spcAft>
            </a:pPr>
            <a: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</a:t>
            </a:r>
            <a: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оздание </a:t>
            </a:r>
            <a:r>
              <a:rPr lang="ru-RU" sz="1050" dirty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нового отечественного производства </a:t>
            </a:r>
            <a: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и </a:t>
            </a:r>
            <a:r>
              <a:rPr lang="ru-RU" sz="1050" dirty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рабочих </a:t>
            </a:r>
            <a:r>
              <a:rPr lang="ru-RU" sz="1050" dirty="0" smtClean="0">
                <a:solidFill>
                  <a:srgbClr val="191919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мест</a:t>
            </a:r>
            <a:endParaRPr lang="ru-RU" sz="1050" dirty="0">
              <a:solidFill>
                <a:srgbClr val="191919"/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137" name="Прямоугольник 136">
            <a:extLst>
              <a:ext uri="{FF2B5EF4-FFF2-40B4-BE49-F238E27FC236}">
                <a16:creationId xmlns:a16="http://schemas.microsoft.com/office/drawing/2014/main" xmlns="" id="{A39BD8A9-1879-DD98-024A-04345C52F331}"/>
              </a:ext>
            </a:extLst>
          </p:cNvPr>
          <p:cNvSpPr/>
          <p:nvPr/>
        </p:nvSpPr>
        <p:spPr>
          <a:xfrm>
            <a:off x="7476874" y="3837476"/>
            <a:ext cx="863396" cy="281134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200" dirty="0">
              <a:solidFill>
                <a:prstClr val="white"/>
              </a:solidFill>
            </a:endParaRP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xmlns="" id="{72DA9867-90C1-AED1-D204-C25FE8037C07}"/>
              </a:ext>
            </a:extLst>
          </p:cNvPr>
          <p:cNvSpPr/>
          <p:nvPr/>
        </p:nvSpPr>
        <p:spPr>
          <a:xfrm>
            <a:off x="7535766" y="3811582"/>
            <a:ext cx="1048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r>
              <a:rPr lang="ru-RU" spc="7" dirty="0" smtClean="0">
                <a:solidFill>
                  <a:srgbClr val="191919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татус</a:t>
            </a:r>
            <a:endParaRPr lang="ru-RU" spc="7" dirty="0">
              <a:solidFill>
                <a:srgbClr val="191919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40" name="Прямоугольник 139">
            <a:extLst>
              <a:ext uri="{FF2B5EF4-FFF2-40B4-BE49-F238E27FC236}">
                <a16:creationId xmlns:a16="http://schemas.microsoft.com/office/drawing/2014/main" xmlns="" id="{17A2E610-1743-4E99-E05E-75A4B9CCE100}"/>
              </a:ext>
            </a:extLst>
          </p:cNvPr>
          <p:cNvSpPr/>
          <p:nvPr/>
        </p:nvSpPr>
        <p:spPr>
          <a:xfrm>
            <a:off x="8435617" y="3889372"/>
            <a:ext cx="14290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200" b="1" dirty="0">
                <a:solidFill>
                  <a:srgbClr val="19191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9.12.2022</a:t>
            </a:r>
          </a:p>
        </p:txBody>
      </p:sp>
      <p:sp>
        <p:nvSpPr>
          <p:cNvPr id="141" name="Прямоугольник 140">
            <a:extLst>
              <a:ext uri="{FF2B5EF4-FFF2-40B4-BE49-F238E27FC236}">
                <a16:creationId xmlns:a16="http://schemas.microsoft.com/office/drawing/2014/main" xmlns="" id="{6EBC2359-DF7E-FEA0-2C2F-519C51050648}"/>
              </a:ext>
            </a:extLst>
          </p:cNvPr>
          <p:cNvSpPr/>
          <p:nvPr/>
        </p:nvSpPr>
        <p:spPr>
          <a:xfrm>
            <a:off x="7457362" y="5816447"/>
            <a:ext cx="603702" cy="38601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R="2216">
              <a:spcAft>
                <a:spcPts val="600"/>
              </a:spcAft>
            </a:pPr>
            <a: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рок </a:t>
            </a:r>
            <a:b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оставки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2" name="Прямоугольник 141">
            <a:extLst>
              <a:ext uri="{FF2B5EF4-FFF2-40B4-BE49-F238E27FC236}">
                <a16:creationId xmlns:a16="http://schemas.microsoft.com/office/drawing/2014/main" xmlns="" id="{EABB933F-03DC-A831-08A1-02C8E5B95483}"/>
              </a:ext>
            </a:extLst>
          </p:cNvPr>
          <p:cNvSpPr/>
          <p:nvPr/>
        </p:nvSpPr>
        <p:spPr>
          <a:xfrm>
            <a:off x="8106523" y="5868835"/>
            <a:ext cx="126919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216">
              <a:spcBef>
                <a:spcPts val="288"/>
              </a:spcBef>
              <a:spcAft>
                <a:spcPts val="523"/>
              </a:spcAft>
            </a:pPr>
            <a:r>
              <a:rPr lang="ru-RU" sz="1600" spc="-9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2023-2025 </a:t>
            </a:r>
            <a:r>
              <a:rPr lang="ru-RU" sz="1000" spc="-9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гг.</a:t>
            </a:r>
          </a:p>
        </p:txBody>
      </p:sp>
      <p:sp>
        <p:nvSpPr>
          <p:cNvPr id="143" name="Прямоугольник 142">
            <a:extLst>
              <a:ext uri="{FF2B5EF4-FFF2-40B4-BE49-F238E27FC236}">
                <a16:creationId xmlns:a16="http://schemas.microsoft.com/office/drawing/2014/main" xmlns="" id="{2C381F44-8015-9F8E-DF10-85E54D561C90}"/>
              </a:ext>
            </a:extLst>
          </p:cNvPr>
          <p:cNvSpPr/>
          <p:nvPr/>
        </p:nvSpPr>
        <p:spPr>
          <a:xfrm>
            <a:off x="10564504" y="5419449"/>
            <a:ext cx="127522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216">
              <a:spcBef>
                <a:spcPts val="288"/>
              </a:spcBef>
              <a:spcAft>
                <a:spcPts val="523"/>
              </a:spcAft>
            </a:pPr>
            <a:r>
              <a:rPr lang="ru-RU" sz="1600" spc="-9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120,3</a:t>
            </a:r>
            <a:r>
              <a:rPr lang="ru-RU" sz="1600" spc="-3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r>
              <a:rPr lang="ru-RU" sz="1000" spc="-3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лн </a:t>
            </a:r>
            <a:r>
              <a:rPr lang="ru-RU" sz="1000" spc="-3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руб. 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4" name="Прямоугольник 143">
            <a:extLst>
              <a:ext uri="{FF2B5EF4-FFF2-40B4-BE49-F238E27FC236}">
                <a16:creationId xmlns:a16="http://schemas.microsoft.com/office/drawing/2014/main" xmlns="" id="{44778463-6DB4-0C9B-F344-63EB7A06A226}"/>
              </a:ext>
            </a:extLst>
          </p:cNvPr>
          <p:cNvSpPr/>
          <p:nvPr/>
        </p:nvSpPr>
        <p:spPr>
          <a:xfrm>
            <a:off x="9857092" y="5816447"/>
            <a:ext cx="825677" cy="38601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R="2216">
              <a:spcAft>
                <a:spcPts val="600"/>
              </a:spcAft>
            </a:pPr>
            <a: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размер </a:t>
            </a:r>
            <a:b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инвестиций 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5" name="Прямоугольник 144">
            <a:extLst>
              <a:ext uri="{FF2B5EF4-FFF2-40B4-BE49-F238E27FC236}">
                <a16:creationId xmlns:a16="http://schemas.microsoft.com/office/drawing/2014/main" xmlns="" id="{DB169CF4-9F8D-C9CC-0364-9B0147809027}"/>
              </a:ext>
            </a:extLst>
          </p:cNvPr>
          <p:cNvSpPr/>
          <p:nvPr/>
        </p:nvSpPr>
        <p:spPr>
          <a:xfrm>
            <a:off x="10605193" y="5730188"/>
            <a:ext cx="1521906" cy="3847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216">
              <a:lnSpc>
                <a:spcPts val="1500"/>
              </a:lnSpc>
              <a:spcBef>
                <a:spcPts val="288"/>
              </a:spcBef>
              <a:spcAft>
                <a:spcPts val="523"/>
              </a:spcAft>
            </a:pPr>
            <a:r>
              <a:rPr lang="ru-RU" sz="1000" spc="-3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не менее</a:t>
            </a:r>
            <a:r>
              <a:rPr lang="ru-RU" sz="1600" spc="-3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br>
              <a:rPr lang="ru-RU" sz="1600" spc="-3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ru-RU" sz="1600" spc="-9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50</a:t>
            </a:r>
            <a:r>
              <a:rPr lang="ru-RU" sz="1600" spc="-3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r>
              <a:rPr lang="ru-RU" sz="1000" spc="-3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лн руб. 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7" name="Прямоугольник 146">
            <a:extLst>
              <a:ext uri="{FF2B5EF4-FFF2-40B4-BE49-F238E27FC236}">
                <a16:creationId xmlns:a16="http://schemas.microsoft.com/office/drawing/2014/main" xmlns="" id="{97964E94-B33B-0078-1086-577BA0C41CAE}"/>
              </a:ext>
            </a:extLst>
          </p:cNvPr>
          <p:cNvSpPr/>
          <p:nvPr/>
        </p:nvSpPr>
        <p:spPr>
          <a:xfrm>
            <a:off x="7464982" y="5371311"/>
            <a:ext cx="741427" cy="38601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R="2216">
              <a:spcAft>
                <a:spcPts val="600"/>
              </a:spcAft>
            </a:pPr>
            <a: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бъем</a:t>
            </a:r>
            <a:b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закупки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8" name="Прямоугольник 147">
            <a:extLst>
              <a:ext uri="{FF2B5EF4-FFF2-40B4-BE49-F238E27FC236}">
                <a16:creationId xmlns:a16="http://schemas.microsoft.com/office/drawing/2014/main" xmlns="" id="{00D9DA61-3E3D-34E9-7696-EAE3BF9509D9}"/>
              </a:ext>
            </a:extLst>
          </p:cNvPr>
          <p:cNvSpPr/>
          <p:nvPr/>
        </p:nvSpPr>
        <p:spPr>
          <a:xfrm>
            <a:off x="8082041" y="5348590"/>
            <a:ext cx="169608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216">
              <a:spcBef>
                <a:spcPts val="288"/>
              </a:spcBef>
              <a:spcAft>
                <a:spcPts val="523"/>
              </a:spcAft>
            </a:pPr>
            <a:r>
              <a:rPr lang="en-US" sz="1600" spc="-9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100 </a:t>
            </a:r>
            <a:r>
              <a:rPr lang="ru-RU" sz="1000" spc="-9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тыс. транспортеров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9" name="Прямоугольник 148">
            <a:extLst>
              <a:ext uri="{FF2B5EF4-FFF2-40B4-BE49-F238E27FC236}">
                <a16:creationId xmlns:a16="http://schemas.microsoft.com/office/drawing/2014/main" xmlns="" id="{B13D193E-D456-26DE-D7DE-2C77654CC039}"/>
              </a:ext>
            </a:extLst>
          </p:cNvPr>
          <p:cNvSpPr/>
          <p:nvPr/>
        </p:nvSpPr>
        <p:spPr>
          <a:xfrm>
            <a:off x="8082041" y="5551093"/>
            <a:ext cx="150183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216">
              <a:spcBef>
                <a:spcPts val="288"/>
              </a:spcBef>
              <a:spcAft>
                <a:spcPts val="523"/>
              </a:spcAft>
            </a:pPr>
            <a:r>
              <a:rPr lang="en-US" sz="1600" spc="-9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10 </a:t>
            </a:r>
            <a:r>
              <a:rPr lang="ru-RU" sz="1000" spc="-9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тыс. держателей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0" name="Прямоугольник 149">
            <a:extLst>
              <a:ext uri="{FF2B5EF4-FFF2-40B4-BE49-F238E27FC236}">
                <a16:creationId xmlns:a16="http://schemas.microsoft.com/office/drawing/2014/main" xmlns="" id="{3A4D3704-4DC0-4F0E-7018-D1AA7716538C}"/>
              </a:ext>
            </a:extLst>
          </p:cNvPr>
          <p:cNvSpPr/>
          <p:nvPr/>
        </p:nvSpPr>
        <p:spPr>
          <a:xfrm>
            <a:off x="9864712" y="5371311"/>
            <a:ext cx="699792" cy="39444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R="2216">
              <a:spcAft>
                <a:spcPts val="600"/>
              </a:spcAft>
            </a:pPr>
            <a: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бщая </a:t>
            </a:r>
            <a:b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0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тоимость </a:t>
            </a:r>
            <a:endParaRPr lang="ru-RU" sz="1000" spc="-9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6" name="Группа 25"/>
          <p:cNvGrpSpPr/>
          <p:nvPr/>
        </p:nvGrpSpPr>
        <p:grpSpPr>
          <a:xfrm>
            <a:off x="7469089" y="4361175"/>
            <a:ext cx="4538541" cy="655004"/>
            <a:chOff x="7469089" y="3472406"/>
            <a:chExt cx="4538541" cy="655004"/>
          </a:xfrm>
        </p:grpSpPr>
        <p:grpSp>
          <p:nvGrpSpPr>
            <p:cNvPr id="23" name="Группа 22"/>
            <p:cNvGrpSpPr/>
            <p:nvPr/>
          </p:nvGrpSpPr>
          <p:grpSpPr>
            <a:xfrm>
              <a:off x="7469089" y="3472406"/>
              <a:ext cx="4538541" cy="647384"/>
              <a:chOff x="7371519" y="3472406"/>
              <a:chExt cx="4538541" cy="647384"/>
            </a:xfrm>
          </p:grpSpPr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xmlns="" id="{56B78359-EB43-E67D-21F3-F0BB60DE2858}"/>
                  </a:ext>
                </a:extLst>
              </p:cNvPr>
              <p:cNvSpPr txBox="1"/>
              <p:nvPr/>
            </p:nvSpPr>
            <p:spPr>
              <a:xfrm>
                <a:off x="7432479" y="3572902"/>
                <a:ext cx="1763336" cy="45140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ts val="1440"/>
                  </a:lnSpc>
                </a:pPr>
                <a:r>
                  <a:rPr lang="ru-RU" sz="1200" kern="0" spc="-5" dirty="0" smtClean="0">
                    <a:latin typeface="Segoe UI Black" panose="020B0A02040204020203" pitchFamily="34" charset="0"/>
                    <a:ea typeface="Segoe UI Black" panose="020B0A02040204020203" pitchFamily="34" charset="0"/>
                    <a:cs typeface="Segoe UI Semibold" panose="020B0702040204020203" pitchFamily="34" charset="0"/>
                  </a:rPr>
                  <a:t>заключен первый </a:t>
                </a:r>
                <a:r>
                  <a:rPr lang="ru-RU" sz="1100" b="1" dirty="0" smtClean="0"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офсетный договор</a:t>
                </a: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xmlns="" id="{56B78359-EB43-E67D-21F3-F0BB60DE2858}"/>
                  </a:ext>
                </a:extLst>
              </p:cNvPr>
              <p:cNvSpPr txBox="1"/>
              <p:nvPr/>
            </p:nvSpPr>
            <p:spPr>
              <a:xfrm>
                <a:off x="9215725" y="3559531"/>
                <a:ext cx="1523568" cy="5155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ts val="1100"/>
                  </a:lnSpc>
                  <a:spcAft>
                    <a:spcPts val="600"/>
                  </a:spcAft>
                </a:pPr>
                <a:r>
                  <a:rPr lang="ru-RU" sz="900" spc="-9" dirty="0">
                    <a:latin typeface="Segoe UI Black" panose="020B0A02040204020203" pitchFamily="34" charset="0"/>
                    <a:ea typeface="Segoe UI Black" panose="020B0A02040204020203" pitchFamily="34" charset="0"/>
                    <a:cs typeface="Segoe UI" panose="020B0502040204020203" pitchFamily="34" charset="0"/>
                  </a:rPr>
                  <a:t>поставщик-инвестор</a:t>
                </a:r>
                <a:r>
                  <a:rPr lang="ru-RU" sz="900" dirty="0" smtClean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  <a:t/>
                </a:r>
                <a:br>
                  <a:rPr lang="ru-RU" sz="900" dirty="0" smtClean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</a:br>
                <a:r>
                  <a:rPr lang="ru-RU" sz="900" dirty="0" smtClean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  <a:t>ООО </a:t>
                </a:r>
                <a:r>
                  <a:rPr lang="ru-RU" sz="900" dirty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  <a:t>«СОРБ ИНЖИНИРИНГ</a:t>
                </a:r>
                <a:r>
                  <a:rPr lang="ru-RU" sz="900" dirty="0" smtClean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  <a:t>»</a:t>
                </a:r>
                <a:endParaRPr lang="ru-RU" sz="900" dirty="0">
                  <a:solidFill>
                    <a:srgbClr val="191919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</a:endParaRPr>
              </a:p>
            </p:txBody>
          </p:sp>
          <p:sp>
            <p:nvSpPr>
              <p:cNvPr id="154" name="TextBox 153">
                <a:extLst>
                  <a:ext uri="{FF2B5EF4-FFF2-40B4-BE49-F238E27FC236}">
                    <a16:creationId xmlns:a16="http://schemas.microsoft.com/office/drawing/2014/main" xmlns="" id="{56B78359-EB43-E67D-21F3-F0BB60DE2858}"/>
                  </a:ext>
                </a:extLst>
              </p:cNvPr>
              <p:cNvSpPr txBox="1"/>
              <p:nvPr/>
            </p:nvSpPr>
            <p:spPr>
              <a:xfrm>
                <a:off x="10579508" y="3561432"/>
                <a:ext cx="1221155" cy="51552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lnSpc>
                    <a:spcPts val="1100"/>
                  </a:lnSpc>
                  <a:spcAft>
                    <a:spcPts val="600"/>
                  </a:spcAft>
                </a:pPr>
                <a:r>
                  <a:rPr lang="ru-RU" sz="900" spc="-9" dirty="0" smtClean="0">
                    <a:latin typeface="Segoe UI Black" panose="020B0A02040204020203" pitchFamily="34" charset="0"/>
                    <a:ea typeface="Segoe UI Black" panose="020B0A02040204020203" pitchFamily="34" charset="0"/>
                    <a:cs typeface="Segoe UI" panose="020B0502040204020203" pitchFamily="34" charset="0"/>
                  </a:rPr>
                  <a:t>заказчик</a:t>
                </a:r>
                <a:r>
                  <a:rPr lang="ru-RU" sz="900" dirty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  <a:t/>
                </a:r>
                <a:br>
                  <a:rPr lang="ru-RU" sz="900" dirty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</a:br>
                <a:r>
                  <a:rPr lang="ru-RU" sz="900" dirty="0" smtClean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  <a:t>ООО </a:t>
                </a:r>
                <a:r>
                  <a:rPr lang="ru-RU" sz="900" dirty="0">
                    <a:solidFill>
                      <a:srgbClr val="191919"/>
                    </a:solidFill>
                    <a:latin typeface="Segoe UI Semibold" panose="020B0702040204020203" pitchFamily="34" charset="0"/>
                    <a:ea typeface="PT Root UI" panose="020B0303020202020204" pitchFamily="34" charset="-52"/>
                    <a:cs typeface="Segoe UI Semibold" panose="020B0702040204020203" pitchFamily="34" charset="0"/>
                  </a:rPr>
                  <a:t>«Автодор — Платные Дороги»</a:t>
                </a:r>
              </a:p>
            </p:txBody>
          </p:sp>
          <p:sp>
            <p:nvSpPr>
              <p:cNvPr id="22" name="Скругленный прямоугольник 21"/>
              <p:cNvSpPr/>
              <p:nvPr/>
            </p:nvSpPr>
            <p:spPr>
              <a:xfrm>
                <a:off x="7371519" y="3472406"/>
                <a:ext cx="4538541" cy="647384"/>
              </a:xfrm>
              <a:prstGeom prst="roundRect">
                <a:avLst>
                  <a:gd name="adj" fmla="val 8428"/>
                </a:avLst>
              </a:prstGeom>
              <a:noFill/>
              <a:ln w="19050">
                <a:solidFill>
                  <a:srgbClr val="84E0F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25" name="Прямая соединительная линия 24"/>
            <p:cNvCxnSpPr/>
            <p:nvPr/>
          </p:nvCxnSpPr>
          <p:spPr>
            <a:xfrm>
              <a:off x="9220200" y="3480026"/>
              <a:ext cx="0" cy="647384"/>
            </a:xfrm>
            <a:prstGeom prst="line">
              <a:avLst/>
            </a:prstGeom>
            <a:ln w="19050">
              <a:solidFill>
                <a:srgbClr val="84E0F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5" name="Номер слайда 1"/>
          <p:cNvSpPr txBox="1">
            <a:spLocks/>
          </p:cNvSpPr>
          <p:nvPr/>
        </p:nvSpPr>
        <p:spPr>
          <a:xfrm>
            <a:off x="11531189" y="6553761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2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52" name="Picture 2" descr="http://qrcoder.ru/code/?https%3A%2F%2F%EC%F1%EF.%F0%F4%2Fservices%2Fpurchase_access%2Fpromo&amp;4&amp;0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5688" y="1119390"/>
            <a:ext cx="613557" cy="613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" name="Рисунок 145"/>
          <p:cNvPicPr>
            <a:picLocks noChangeAspect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208138"/>
            <a:ext cx="604745" cy="322513"/>
          </a:xfrm>
          <a:prstGeom prst="rect">
            <a:avLst/>
          </a:prstGeom>
        </p:spPr>
      </p:pic>
      <p:pic>
        <p:nvPicPr>
          <p:cNvPr id="159" name="Рисунок 158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213644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7709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20848" y="0"/>
            <a:ext cx="5620045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0946796" y="6446612"/>
            <a:ext cx="6882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3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7209117" y="4167448"/>
            <a:ext cx="415776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обранных поставщиков продуктов питания </a:t>
            </a:r>
            <a:b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и продукции фермеров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53851" y="5299813"/>
            <a:ext cx="3661420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spc="-40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Заявите о себе в проверенной базе поставщиков продуктов питания сегмента МСП, заинтересуйте ритейлеров и крупные компании или найдите надежного поставщика продукции. Сервис бесплатный, данные реестра проходят проверку Корпорации МСП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6214766" y="4113860"/>
            <a:ext cx="191580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660</a:t>
            </a:r>
            <a:endParaRPr lang="ru-RU" sz="36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5980765" y="5330031"/>
            <a:ext cx="281081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200" dirty="0" smtClean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озможность найти поставщика продуктов питания для своего магазина, гостиницы, ресторана и др.</a:t>
            </a:r>
            <a:endParaRPr lang="ru-RU" sz="1200" dirty="0">
              <a:solidFill>
                <a:srgbClr val="191919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935304" y="5330031"/>
            <a:ext cx="209888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800"/>
              </a:spcAft>
            </a:pPr>
            <a:r>
              <a:rPr lang="ru-RU" sz="1200" dirty="0" smtClean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озможность заявить </a:t>
            </a:r>
            <a:br>
              <a:rPr lang="ru-RU" sz="1200" dirty="0" smtClean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200" dirty="0" smtClean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 себе и найти новых покупателей</a:t>
            </a:r>
            <a:endParaRPr lang="ru-RU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4961" y="5189227"/>
            <a:ext cx="1308093" cy="1308093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375569" y="2060989"/>
            <a:ext cx="3894791" cy="15081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spc="-40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Узнайте потребности федеральных торговых сетей, оптово-распределительных центров, переработчиков сельхозпродукции и других компаний в продовольственных товарах — и предложите свою продукцию. Персональный менеджер поможет вам в общении с заказчиками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6182" y="1919635"/>
            <a:ext cx="1231222" cy="1231222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>
            <a:off x="5936997" y="2397516"/>
            <a:ext cx="257194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едпринимателей обратились за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оддержкой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5936998" y="1815707"/>
            <a:ext cx="1245683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7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00</a:t>
            </a:r>
            <a:endParaRPr lang="ru-RU" sz="36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9119312" y="2397516"/>
            <a:ext cx="318698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едпринимателей у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же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реализуют свою продукцию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9119313" y="1815707"/>
            <a:ext cx="1245683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10</a:t>
            </a:r>
            <a:endParaRPr lang="ru-RU" sz="36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5936998" y="766830"/>
            <a:ext cx="5552811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base">
              <a:lnSpc>
                <a:spcPts val="3000"/>
              </a:lnSpc>
            </a:pPr>
            <a:r>
              <a:rPr lang="ru-RU" sz="28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дукция МСП на полках крупнейших ритейлеров</a:t>
            </a:r>
          </a:p>
        </p:txBody>
      </p:sp>
      <p:pic>
        <p:nvPicPr>
          <p:cNvPr id="38" name="Picture 2" descr="https://misis.ru/files/14276/%D0%9C%D0%B0%D0%B3%D0%BD%D0%B8%D1%82%20%D0%9B%D0%BE%D0%B3%D0%BE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4743" y="3112040"/>
            <a:ext cx="841122" cy="242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Полилиния 49"/>
          <p:cNvSpPr/>
          <p:nvPr/>
        </p:nvSpPr>
        <p:spPr>
          <a:xfrm>
            <a:off x="5936997" y="3039017"/>
            <a:ext cx="957893" cy="388075"/>
          </a:xfrm>
          <a:custGeom>
            <a:avLst/>
            <a:gdLst>
              <a:gd name="connsiteX0" fmla="*/ 233720 w 1138598"/>
              <a:gd name="connsiteY0" fmla="*/ 0 h 467438"/>
              <a:gd name="connsiteX1" fmla="*/ 239757 w 1138598"/>
              <a:gd name="connsiteY1" fmla="*/ 0 h 467438"/>
              <a:gd name="connsiteX2" fmla="*/ 239767 w 1138598"/>
              <a:gd name="connsiteY2" fmla="*/ 0 h 467438"/>
              <a:gd name="connsiteX3" fmla="*/ 255044 w 1138598"/>
              <a:gd name="connsiteY3" fmla="*/ 0 h 467438"/>
              <a:gd name="connsiteX4" fmla="*/ 256820 w 1138598"/>
              <a:gd name="connsiteY4" fmla="*/ 0 h 467438"/>
              <a:gd name="connsiteX5" fmla="*/ 277287 w 1138598"/>
              <a:gd name="connsiteY5" fmla="*/ 0 h 467438"/>
              <a:gd name="connsiteX6" fmla="*/ 283334 w 1138598"/>
              <a:gd name="connsiteY6" fmla="*/ 0 h 467438"/>
              <a:gd name="connsiteX7" fmla="*/ 294350 w 1138598"/>
              <a:gd name="connsiteY7" fmla="*/ 0 h 467438"/>
              <a:gd name="connsiteX8" fmla="*/ 298611 w 1138598"/>
              <a:gd name="connsiteY8" fmla="*/ 0 h 467438"/>
              <a:gd name="connsiteX9" fmla="*/ 300388 w 1138598"/>
              <a:gd name="connsiteY9" fmla="*/ 0 h 467438"/>
              <a:gd name="connsiteX10" fmla="*/ 300397 w 1138598"/>
              <a:gd name="connsiteY10" fmla="*/ 0 h 467438"/>
              <a:gd name="connsiteX11" fmla="*/ 315674 w 1138598"/>
              <a:gd name="connsiteY11" fmla="*/ 0 h 467438"/>
              <a:gd name="connsiteX12" fmla="*/ 331568 w 1138598"/>
              <a:gd name="connsiteY12" fmla="*/ 0 h 467438"/>
              <a:gd name="connsiteX13" fmla="*/ 337918 w 1138598"/>
              <a:gd name="connsiteY13" fmla="*/ 0 h 467438"/>
              <a:gd name="connsiteX14" fmla="*/ 343965 w 1138598"/>
              <a:gd name="connsiteY14" fmla="*/ 0 h 467438"/>
              <a:gd name="connsiteX15" fmla="*/ 355947 w 1138598"/>
              <a:gd name="connsiteY15" fmla="*/ 0 h 467438"/>
              <a:gd name="connsiteX16" fmla="*/ 359242 w 1138598"/>
              <a:gd name="connsiteY16" fmla="*/ 0 h 467438"/>
              <a:gd name="connsiteX17" fmla="*/ 361994 w 1138598"/>
              <a:gd name="connsiteY17" fmla="*/ 0 h 467438"/>
              <a:gd name="connsiteX18" fmla="*/ 375135 w 1138598"/>
              <a:gd name="connsiteY18" fmla="*/ 0 h 467438"/>
              <a:gd name="connsiteX19" fmla="*/ 377271 w 1138598"/>
              <a:gd name="connsiteY19" fmla="*/ 0 h 467438"/>
              <a:gd name="connsiteX20" fmla="*/ 392199 w 1138598"/>
              <a:gd name="connsiteY20" fmla="*/ 0 h 467438"/>
              <a:gd name="connsiteX21" fmla="*/ 399514 w 1138598"/>
              <a:gd name="connsiteY21" fmla="*/ 0 h 467438"/>
              <a:gd name="connsiteX22" fmla="*/ 399524 w 1138598"/>
              <a:gd name="connsiteY22" fmla="*/ 0 h 467438"/>
              <a:gd name="connsiteX23" fmla="*/ 405561 w 1138598"/>
              <a:gd name="connsiteY23" fmla="*/ 0 h 467438"/>
              <a:gd name="connsiteX24" fmla="*/ 414801 w 1138598"/>
              <a:gd name="connsiteY24" fmla="*/ 0 h 467438"/>
              <a:gd name="connsiteX25" fmla="*/ 416577 w 1138598"/>
              <a:gd name="connsiteY25" fmla="*/ 0 h 467438"/>
              <a:gd name="connsiteX26" fmla="*/ 420838 w 1138598"/>
              <a:gd name="connsiteY26" fmla="*/ 0 h 467438"/>
              <a:gd name="connsiteX27" fmla="*/ 420848 w 1138598"/>
              <a:gd name="connsiteY27" fmla="*/ 0 h 467438"/>
              <a:gd name="connsiteX28" fmla="*/ 422625 w 1138598"/>
              <a:gd name="connsiteY28" fmla="*/ 0 h 467438"/>
              <a:gd name="connsiteX29" fmla="*/ 435767 w 1138598"/>
              <a:gd name="connsiteY29" fmla="*/ 0 h 467438"/>
              <a:gd name="connsiteX30" fmla="*/ 437901 w 1138598"/>
              <a:gd name="connsiteY30" fmla="*/ 0 h 467438"/>
              <a:gd name="connsiteX31" fmla="*/ 443091 w 1138598"/>
              <a:gd name="connsiteY31" fmla="*/ 0 h 467438"/>
              <a:gd name="connsiteX32" fmla="*/ 453796 w 1138598"/>
              <a:gd name="connsiteY32" fmla="*/ 0 h 467438"/>
              <a:gd name="connsiteX33" fmla="*/ 458368 w 1138598"/>
              <a:gd name="connsiteY33" fmla="*/ 0 h 467438"/>
              <a:gd name="connsiteX34" fmla="*/ 460145 w 1138598"/>
              <a:gd name="connsiteY34" fmla="*/ 0 h 467438"/>
              <a:gd name="connsiteX35" fmla="*/ 460154 w 1138598"/>
              <a:gd name="connsiteY35" fmla="*/ 0 h 467438"/>
              <a:gd name="connsiteX36" fmla="*/ 464415 w 1138598"/>
              <a:gd name="connsiteY36" fmla="*/ 0 h 467438"/>
              <a:gd name="connsiteX37" fmla="*/ 466193 w 1138598"/>
              <a:gd name="connsiteY37" fmla="*/ 0 h 467438"/>
              <a:gd name="connsiteX38" fmla="*/ 475431 w 1138598"/>
              <a:gd name="connsiteY38" fmla="*/ 0 h 467438"/>
              <a:gd name="connsiteX39" fmla="*/ 481469 w 1138598"/>
              <a:gd name="connsiteY39" fmla="*/ 0 h 467438"/>
              <a:gd name="connsiteX40" fmla="*/ 481478 w 1138598"/>
              <a:gd name="connsiteY40" fmla="*/ 0 h 467438"/>
              <a:gd name="connsiteX41" fmla="*/ 491325 w 1138598"/>
              <a:gd name="connsiteY41" fmla="*/ 0 h 467438"/>
              <a:gd name="connsiteX42" fmla="*/ 497363 w 1138598"/>
              <a:gd name="connsiteY42" fmla="*/ 0 h 467438"/>
              <a:gd name="connsiteX43" fmla="*/ 497373 w 1138598"/>
              <a:gd name="connsiteY43" fmla="*/ 0 h 467438"/>
              <a:gd name="connsiteX44" fmla="*/ 503722 w 1138598"/>
              <a:gd name="connsiteY44" fmla="*/ 0 h 467438"/>
              <a:gd name="connsiteX45" fmla="*/ 512649 w 1138598"/>
              <a:gd name="connsiteY45" fmla="*/ 0 h 467438"/>
              <a:gd name="connsiteX46" fmla="*/ 514426 w 1138598"/>
              <a:gd name="connsiteY46" fmla="*/ 0 h 467438"/>
              <a:gd name="connsiteX47" fmla="*/ 518999 w 1138598"/>
              <a:gd name="connsiteY47" fmla="*/ 0 h 467438"/>
              <a:gd name="connsiteX48" fmla="*/ 521751 w 1138598"/>
              <a:gd name="connsiteY48" fmla="*/ 0 h 467438"/>
              <a:gd name="connsiteX49" fmla="*/ 525046 w 1138598"/>
              <a:gd name="connsiteY49" fmla="*/ 0 h 467438"/>
              <a:gd name="connsiteX50" fmla="*/ 534892 w 1138598"/>
              <a:gd name="connsiteY50" fmla="*/ 0 h 467438"/>
              <a:gd name="connsiteX51" fmla="*/ 537028 w 1138598"/>
              <a:gd name="connsiteY51" fmla="*/ 0 h 467438"/>
              <a:gd name="connsiteX52" fmla="*/ 540940 w 1138598"/>
              <a:gd name="connsiteY52" fmla="*/ 0 h 467438"/>
              <a:gd name="connsiteX53" fmla="*/ 543075 w 1138598"/>
              <a:gd name="connsiteY53" fmla="*/ 0 h 467438"/>
              <a:gd name="connsiteX54" fmla="*/ 551956 w 1138598"/>
              <a:gd name="connsiteY54" fmla="*/ 0 h 467438"/>
              <a:gd name="connsiteX55" fmla="*/ 556217 w 1138598"/>
              <a:gd name="connsiteY55" fmla="*/ 0 h 467438"/>
              <a:gd name="connsiteX56" fmla="*/ 557994 w 1138598"/>
              <a:gd name="connsiteY56" fmla="*/ 0 h 467438"/>
              <a:gd name="connsiteX57" fmla="*/ 558003 w 1138598"/>
              <a:gd name="connsiteY57" fmla="*/ 0 h 467438"/>
              <a:gd name="connsiteX58" fmla="*/ 565318 w 1138598"/>
              <a:gd name="connsiteY58" fmla="*/ 0 h 467438"/>
              <a:gd name="connsiteX59" fmla="*/ 573280 w 1138598"/>
              <a:gd name="connsiteY59" fmla="*/ 0 h 467438"/>
              <a:gd name="connsiteX60" fmla="*/ 580595 w 1138598"/>
              <a:gd name="connsiteY60" fmla="*/ 0 h 467438"/>
              <a:gd name="connsiteX61" fmla="*/ 580605 w 1138598"/>
              <a:gd name="connsiteY61" fmla="*/ 0 h 467438"/>
              <a:gd name="connsiteX62" fmla="*/ 582382 w 1138598"/>
              <a:gd name="connsiteY62" fmla="*/ 0 h 467438"/>
              <a:gd name="connsiteX63" fmla="*/ 586642 w 1138598"/>
              <a:gd name="connsiteY63" fmla="*/ 0 h 467438"/>
              <a:gd name="connsiteX64" fmla="*/ 595524 w 1138598"/>
              <a:gd name="connsiteY64" fmla="*/ 0 h 467438"/>
              <a:gd name="connsiteX65" fmla="*/ 597658 w 1138598"/>
              <a:gd name="connsiteY65" fmla="*/ 0 h 467438"/>
              <a:gd name="connsiteX66" fmla="*/ 601571 w 1138598"/>
              <a:gd name="connsiteY66" fmla="*/ 0 h 467438"/>
              <a:gd name="connsiteX67" fmla="*/ 603706 w 1138598"/>
              <a:gd name="connsiteY67" fmla="*/ 0 h 467438"/>
              <a:gd name="connsiteX68" fmla="*/ 613553 w 1138598"/>
              <a:gd name="connsiteY68" fmla="*/ 0 h 467438"/>
              <a:gd name="connsiteX69" fmla="*/ 616848 w 1138598"/>
              <a:gd name="connsiteY69" fmla="*/ 0 h 467438"/>
              <a:gd name="connsiteX70" fmla="*/ 619600 w 1138598"/>
              <a:gd name="connsiteY70" fmla="*/ 0 h 467438"/>
              <a:gd name="connsiteX71" fmla="*/ 624172 w 1138598"/>
              <a:gd name="connsiteY71" fmla="*/ 0 h 467438"/>
              <a:gd name="connsiteX72" fmla="*/ 625950 w 1138598"/>
              <a:gd name="connsiteY72" fmla="*/ 0 h 467438"/>
              <a:gd name="connsiteX73" fmla="*/ 634877 w 1138598"/>
              <a:gd name="connsiteY73" fmla="*/ 0 h 467438"/>
              <a:gd name="connsiteX74" fmla="*/ 641226 w 1138598"/>
              <a:gd name="connsiteY74" fmla="*/ 0 h 467438"/>
              <a:gd name="connsiteX75" fmla="*/ 641235 w 1138598"/>
              <a:gd name="connsiteY75" fmla="*/ 0 h 467438"/>
              <a:gd name="connsiteX76" fmla="*/ 647274 w 1138598"/>
              <a:gd name="connsiteY76" fmla="*/ 0 h 467438"/>
              <a:gd name="connsiteX77" fmla="*/ 657120 w 1138598"/>
              <a:gd name="connsiteY77" fmla="*/ 0 h 467438"/>
              <a:gd name="connsiteX78" fmla="*/ 657130 w 1138598"/>
              <a:gd name="connsiteY78" fmla="*/ 0 h 467438"/>
              <a:gd name="connsiteX79" fmla="*/ 663167 w 1138598"/>
              <a:gd name="connsiteY79" fmla="*/ 0 h 467438"/>
              <a:gd name="connsiteX80" fmla="*/ 672406 w 1138598"/>
              <a:gd name="connsiteY80" fmla="*/ 0 h 467438"/>
              <a:gd name="connsiteX81" fmla="*/ 674183 w 1138598"/>
              <a:gd name="connsiteY81" fmla="*/ 0 h 467438"/>
              <a:gd name="connsiteX82" fmla="*/ 678444 w 1138598"/>
              <a:gd name="connsiteY82" fmla="*/ 0 h 467438"/>
              <a:gd name="connsiteX83" fmla="*/ 678454 w 1138598"/>
              <a:gd name="connsiteY83" fmla="*/ 0 h 467438"/>
              <a:gd name="connsiteX84" fmla="*/ 680230 w 1138598"/>
              <a:gd name="connsiteY84" fmla="*/ 0 h 467438"/>
              <a:gd name="connsiteX85" fmla="*/ 684803 w 1138598"/>
              <a:gd name="connsiteY85" fmla="*/ 0 h 467438"/>
              <a:gd name="connsiteX86" fmla="*/ 695507 w 1138598"/>
              <a:gd name="connsiteY86" fmla="*/ 0 h 467438"/>
              <a:gd name="connsiteX87" fmla="*/ 700697 w 1138598"/>
              <a:gd name="connsiteY87" fmla="*/ 0 h 467438"/>
              <a:gd name="connsiteX88" fmla="*/ 702832 w 1138598"/>
              <a:gd name="connsiteY88" fmla="*/ 0 h 467438"/>
              <a:gd name="connsiteX89" fmla="*/ 715974 w 1138598"/>
              <a:gd name="connsiteY89" fmla="*/ 0 h 467438"/>
              <a:gd name="connsiteX90" fmla="*/ 717751 w 1138598"/>
              <a:gd name="connsiteY90" fmla="*/ 0 h 467438"/>
              <a:gd name="connsiteX91" fmla="*/ 717760 w 1138598"/>
              <a:gd name="connsiteY91" fmla="*/ 0 h 467438"/>
              <a:gd name="connsiteX92" fmla="*/ 722021 w 1138598"/>
              <a:gd name="connsiteY92" fmla="*/ 0 h 467438"/>
              <a:gd name="connsiteX93" fmla="*/ 723798 w 1138598"/>
              <a:gd name="connsiteY93" fmla="*/ 0 h 467438"/>
              <a:gd name="connsiteX94" fmla="*/ 733037 w 1138598"/>
              <a:gd name="connsiteY94" fmla="*/ 0 h 467438"/>
              <a:gd name="connsiteX95" fmla="*/ 739075 w 1138598"/>
              <a:gd name="connsiteY95" fmla="*/ 0 h 467438"/>
              <a:gd name="connsiteX96" fmla="*/ 739084 w 1138598"/>
              <a:gd name="connsiteY96" fmla="*/ 0 h 467438"/>
              <a:gd name="connsiteX97" fmla="*/ 746399 w 1138598"/>
              <a:gd name="connsiteY97" fmla="*/ 0 h 467438"/>
              <a:gd name="connsiteX98" fmla="*/ 761328 w 1138598"/>
              <a:gd name="connsiteY98" fmla="*/ 0 h 467438"/>
              <a:gd name="connsiteX99" fmla="*/ 763463 w 1138598"/>
              <a:gd name="connsiteY99" fmla="*/ 0 h 467438"/>
              <a:gd name="connsiteX100" fmla="*/ 776605 w 1138598"/>
              <a:gd name="connsiteY100" fmla="*/ 0 h 467438"/>
              <a:gd name="connsiteX101" fmla="*/ 779357 w 1138598"/>
              <a:gd name="connsiteY101" fmla="*/ 0 h 467438"/>
              <a:gd name="connsiteX102" fmla="*/ 782652 w 1138598"/>
              <a:gd name="connsiteY102" fmla="*/ 0 h 467438"/>
              <a:gd name="connsiteX103" fmla="*/ 794634 w 1138598"/>
              <a:gd name="connsiteY103" fmla="*/ 0 h 467438"/>
              <a:gd name="connsiteX104" fmla="*/ 800681 w 1138598"/>
              <a:gd name="connsiteY104" fmla="*/ 0 h 467438"/>
              <a:gd name="connsiteX105" fmla="*/ 807031 w 1138598"/>
              <a:gd name="connsiteY105" fmla="*/ 0 h 467438"/>
              <a:gd name="connsiteX106" fmla="*/ 822924 w 1138598"/>
              <a:gd name="connsiteY106" fmla="*/ 0 h 467438"/>
              <a:gd name="connsiteX107" fmla="*/ 838201 w 1138598"/>
              <a:gd name="connsiteY107" fmla="*/ 0 h 467438"/>
              <a:gd name="connsiteX108" fmla="*/ 838211 w 1138598"/>
              <a:gd name="connsiteY108" fmla="*/ 0 h 467438"/>
              <a:gd name="connsiteX109" fmla="*/ 839987 w 1138598"/>
              <a:gd name="connsiteY109" fmla="*/ 0 h 467438"/>
              <a:gd name="connsiteX110" fmla="*/ 844248 w 1138598"/>
              <a:gd name="connsiteY110" fmla="*/ 0 h 467438"/>
              <a:gd name="connsiteX111" fmla="*/ 855264 w 1138598"/>
              <a:gd name="connsiteY111" fmla="*/ 0 h 467438"/>
              <a:gd name="connsiteX112" fmla="*/ 861311 w 1138598"/>
              <a:gd name="connsiteY112" fmla="*/ 0 h 467438"/>
              <a:gd name="connsiteX113" fmla="*/ 881778 w 1138598"/>
              <a:gd name="connsiteY113" fmla="*/ 0 h 467438"/>
              <a:gd name="connsiteX114" fmla="*/ 883555 w 1138598"/>
              <a:gd name="connsiteY114" fmla="*/ 0 h 467438"/>
              <a:gd name="connsiteX115" fmla="*/ 898832 w 1138598"/>
              <a:gd name="connsiteY115" fmla="*/ 0 h 467438"/>
              <a:gd name="connsiteX116" fmla="*/ 898841 w 1138598"/>
              <a:gd name="connsiteY116" fmla="*/ 0 h 467438"/>
              <a:gd name="connsiteX117" fmla="*/ 904879 w 1138598"/>
              <a:gd name="connsiteY117" fmla="*/ 0 h 467438"/>
              <a:gd name="connsiteX118" fmla="*/ 1138598 w 1138598"/>
              <a:gd name="connsiteY118" fmla="*/ 233720 h 467438"/>
              <a:gd name="connsiteX119" fmla="*/ 1138597 w 1138598"/>
              <a:gd name="connsiteY119" fmla="*/ 233720 h 467438"/>
              <a:gd name="connsiteX120" fmla="*/ 904879 w 1138598"/>
              <a:gd name="connsiteY120" fmla="*/ 467438 h 467438"/>
              <a:gd name="connsiteX121" fmla="*/ 898843 w 1138598"/>
              <a:gd name="connsiteY121" fmla="*/ 467438 h 467438"/>
              <a:gd name="connsiteX122" fmla="*/ 898840 w 1138598"/>
              <a:gd name="connsiteY122" fmla="*/ 467438 h 467438"/>
              <a:gd name="connsiteX123" fmla="*/ 898831 w 1138598"/>
              <a:gd name="connsiteY123" fmla="*/ 467438 h 467438"/>
              <a:gd name="connsiteX124" fmla="*/ 881778 w 1138598"/>
              <a:gd name="connsiteY124" fmla="*/ 467438 h 467438"/>
              <a:gd name="connsiteX125" fmla="*/ 881777 w 1138598"/>
              <a:gd name="connsiteY125" fmla="*/ 467438 h 467438"/>
              <a:gd name="connsiteX126" fmla="*/ 861313 w 1138598"/>
              <a:gd name="connsiteY126" fmla="*/ 467438 h 467438"/>
              <a:gd name="connsiteX127" fmla="*/ 861311 w 1138598"/>
              <a:gd name="connsiteY127" fmla="*/ 467438 h 467438"/>
              <a:gd name="connsiteX128" fmla="*/ 855266 w 1138598"/>
              <a:gd name="connsiteY128" fmla="*/ 467438 h 467438"/>
              <a:gd name="connsiteX129" fmla="*/ 855263 w 1138598"/>
              <a:gd name="connsiteY129" fmla="*/ 467438 h 467438"/>
              <a:gd name="connsiteX130" fmla="*/ 844248 w 1138598"/>
              <a:gd name="connsiteY130" fmla="*/ 467438 h 467438"/>
              <a:gd name="connsiteX131" fmla="*/ 844247 w 1138598"/>
              <a:gd name="connsiteY131" fmla="*/ 467438 h 467438"/>
              <a:gd name="connsiteX132" fmla="*/ 838212 w 1138598"/>
              <a:gd name="connsiteY132" fmla="*/ 467438 h 467438"/>
              <a:gd name="connsiteX133" fmla="*/ 838210 w 1138598"/>
              <a:gd name="connsiteY133" fmla="*/ 467438 h 467438"/>
              <a:gd name="connsiteX134" fmla="*/ 838201 w 1138598"/>
              <a:gd name="connsiteY134" fmla="*/ 467438 h 467438"/>
              <a:gd name="connsiteX135" fmla="*/ 838200 w 1138598"/>
              <a:gd name="connsiteY135" fmla="*/ 467438 h 467438"/>
              <a:gd name="connsiteX136" fmla="*/ 807030 w 1138598"/>
              <a:gd name="connsiteY136" fmla="*/ 467438 h 467438"/>
              <a:gd name="connsiteX137" fmla="*/ 800683 w 1138598"/>
              <a:gd name="connsiteY137" fmla="*/ 467438 h 467438"/>
              <a:gd name="connsiteX138" fmla="*/ 800680 w 1138598"/>
              <a:gd name="connsiteY138" fmla="*/ 467438 h 467438"/>
              <a:gd name="connsiteX139" fmla="*/ 794635 w 1138598"/>
              <a:gd name="connsiteY139" fmla="*/ 467438 h 467438"/>
              <a:gd name="connsiteX140" fmla="*/ 794633 w 1138598"/>
              <a:gd name="connsiteY140" fmla="*/ 467438 h 467438"/>
              <a:gd name="connsiteX141" fmla="*/ 782652 w 1138598"/>
              <a:gd name="connsiteY141" fmla="*/ 467438 h 467438"/>
              <a:gd name="connsiteX142" fmla="*/ 782651 w 1138598"/>
              <a:gd name="connsiteY142" fmla="*/ 467438 h 467438"/>
              <a:gd name="connsiteX143" fmla="*/ 776605 w 1138598"/>
              <a:gd name="connsiteY143" fmla="*/ 467438 h 467438"/>
              <a:gd name="connsiteX144" fmla="*/ 776604 w 1138598"/>
              <a:gd name="connsiteY144" fmla="*/ 467438 h 467438"/>
              <a:gd name="connsiteX145" fmla="*/ 763464 w 1138598"/>
              <a:gd name="connsiteY145" fmla="*/ 467438 h 467438"/>
              <a:gd name="connsiteX146" fmla="*/ 763462 w 1138598"/>
              <a:gd name="connsiteY146" fmla="*/ 467438 h 467438"/>
              <a:gd name="connsiteX147" fmla="*/ 746399 w 1138598"/>
              <a:gd name="connsiteY147" fmla="*/ 467438 h 467438"/>
              <a:gd name="connsiteX148" fmla="*/ 746399 w 1138598"/>
              <a:gd name="connsiteY148" fmla="*/ 467438 h 467438"/>
              <a:gd name="connsiteX149" fmla="*/ 739086 w 1138598"/>
              <a:gd name="connsiteY149" fmla="*/ 467438 h 467438"/>
              <a:gd name="connsiteX150" fmla="*/ 739083 w 1138598"/>
              <a:gd name="connsiteY150" fmla="*/ 467438 h 467438"/>
              <a:gd name="connsiteX151" fmla="*/ 739074 w 1138598"/>
              <a:gd name="connsiteY151" fmla="*/ 467438 h 467438"/>
              <a:gd name="connsiteX152" fmla="*/ 733038 w 1138598"/>
              <a:gd name="connsiteY152" fmla="*/ 467438 h 467438"/>
              <a:gd name="connsiteX153" fmla="*/ 733036 w 1138598"/>
              <a:gd name="connsiteY153" fmla="*/ 467438 h 467438"/>
              <a:gd name="connsiteX154" fmla="*/ 722021 w 1138598"/>
              <a:gd name="connsiteY154" fmla="*/ 467438 h 467438"/>
              <a:gd name="connsiteX155" fmla="*/ 722020 w 1138598"/>
              <a:gd name="connsiteY155" fmla="*/ 467438 h 467438"/>
              <a:gd name="connsiteX156" fmla="*/ 715974 w 1138598"/>
              <a:gd name="connsiteY156" fmla="*/ 467438 h 467438"/>
              <a:gd name="connsiteX157" fmla="*/ 715973 w 1138598"/>
              <a:gd name="connsiteY157" fmla="*/ 467438 h 467438"/>
              <a:gd name="connsiteX158" fmla="*/ 702834 w 1138598"/>
              <a:gd name="connsiteY158" fmla="*/ 467438 h 467438"/>
              <a:gd name="connsiteX159" fmla="*/ 702832 w 1138598"/>
              <a:gd name="connsiteY159" fmla="*/ 467438 h 467438"/>
              <a:gd name="connsiteX160" fmla="*/ 695509 w 1138598"/>
              <a:gd name="connsiteY160" fmla="*/ 467438 h 467438"/>
              <a:gd name="connsiteX161" fmla="*/ 695506 w 1138598"/>
              <a:gd name="connsiteY161" fmla="*/ 467438 h 467438"/>
              <a:gd name="connsiteX162" fmla="*/ 684803 w 1138598"/>
              <a:gd name="connsiteY162" fmla="*/ 467438 h 467438"/>
              <a:gd name="connsiteX163" fmla="*/ 684803 w 1138598"/>
              <a:gd name="connsiteY163" fmla="*/ 467438 h 467438"/>
              <a:gd name="connsiteX164" fmla="*/ 678455 w 1138598"/>
              <a:gd name="connsiteY164" fmla="*/ 467438 h 467438"/>
              <a:gd name="connsiteX165" fmla="*/ 678453 w 1138598"/>
              <a:gd name="connsiteY165" fmla="*/ 467438 h 467438"/>
              <a:gd name="connsiteX166" fmla="*/ 678444 w 1138598"/>
              <a:gd name="connsiteY166" fmla="*/ 467438 h 467438"/>
              <a:gd name="connsiteX167" fmla="*/ 678443 w 1138598"/>
              <a:gd name="connsiteY167" fmla="*/ 467438 h 467438"/>
              <a:gd name="connsiteX168" fmla="*/ 672407 w 1138598"/>
              <a:gd name="connsiteY168" fmla="*/ 467438 h 467438"/>
              <a:gd name="connsiteX169" fmla="*/ 672406 w 1138598"/>
              <a:gd name="connsiteY169" fmla="*/ 467438 h 467438"/>
              <a:gd name="connsiteX170" fmla="*/ 647273 w 1138598"/>
              <a:gd name="connsiteY170" fmla="*/ 467438 h 467438"/>
              <a:gd name="connsiteX171" fmla="*/ 641237 w 1138598"/>
              <a:gd name="connsiteY171" fmla="*/ 467438 h 467438"/>
              <a:gd name="connsiteX172" fmla="*/ 641235 w 1138598"/>
              <a:gd name="connsiteY172" fmla="*/ 467438 h 467438"/>
              <a:gd name="connsiteX173" fmla="*/ 641225 w 1138598"/>
              <a:gd name="connsiteY173" fmla="*/ 467438 h 467438"/>
              <a:gd name="connsiteX174" fmla="*/ 634878 w 1138598"/>
              <a:gd name="connsiteY174" fmla="*/ 467438 h 467438"/>
              <a:gd name="connsiteX175" fmla="*/ 634876 w 1138598"/>
              <a:gd name="connsiteY175" fmla="*/ 467438 h 467438"/>
              <a:gd name="connsiteX176" fmla="*/ 624172 w 1138598"/>
              <a:gd name="connsiteY176" fmla="*/ 467438 h 467438"/>
              <a:gd name="connsiteX177" fmla="*/ 624171 w 1138598"/>
              <a:gd name="connsiteY177" fmla="*/ 467438 h 467438"/>
              <a:gd name="connsiteX178" fmla="*/ 616848 w 1138598"/>
              <a:gd name="connsiteY178" fmla="*/ 467438 h 467438"/>
              <a:gd name="connsiteX179" fmla="*/ 616847 w 1138598"/>
              <a:gd name="connsiteY179" fmla="*/ 467438 h 467438"/>
              <a:gd name="connsiteX180" fmla="*/ 603707 w 1138598"/>
              <a:gd name="connsiteY180" fmla="*/ 467438 h 467438"/>
              <a:gd name="connsiteX181" fmla="*/ 603705 w 1138598"/>
              <a:gd name="connsiteY181" fmla="*/ 467438 h 467438"/>
              <a:gd name="connsiteX182" fmla="*/ 597660 w 1138598"/>
              <a:gd name="connsiteY182" fmla="*/ 467438 h 467438"/>
              <a:gd name="connsiteX183" fmla="*/ 597657 w 1138598"/>
              <a:gd name="connsiteY183" fmla="*/ 467438 h 467438"/>
              <a:gd name="connsiteX184" fmla="*/ 586642 w 1138598"/>
              <a:gd name="connsiteY184" fmla="*/ 467438 h 467438"/>
              <a:gd name="connsiteX185" fmla="*/ 586642 w 1138598"/>
              <a:gd name="connsiteY185" fmla="*/ 467438 h 467438"/>
              <a:gd name="connsiteX186" fmla="*/ 580606 w 1138598"/>
              <a:gd name="connsiteY186" fmla="*/ 467438 h 467438"/>
              <a:gd name="connsiteX187" fmla="*/ 580604 w 1138598"/>
              <a:gd name="connsiteY187" fmla="*/ 467438 h 467438"/>
              <a:gd name="connsiteX188" fmla="*/ 580595 w 1138598"/>
              <a:gd name="connsiteY188" fmla="*/ 467438 h 467438"/>
              <a:gd name="connsiteX189" fmla="*/ 580594 w 1138598"/>
              <a:gd name="connsiteY189" fmla="*/ 467438 h 467438"/>
              <a:gd name="connsiteX190" fmla="*/ 573281 w 1138598"/>
              <a:gd name="connsiteY190" fmla="*/ 467438 h 467438"/>
              <a:gd name="connsiteX191" fmla="*/ 573279 w 1138598"/>
              <a:gd name="connsiteY191" fmla="*/ 467438 h 467438"/>
              <a:gd name="connsiteX192" fmla="*/ 556217 w 1138598"/>
              <a:gd name="connsiteY192" fmla="*/ 467438 h 467438"/>
              <a:gd name="connsiteX193" fmla="*/ 556216 w 1138598"/>
              <a:gd name="connsiteY193" fmla="*/ 467438 h 467438"/>
              <a:gd name="connsiteX194" fmla="*/ 543077 w 1138598"/>
              <a:gd name="connsiteY194" fmla="*/ 467438 h 467438"/>
              <a:gd name="connsiteX195" fmla="*/ 543075 w 1138598"/>
              <a:gd name="connsiteY195" fmla="*/ 467438 h 467438"/>
              <a:gd name="connsiteX196" fmla="*/ 537030 w 1138598"/>
              <a:gd name="connsiteY196" fmla="*/ 467438 h 467438"/>
              <a:gd name="connsiteX197" fmla="*/ 537027 w 1138598"/>
              <a:gd name="connsiteY197" fmla="*/ 467438 h 467438"/>
              <a:gd name="connsiteX198" fmla="*/ 525046 w 1138598"/>
              <a:gd name="connsiteY198" fmla="*/ 467438 h 467438"/>
              <a:gd name="connsiteX199" fmla="*/ 525046 w 1138598"/>
              <a:gd name="connsiteY199" fmla="*/ 467438 h 467438"/>
              <a:gd name="connsiteX200" fmla="*/ 518999 w 1138598"/>
              <a:gd name="connsiteY200" fmla="*/ 467438 h 467438"/>
              <a:gd name="connsiteX201" fmla="*/ 518998 w 1138598"/>
              <a:gd name="connsiteY201" fmla="*/ 467438 h 467438"/>
              <a:gd name="connsiteX202" fmla="*/ 512650 w 1138598"/>
              <a:gd name="connsiteY202" fmla="*/ 467438 h 467438"/>
              <a:gd name="connsiteX203" fmla="*/ 512649 w 1138598"/>
              <a:gd name="connsiteY203" fmla="*/ 467438 h 467438"/>
              <a:gd name="connsiteX204" fmla="*/ 481480 w 1138598"/>
              <a:gd name="connsiteY204" fmla="*/ 467438 h 467438"/>
              <a:gd name="connsiteX205" fmla="*/ 481478 w 1138598"/>
              <a:gd name="connsiteY205" fmla="*/ 467438 h 467438"/>
              <a:gd name="connsiteX206" fmla="*/ 481468 w 1138598"/>
              <a:gd name="connsiteY206" fmla="*/ 467438 h 467438"/>
              <a:gd name="connsiteX207" fmla="*/ 475433 w 1138598"/>
              <a:gd name="connsiteY207" fmla="*/ 467438 h 467438"/>
              <a:gd name="connsiteX208" fmla="*/ 475430 w 1138598"/>
              <a:gd name="connsiteY208" fmla="*/ 467438 h 467438"/>
              <a:gd name="connsiteX209" fmla="*/ 464415 w 1138598"/>
              <a:gd name="connsiteY209" fmla="*/ 467438 h 467438"/>
              <a:gd name="connsiteX210" fmla="*/ 464414 w 1138598"/>
              <a:gd name="connsiteY210" fmla="*/ 467438 h 467438"/>
              <a:gd name="connsiteX211" fmla="*/ 458368 w 1138598"/>
              <a:gd name="connsiteY211" fmla="*/ 467438 h 467438"/>
              <a:gd name="connsiteX212" fmla="*/ 458367 w 1138598"/>
              <a:gd name="connsiteY212" fmla="*/ 467438 h 467438"/>
              <a:gd name="connsiteX213" fmla="*/ 437903 w 1138598"/>
              <a:gd name="connsiteY213" fmla="*/ 467438 h 467438"/>
              <a:gd name="connsiteX214" fmla="*/ 437900 w 1138598"/>
              <a:gd name="connsiteY214" fmla="*/ 467438 h 467438"/>
              <a:gd name="connsiteX215" fmla="*/ 420849 w 1138598"/>
              <a:gd name="connsiteY215" fmla="*/ 467438 h 467438"/>
              <a:gd name="connsiteX216" fmla="*/ 420847 w 1138598"/>
              <a:gd name="connsiteY216" fmla="*/ 467438 h 467438"/>
              <a:gd name="connsiteX217" fmla="*/ 420838 w 1138598"/>
              <a:gd name="connsiteY217" fmla="*/ 467438 h 467438"/>
              <a:gd name="connsiteX218" fmla="*/ 420837 w 1138598"/>
              <a:gd name="connsiteY218" fmla="*/ 467438 h 467438"/>
              <a:gd name="connsiteX219" fmla="*/ 414802 w 1138598"/>
              <a:gd name="connsiteY219" fmla="*/ 467438 h 467438"/>
              <a:gd name="connsiteX220" fmla="*/ 414800 w 1138598"/>
              <a:gd name="connsiteY220" fmla="*/ 467438 h 467438"/>
              <a:gd name="connsiteX221" fmla="*/ 233720 w 1138598"/>
              <a:gd name="connsiteY221" fmla="*/ 467437 h 467438"/>
              <a:gd name="connsiteX222" fmla="*/ 4748 w 1138598"/>
              <a:gd name="connsiteY222" fmla="*/ 280821 h 467438"/>
              <a:gd name="connsiteX223" fmla="*/ 0 w 1138598"/>
              <a:gd name="connsiteY223" fmla="*/ 233720 h 467438"/>
              <a:gd name="connsiteX224" fmla="*/ 4748 w 1138598"/>
              <a:gd name="connsiteY224" fmla="*/ 186617 h 467438"/>
              <a:gd name="connsiteX225" fmla="*/ 233720 w 1138598"/>
              <a:gd name="connsiteY225" fmla="*/ 0 h 46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</a:cxnLst>
            <a:rect l="l" t="t" r="r" b="b"/>
            <a:pathLst>
              <a:path w="1138598" h="467438">
                <a:moveTo>
                  <a:pt x="233720" y="0"/>
                </a:moveTo>
                <a:lnTo>
                  <a:pt x="239757" y="0"/>
                </a:lnTo>
                <a:lnTo>
                  <a:pt x="239767" y="0"/>
                </a:lnTo>
                <a:lnTo>
                  <a:pt x="255044" y="0"/>
                </a:lnTo>
                <a:lnTo>
                  <a:pt x="256820" y="0"/>
                </a:lnTo>
                <a:lnTo>
                  <a:pt x="277287" y="0"/>
                </a:lnTo>
                <a:lnTo>
                  <a:pt x="283334" y="0"/>
                </a:lnTo>
                <a:lnTo>
                  <a:pt x="294350" y="0"/>
                </a:lnTo>
                <a:lnTo>
                  <a:pt x="298611" y="0"/>
                </a:lnTo>
                <a:lnTo>
                  <a:pt x="300388" y="0"/>
                </a:lnTo>
                <a:lnTo>
                  <a:pt x="300397" y="0"/>
                </a:lnTo>
                <a:lnTo>
                  <a:pt x="315674" y="0"/>
                </a:lnTo>
                <a:lnTo>
                  <a:pt x="331568" y="0"/>
                </a:lnTo>
                <a:lnTo>
                  <a:pt x="337918" y="0"/>
                </a:lnTo>
                <a:lnTo>
                  <a:pt x="343965" y="0"/>
                </a:lnTo>
                <a:lnTo>
                  <a:pt x="355947" y="0"/>
                </a:lnTo>
                <a:lnTo>
                  <a:pt x="359242" y="0"/>
                </a:lnTo>
                <a:lnTo>
                  <a:pt x="361994" y="0"/>
                </a:lnTo>
                <a:lnTo>
                  <a:pt x="375135" y="0"/>
                </a:lnTo>
                <a:lnTo>
                  <a:pt x="377271" y="0"/>
                </a:lnTo>
                <a:lnTo>
                  <a:pt x="392199" y="0"/>
                </a:lnTo>
                <a:lnTo>
                  <a:pt x="399514" y="0"/>
                </a:lnTo>
                <a:lnTo>
                  <a:pt x="399524" y="0"/>
                </a:lnTo>
                <a:lnTo>
                  <a:pt x="405561" y="0"/>
                </a:lnTo>
                <a:lnTo>
                  <a:pt x="414801" y="0"/>
                </a:lnTo>
                <a:lnTo>
                  <a:pt x="416577" y="0"/>
                </a:lnTo>
                <a:lnTo>
                  <a:pt x="420838" y="0"/>
                </a:lnTo>
                <a:lnTo>
                  <a:pt x="420848" y="0"/>
                </a:lnTo>
                <a:lnTo>
                  <a:pt x="422625" y="0"/>
                </a:lnTo>
                <a:lnTo>
                  <a:pt x="435767" y="0"/>
                </a:lnTo>
                <a:lnTo>
                  <a:pt x="437901" y="0"/>
                </a:lnTo>
                <a:lnTo>
                  <a:pt x="443091" y="0"/>
                </a:lnTo>
                <a:lnTo>
                  <a:pt x="453796" y="0"/>
                </a:lnTo>
                <a:lnTo>
                  <a:pt x="458368" y="0"/>
                </a:lnTo>
                <a:lnTo>
                  <a:pt x="460145" y="0"/>
                </a:lnTo>
                <a:lnTo>
                  <a:pt x="460154" y="0"/>
                </a:lnTo>
                <a:lnTo>
                  <a:pt x="464415" y="0"/>
                </a:lnTo>
                <a:lnTo>
                  <a:pt x="466193" y="0"/>
                </a:lnTo>
                <a:lnTo>
                  <a:pt x="475431" y="0"/>
                </a:lnTo>
                <a:lnTo>
                  <a:pt x="481469" y="0"/>
                </a:lnTo>
                <a:lnTo>
                  <a:pt x="481478" y="0"/>
                </a:lnTo>
                <a:lnTo>
                  <a:pt x="491325" y="0"/>
                </a:lnTo>
                <a:lnTo>
                  <a:pt x="497363" y="0"/>
                </a:lnTo>
                <a:lnTo>
                  <a:pt x="497373" y="0"/>
                </a:lnTo>
                <a:lnTo>
                  <a:pt x="503722" y="0"/>
                </a:lnTo>
                <a:lnTo>
                  <a:pt x="512649" y="0"/>
                </a:lnTo>
                <a:lnTo>
                  <a:pt x="514426" y="0"/>
                </a:lnTo>
                <a:lnTo>
                  <a:pt x="518999" y="0"/>
                </a:lnTo>
                <a:lnTo>
                  <a:pt x="521751" y="0"/>
                </a:lnTo>
                <a:lnTo>
                  <a:pt x="525046" y="0"/>
                </a:lnTo>
                <a:lnTo>
                  <a:pt x="534892" y="0"/>
                </a:lnTo>
                <a:lnTo>
                  <a:pt x="537028" y="0"/>
                </a:lnTo>
                <a:lnTo>
                  <a:pt x="540940" y="0"/>
                </a:lnTo>
                <a:lnTo>
                  <a:pt x="543075" y="0"/>
                </a:lnTo>
                <a:lnTo>
                  <a:pt x="551956" y="0"/>
                </a:lnTo>
                <a:lnTo>
                  <a:pt x="556217" y="0"/>
                </a:lnTo>
                <a:lnTo>
                  <a:pt x="557994" y="0"/>
                </a:lnTo>
                <a:lnTo>
                  <a:pt x="558003" y="0"/>
                </a:lnTo>
                <a:lnTo>
                  <a:pt x="565318" y="0"/>
                </a:lnTo>
                <a:lnTo>
                  <a:pt x="573280" y="0"/>
                </a:lnTo>
                <a:lnTo>
                  <a:pt x="580595" y="0"/>
                </a:lnTo>
                <a:lnTo>
                  <a:pt x="580605" y="0"/>
                </a:lnTo>
                <a:lnTo>
                  <a:pt x="582382" y="0"/>
                </a:lnTo>
                <a:lnTo>
                  <a:pt x="586642" y="0"/>
                </a:lnTo>
                <a:lnTo>
                  <a:pt x="595524" y="0"/>
                </a:lnTo>
                <a:lnTo>
                  <a:pt x="597658" y="0"/>
                </a:lnTo>
                <a:lnTo>
                  <a:pt x="601571" y="0"/>
                </a:lnTo>
                <a:lnTo>
                  <a:pt x="603706" y="0"/>
                </a:lnTo>
                <a:lnTo>
                  <a:pt x="613553" y="0"/>
                </a:lnTo>
                <a:lnTo>
                  <a:pt x="616848" y="0"/>
                </a:lnTo>
                <a:lnTo>
                  <a:pt x="619600" y="0"/>
                </a:lnTo>
                <a:lnTo>
                  <a:pt x="624172" y="0"/>
                </a:lnTo>
                <a:lnTo>
                  <a:pt x="625950" y="0"/>
                </a:lnTo>
                <a:lnTo>
                  <a:pt x="634877" y="0"/>
                </a:lnTo>
                <a:lnTo>
                  <a:pt x="641226" y="0"/>
                </a:lnTo>
                <a:lnTo>
                  <a:pt x="641235" y="0"/>
                </a:lnTo>
                <a:lnTo>
                  <a:pt x="647274" y="0"/>
                </a:lnTo>
                <a:lnTo>
                  <a:pt x="657120" y="0"/>
                </a:lnTo>
                <a:lnTo>
                  <a:pt x="657130" y="0"/>
                </a:lnTo>
                <a:lnTo>
                  <a:pt x="663167" y="0"/>
                </a:lnTo>
                <a:lnTo>
                  <a:pt x="672406" y="0"/>
                </a:lnTo>
                <a:lnTo>
                  <a:pt x="674183" y="0"/>
                </a:lnTo>
                <a:lnTo>
                  <a:pt x="678444" y="0"/>
                </a:lnTo>
                <a:lnTo>
                  <a:pt x="678454" y="0"/>
                </a:lnTo>
                <a:lnTo>
                  <a:pt x="680230" y="0"/>
                </a:lnTo>
                <a:lnTo>
                  <a:pt x="684803" y="0"/>
                </a:lnTo>
                <a:lnTo>
                  <a:pt x="695507" y="0"/>
                </a:lnTo>
                <a:lnTo>
                  <a:pt x="700697" y="0"/>
                </a:lnTo>
                <a:lnTo>
                  <a:pt x="702832" y="0"/>
                </a:lnTo>
                <a:lnTo>
                  <a:pt x="715974" y="0"/>
                </a:lnTo>
                <a:lnTo>
                  <a:pt x="717751" y="0"/>
                </a:lnTo>
                <a:lnTo>
                  <a:pt x="717760" y="0"/>
                </a:lnTo>
                <a:lnTo>
                  <a:pt x="722021" y="0"/>
                </a:lnTo>
                <a:lnTo>
                  <a:pt x="723798" y="0"/>
                </a:lnTo>
                <a:lnTo>
                  <a:pt x="733037" y="0"/>
                </a:lnTo>
                <a:lnTo>
                  <a:pt x="739075" y="0"/>
                </a:lnTo>
                <a:lnTo>
                  <a:pt x="739084" y="0"/>
                </a:lnTo>
                <a:lnTo>
                  <a:pt x="746399" y="0"/>
                </a:lnTo>
                <a:lnTo>
                  <a:pt x="761328" y="0"/>
                </a:lnTo>
                <a:lnTo>
                  <a:pt x="763463" y="0"/>
                </a:lnTo>
                <a:lnTo>
                  <a:pt x="776605" y="0"/>
                </a:lnTo>
                <a:lnTo>
                  <a:pt x="779357" y="0"/>
                </a:lnTo>
                <a:lnTo>
                  <a:pt x="782652" y="0"/>
                </a:lnTo>
                <a:lnTo>
                  <a:pt x="794634" y="0"/>
                </a:lnTo>
                <a:lnTo>
                  <a:pt x="800681" y="0"/>
                </a:lnTo>
                <a:lnTo>
                  <a:pt x="807031" y="0"/>
                </a:lnTo>
                <a:lnTo>
                  <a:pt x="822924" y="0"/>
                </a:lnTo>
                <a:lnTo>
                  <a:pt x="838201" y="0"/>
                </a:lnTo>
                <a:lnTo>
                  <a:pt x="838211" y="0"/>
                </a:lnTo>
                <a:lnTo>
                  <a:pt x="839987" y="0"/>
                </a:lnTo>
                <a:lnTo>
                  <a:pt x="844248" y="0"/>
                </a:lnTo>
                <a:lnTo>
                  <a:pt x="855264" y="0"/>
                </a:lnTo>
                <a:lnTo>
                  <a:pt x="861311" y="0"/>
                </a:lnTo>
                <a:lnTo>
                  <a:pt x="881778" y="0"/>
                </a:lnTo>
                <a:lnTo>
                  <a:pt x="883555" y="0"/>
                </a:lnTo>
                <a:lnTo>
                  <a:pt x="898832" y="0"/>
                </a:lnTo>
                <a:lnTo>
                  <a:pt x="898841" y="0"/>
                </a:lnTo>
                <a:lnTo>
                  <a:pt x="904879" y="0"/>
                </a:lnTo>
                <a:cubicBezTo>
                  <a:pt x="1033959" y="0"/>
                  <a:pt x="1138598" y="104640"/>
                  <a:pt x="1138598" y="233720"/>
                </a:cubicBezTo>
                <a:lnTo>
                  <a:pt x="1138597" y="233720"/>
                </a:lnTo>
                <a:cubicBezTo>
                  <a:pt x="1138597" y="362799"/>
                  <a:pt x="1033958" y="467438"/>
                  <a:pt x="904879" y="467438"/>
                </a:cubicBezTo>
                <a:lnTo>
                  <a:pt x="898843" y="467438"/>
                </a:lnTo>
                <a:lnTo>
                  <a:pt x="898840" y="467438"/>
                </a:lnTo>
                <a:lnTo>
                  <a:pt x="898831" y="467438"/>
                </a:lnTo>
                <a:lnTo>
                  <a:pt x="881778" y="467438"/>
                </a:lnTo>
                <a:lnTo>
                  <a:pt x="881777" y="467438"/>
                </a:lnTo>
                <a:lnTo>
                  <a:pt x="861313" y="467438"/>
                </a:lnTo>
                <a:lnTo>
                  <a:pt x="861311" y="467438"/>
                </a:lnTo>
                <a:lnTo>
                  <a:pt x="855266" y="467438"/>
                </a:lnTo>
                <a:lnTo>
                  <a:pt x="855263" y="467438"/>
                </a:lnTo>
                <a:lnTo>
                  <a:pt x="844248" y="467438"/>
                </a:lnTo>
                <a:lnTo>
                  <a:pt x="844247" y="467438"/>
                </a:lnTo>
                <a:lnTo>
                  <a:pt x="838212" y="467438"/>
                </a:lnTo>
                <a:lnTo>
                  <a:pt x="838210" y="467438"/>
                </a:lnTo>
                <a:lnTo>
                  <a:pt x="838201" y="467438"/>
                </a:lnTo>
                <a:lnTo>
                  <a:pt x="838200" y="467438"/>
                </a:lnTo>
                <a:lnTo>
                  <a:pt x="807030" y="467438"/>
                </a:lnTo>
                <a:lnTo>
                  <a:pt x="800683" y="467438"/>
                </a:lnTo>
                <a:lnTo>
                  <a:pt x="800680" y="467438"/>
                </a:lnTo>
                <a:lnTo>
                  <a:pt x="794635" y="467438"/>
                </a:lnTo>
                <a:lnTo>
                  <a:pt x="794633" y="467438"/>
                </a:lnTo>
                <a:lnTo>
                  <a:pt x="782652" y="467438"/>
                </a:lnTo>
                <a:lnTo>
                  <a:pt x="782651" y="467438"/>
                </a:lnTo>
                <a:lnTo>
                  <a:pt x="776605" y="467438"/>
                </a:lnTo>
                <a:lnTo>
                  <a:pt x="776604" y="467438"/>
                </a:lnTo>
                <a:lnTo>
                  <a:pt x="763464" y="467438"/>
                </a:lnTo>
                <a:lnTo>
                  <a:pt x="763462" y="467438"/>
                </a:lnTo>
                <a:lnTo>
                  <a:pt x="746399" y="467438"/>
                </a:lnTo>
                <a:lnTo>
                  <a:pt x="746399" y="467438"/>
                </a:lnTo>
                <a:lnTo>
                  <a:pt x="739086" y="467438"/>
                </a:lnTo>
                <a:lnTo>
                  <a:pt x="739083" y="467438"/>
                </a:lnTo>
                <a:lnTo>
                  <a:pt x="739074" y="467438"/>
                </a:lnTo>
                <a:lnTo>
                  <a:pt x="733038" y="467438"/>
                </a:lnTo>
                <a:lnTo>
                  <a:pt x="733036" y="467438"/>
                </a:lnTo>
                <a:lnTo>
                  <a:pt x="722021" y="467438"/>
                </a:lnTo>
                <a:lnTo>
                  <a:pt x="722020" y="467438"/>
                </a:lnTo>
                <a:lnTo>
                  <a:pt x="715974" y="467438"/>
                </a:lnTo>
                <a:lnTo>
                  <a:pt x="715973" y="467438"/>
                </a:lnTo>
                <a:lnTo>
                  <a:pt x="702834" y="467438"/>
                </a:lnTo>
                <a:lnTo>
                  <a:pt x="702832" y="467438"/>
                </a:lnTo>
                <a:lnTo>
                  <a:pt x="695509" y="467438"/>
                </a:lnTo>
                <a:lnTo>
                  <a:pt x="695506" y="467438"/>
                </a:lnTo>
                <a:lnTo>
                  <a:pt x="684803" y="467438"/>
                </a:lnTo>
                <a:lnTo>
                  <a:pt x="684803" y="467438"/>
                </a:lnTo>
                <a:lnTo>
                  <a:pt x="678455" y="467438"/>
                </a:lnTo>
                <a:lnTo>
                  <a:pt x="678453" y="467438"/>
                </a:lnTo>
                <a:lnTo>
                  <a:pt x="678444" y="467438"/>
                </a:lnTo>
                <a:lnTo>
                  <a:pt x="678443" y="467438"/>
                </a:lnTo>
                <a:lnTo>
                  <a:pt x="672407" y="467438"/>
                </a:lnTo>
                <a:lnTo>
                  <a:pt x="672406" y="467438"/>
                </a:lnTo>
                <a:lnTo>
                  <a:pt x="647273" y="467438"/>
                </a:lnTo>
                <a:lnTo>
                  <a:pt x="641237" y="467438"/>
                </a:lnTo>
                <a:lnTo>
                  <a:pt x="641235" y="467438"/>
                </a:lnTo>
                <a:lnTo>
                  <a:pt x="641225" y="467438"/>
                </a:lnTo>
                <a:lnTo>
                  <a:pt x="634878" y="467438"/>
                </a:lnTo>
                <a:lnTo>
                  <a:pt x="634876" y="467438"/>
                </a:lnTo>
                <a:lnTo>
                  <a:pt x="624172" y="467438"/>
                </a:lnTo>
                <a:lnTo>
                  <a:pt x="624171" y="467438"/>
                </a:lnTo>
                <a:lnTo>
                  <a:pt x="616848" y="467438"/>
                </a:lnTo>
                <a:lnTo>
                  <a:pt x="616847" y="467438"/>
                </a:lnTo>
                <a:lnTo>
                  <a:pt x="603707" y="467438"/>
                </a:lnTo>
                <a:lnTo>
                  <a:pt x="603705" y="467438"/>
                </a:lnTo>
                <a:lnTo>
                  <a:pt x="597660" y="467438"/>
                </a:lnTo>
                <a:lnTo>
                  <a:pt x="597657" y="467438"/>
                </a:lnTo>
                <a:lnTo>
                  <a:pt x="586642" y="467438"/>
                </a:lnTo>
                <a:lnTo>
                  <a:pt x="586642" y="467438"/>
                </a:lnTo>
                <a:lnTo>
                  <a:pt x="580606" y="467438"/>
                </a:lnTo>
                <a:lnTo>
                  <a:pt x="580604" y="467438"/>
                </a:lnTo>
                <a:lnTo>
                  <a:pt x="580595" y="467438"/>
                </a:lnTo>
                <a:lnTo>
                  <a:pt x="580594" y="467438"/>
                </a:lnTo>
                <a:lnTo>
                  <a:pt x="573281" y="467438"/>
                </a:lnTo>
                <a:lnTo>
                  <a:pt x="573279" y="467438"/>
                </a:lnTo>
                <a:lnTo>
                  <a:pt x="556217" y="467438"/>
                </a:lnTo>
                <a:lnTo>
                  <a:pt x="556216" y="467438"/>
                </a:lnTo>
                <a:lnTo>
                  <a:pt x="543077" y="467438"/>
                </a:lnTo>
                <a:lnTo>
                  <a:pt x="543075" y="467438"/>
                </a:lnTo>
                <a:lnTo>
                  <a:pt x="537030" y="467438"/>
                </a:lnTo>
                <a:lnTo>
                  <a:pt x="537027" y="467438"/>
                </a:lnTo>
                <a:lnTo>
                  <a:pt x="525046" y="467438"/>
                </a:lnTo>
                <a:lnTo>
                  <a:pt x="525046" y="467438"/>
                </a:lnTo>
                <a:lnTo>
                  <a:pt x="518999" y="467438"/>
                </a:lnTo>
                <a:lnTo>
                  <a:pt x="518998" y="467438"/>
                </a:lnTo>
                <a:lnTo>
                  <a:pt x="512650" y="467438"/>
                </a:lnTo>
                <a:lnTo>
                  <a:pt x="512649" y="467438"/>
                </a:lnTo>
                <a:lnTo>
                  <a:pt x="481480" y="467438"/>
                </a:lnTo>
                <a:lnTo>
                  <a:pt x="481478" y="467438"/>
                </a:lnTo>
                <a:lnTo>
                  <a:pt x="481468" y="467438"/>
                </a:lnTo>
                <a:lnTo>
                  <a:pt x="475433" y="467438"/>
                </a:lnTo>
                <a:lnTo>
                  <a:pt x="475430" y="467438"/>
                </a:lnTo>
                <a:lnTo>
                  <a:pt x="464415" y="467438"/>
                </a:lnTo>
                <a:lnTo>
                  <a:pt x="464414" y="467438"/>
                </a:lnTo>
                <a:lnTo>
                  <a:pt x="458368" y="467438"/>
                </a:lnTo>
                <a:lnTo>
                  <a:pt x="458367" y="467438"/>
                </a:lnTo>
                <a:lnTo>
                  <a:pt x="437903" y="467438"/>
                </a:lnTo>
                <a:lnTo>
                  <a:pt x="437900" y="467438"/>
                </a:lnTo>
                <a:lnTo>
                  <a:pt x="420849" y="467438"/>
                </a:lnTo>
                <a:lnTo>
                  <a:pt x="420847" y="467438"/>
                </a:lnTo>
                <a:lnTo>
                  <a:pt x="420838" y="467438"/>
                </a:lnTo>
                <a:lnTo>
                  <a:pt x="420837" y="467438"/>
                </a:lnTo>
                <a:lnTo>
                  <a:pt x="414802" y="467438"/>
                </a:lnTo>
                <a:lnTo>
                  <a:pt x="414800" y="467438"/>
                </a:lnTo>
                <a:lnTo>
                  <a:pt x="233720" y="467437"/>
                </a:lnTo>
                <a:cubicBezTo>
                  <a:pt x="120774" y="467437"/>
                  <a:pt x="26542" y="387323"/>
                  <a:pt x="4748" y="280821"/>
                </a:cubicBezTo>
                <a:lnTo>
                  <a:pt x="0" y="233720"/>
                </a:lnTo>
                <a:lnTo>
                  <a:pt x="4748" y="186617"/>
                </a:lnTo>
                <a:cubicBezTo>
                  <a:pt x="26542" y="80115"/>
                  <a:pt x="120774" y="0"/>
                  <a:pt x="233720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1" name="Полилиния 50"/>
          <p:cNvSpPr/>
          <p:nvPr/>
        </p:nvSpPr>
        <p:spPr>
          <a:xfrm>
            <a:off x="8441635" y="3039017"/>
            <a:ext cx="903514" cy="388075"/>
          </a:xfrm>
          <a:custGeom>
            <a:avLst/>
            <a:gdLst>
              <a:gd name="connsiteX0" fmla="*/ 233720 w 1073960"/>
              <a:gd name="connsiteY0" fmla="*/ 0 h 467438"/>
              <a:gd name="connsiteX1" fmla="*/ 233973 w 1073960"/>
              <a:gd name="connsiteY1" fmla="*/ 0 h 467438"/>
              <a:gd name="connsiteX2" fmla="*/ 235750 w 1073960"/>
              <a:gd name="connsiteY2" fmla="*/ 0 h 467438"/>
              <a:gd name="connsiteX3" fmla="*/ 235759 w 1073960"/>
              <a:gd name="connsiteY3" fmla="*/ 0 h 467438"/>
              <a:gd name="connsiteX4" fmla="*/ 239757 w 1073960"/>
              <a:gd name="connsiteY4" fmla="*/ 0 h 467438"/>
              <a:gd name="connsiteX5" fmla="*/ 239767 w 1073960"/>
              <a:gd name="connsiteY5" fmla="*/ 0 h 467438"/>
              <a:gd name="connsiteX6" fmla="*/ 251036 w 1073960"/>
              <a:gd name="connsiteY6" fmla="*/ 0 h 467438"/>
              <a:gd name="connsiteX7" fmla="*/ 255044 w 1073960"/>
              <a:gd name="connsiteY7" fmla="*/ 0 h 467438"/>
              <a:gd name="connsiteX8" fmla="*/ 256820 w 1073960"/>
              <a:gd name="connsiteY8" fmla="*/ 0 h 467438"/>
              <a:gd name="connsiteX9" fmla="*/ 266930 w 1073960"/>
              <a:gd name="connsiteY9" fmla="*/ 0 h 467438"/>
              <a:gd name="connsiteX10" fmla="*/ 273280 w 1073960"/>
              <a:gd name="connsiteY10" fmla="*/ 0 h 467438"/>
              <a:gd name="connsiteX11" fmla="*/ 277287 w 1073960"/>
              <a:gd name="connsiteY11" fmla="*/ 0 h 467438"/>
              <a:gd name="connsiteX12" fmla="*/ 279327 w 1073960"/>
              <a:gd name="connsiteY12" fmla="*/ 0 h 467438"/>
              <a:gd name="connsiteX13" fmla="*/ 283334 w 1073960"/>
              <a:gd name="connsiteY13" fmla="*/ 0 h 467438"/>
              <a:gd name="connsiteX14" fmla="*/ 291309 w 1073960"/>
              <a:gd name="connsiteY14" fmla="*/ 0 h 467438"/>
              <a:gd name="connsiteX15" fmla="*/ 294350 w 1073960"/>
              <a:gd name="connsiteY15" fmla="*/ 0 h 467438"/>
              <a:gd name="connsiteX16" fmla="*/ 294604 w 1073960"/>
              <a:gd name="connsiteY16" fmla="*/ 0 h 467438"/>
              <a:gd name="connsiteX17" fmla="*/ 297356 w 1073960"/>
              <a:gd name="connsiteY17" fmla="*/ 0 h 467438"/>
              <a:gd name="connsiteX18" fmla="*/ 298611 w 1073960"/>
              <a:gd name="connsiteY18" fmla="*/ 0 h 467438"/>
              <a:gd name="connsiteX19" fmla="*/ 300388 w 1073960"/>
              <a:gd name="connsiteY19" fmla="*/ 0 h 467438"/>
              <a:gd name="connsiteX20" fmla="*/ 300397 w 1073960"/>
              <a:gd name="connsiteY20" fmla="*/ 0 h 467438"/>
              <a:gd name="connsiteX21" fmla="*/ 310497 w 1073960"/>
              <a:gd name="connsiteY21" fmla="*/ 0 h 467438"/>
              <a:gd name="connsiteX22" fmla="*/ 312633 w 1073960"/>
              <a:gd name="connsiteY22" fmla="*/ 0 h 467438"/>
              <a:gd name="connsiteX23" fmla="*/ 315674 w 1073960"/>
              <a:gd name="connsiteY23" fmla="*/ 0 h 467438"/>
              <a:gd name="connsiteX24" fmla="*/ 327561 w 1073960"/>
              <a:gd name="connsiteY24" fmla="*/ 0 h 467438"/>
              <a:gd name="connsiteX25" fmla="*/ 331568 w 1073960"/>
              <a:gd name="connsiteY25" fmla="*/ 0 h 467438"/>
              <a:gd name="connsiteX26" fmla="*/ 334876 w 1073960"/>
              <a:gd name="connsiteY26" fmla="*/ 0 h 467438"/>
              <a:gd name="connsiteX27" fmla="*/ 334886 w 1073960"/>
              <a:gd name="connsiteY27" fmla="*/ 0 h 467438"/>
              <a:gd name="connsiteX28" fmla="*/ 337918 w 1073960"/>
              <a:gd name="connsiteY28" fmla="*/ 0 h 467438"/>
              <a:gd name="connsiteX29" fmla="*/ 340923 w 1073960"/>
              <a:gd name="connsiteY29" fmla="*/ 0 h 467438"/>
              <a:gd name="connsiteX30" fmla="*/ 343965 w 1073960"/>
              <a:gd name="connsiteY30" fmla="*/ 0 h 467438"/>
              <a:gd name="connsiteX31" fmla="*/ 350163 w 1073960"/>
              <a:gd name="connsiteY31" fmla="*/ 0 h 467438"/>
              <a:gd name="connsiteX32" fmla="*/ 351939 w 1073960"/>
              <a:gd name="connsiteY32" fmla="*/ 0 h 467438"/>
              <a:gd name="connsiteX33" fmla="*/ 355947 w 1073960"/>
              <a:gd name="connsiteY33" fmla="*/ 0 h 467438"/>
              <a:gd name="connsiteX34" fmla="*/ 356200 w 1073960"/>
              <a:gd name="connsiteY34" fmla="*/ 0 h 467438"/>
              <a:gd name="connsiteX35" fmla="*/ 356210 w 1073960"/>
              <a:gd name="connsiteY35" fmla="*/ 0 h 467438"/>
              <a:gd name="connsiteX36" fmla="*/ 357987 w 1073960"/>
              <a:gd name="connsiteY36" fmla="*/ 0 h 467438"/>
              <a:gd name="connsiteX37" fmla="*/ 359242 w 1073960"/>
              <a:gd name="connsiteY37" fmla="*/ 0 h 467438"/>
              <a:gd name="connsiteX38" fmla="*/ 361994 w 1073960"/>
              <a:gd name="connsiteY38" fmla="*/ 0 h 467438"/>
              <a:gd name="connsiteX39" fmla="*/ 371129 w 1073960"/>
              <a:gd name="connsiteY39" fmla="*/ 0 h 467438"/>
              <a:gd name="connsiteX40" fmla="*/ 373263 w 1073960"/>
              <a:gd name="connsiteY40" fmla="*/ 0 h 467438"/>
              <a:gd name="connsiteX41" fmla="*/ 375135 w 1073960"/>
              <a:gd name="connsiteY41" fmla="*/ 0 h 467438"/>
              <a:gd name="connsiteX42" fmla="*/ 377271 w 1073960"/>
              <a:gd name="connsiteY42" fmla="*/ 0 h 467438"/>
              <a:gd name="connsiteX43" fmla="*/ 378453 w 1073960"/>
              <a:gd name="connsiteY43" fmla="*/ 0 h 467438"/>
              <a:gd name="connsiteX44" fmla="*/ 389158 w 1073960"/>
              <a:gd name="connsiteY44" fmla="*/ 0 h 467438"/>
              <a:gd name="connsiteX45" fmla="*/ 392199 w 1073960"/>
              <a:gd name="connsiteY45" fmla="*/ 0 h 467438"/>
              <a:gd name="connsiteX46" fmla="*/ 393730 w 1073960"/>
              <a:gd name="connsiteY46" fmla="*/ 0 h 467438"/>
              <a:gd name="connsiteX47" fmla="*/ 395507 w 1073960"/>
              <a:gd name="connsiteY47" fmla="*/ 0 h 467438"/>
              <a:gd name="connsiteX48" fmla="*/ 395516 w 1073960"/>
              <a:gd name="connsiteY48" fmla="*/ 0 h 467438"/>
              <a:gd name="connsiteX49" fmla="*/ 399514 w 1073960"/>
              <a:gd name="connsiteY49" fmla="*/ 0 h 467438"/>
              <a:gd name="connsiteX50" fmla="*/ 399524 w 1073960"/>
              <a:gd name="connsiteY50" fmla="*/ 0 h 467438"/>
              <a:gd name="connsiteX51" fmla="*/ 399777 w 1073960"/>
              <a:gd name="connsiteY51" fmla="*/ 0 h 467438"/>
              <a:gd name="connsiteX52" fmla="*/ 401555 w 1073960"/>
              <a:gd name="connsiteY52" fmla="*/ 0 h 467438"/>
              <a:gd name="connsiteX53" fmla="*/ 405561 w 1073960"/>
              <a:gd name="connsiteY53" fmla="*/ 0 h 467438"/>
              <a:gd name="connsiteX54" fmla="*/ 410793 w 1073960"/>
              <a:gd name="connsiteY54" fmla="*/ 0 h 467438"/>
              <a:gd name="connsiteX55" fmla="*/ 414801 w 1073960"/>
              <a:gd name="connsiteY55" fmla="*/ 0 h 467438"/>
              <a:gd name="connsiteX56" fmla="*/ 416577 w 1073960"/>
              <a:gd name="connsiteY56" fmla="*/ 0 h 467438"/>
              <a:gd name="connsiteX57" fmla="*/ 416831 w 1073960"/>
              <a:gd name="connsiteY57" fmla="*/ 0 h 467438"/>
              <a:gd name="connsiteX58" fmla="*/ 416840 w 1073960"/>
              <a:gd name="connsiteY58" fmla="*/ 0 h 467438"/>
              <a:gd name="connsiteX59" fmla="*/ 420838 w 1073960"/>
              <a:gd name="connsiteY59" fmla="*/ 0 h 467438"/>
              <a:gd name="connsiteX60" fmla="*/ 420848 w 1073960"/>
              <a:gd name="connsiteY60" fmla="*/ 0 h 467438"/>
              <a:gd name="connsiteX61" fmla="*/ 422625 w 1073960"/>
              <a:gd name="connsiteY61" fmla="*/ 0 h 467438"/>
              <a:gd name="connsiteX62" fmla="*/ 426687 w 1073960"/>
              <a:gd name="connsiteY62" fmla="*/ 0 h 467438"/>
              <a:gd name="connsiteX63" fmla="*/ 432725 w 1073960"/>
              <a:gd name="connsiteY63" fmla="*/ 0 h 467438"/>
              <a:gd name="connsiteX64" fmla="*/ 432735 w 1073960"/>
              <a:gd name="connsiteY64" fmla="*/ 0 h 467438"/>
              <a:gd name="connsiteX65" fmla="*/ 435767 w 1073960"/>
              <a:gd name="connsiteY65" fmla="*/ 0 h 467438"/>
              <a:gd name="connsiteX66" fmla="*/ 437901 w 1073960"/>
              <a:gd name="connsiteY66" fmla="*/ 0 h 467438"/>
              <a:gd name="connsiteX67" fmla="*/ 439084 w 1073960"/>
              <a:gd name="connsiteY67" fmla="*/ 0 h 467438"/>
              <a:gd name="connsiteX68" fmla="*/ 443091 w 1073960"/>
              <a:gd name="connsiteY68" fmla="*/ 0 h 467438"/>
              <a:gd name="connsiteX69" fmla="*/ 448011 w 1073960"/>
              <a:gd name="connsiteY69" fmla="*/ 0 h 467438"/>
              <a:gd name="connsiteX70" fmla="*/ 449788 w 1073960"/>
              <a:gd name="connsiteY70" fmla="*/ 0 h 467438"/>
              <a:gd name="connsiteX71" fmla="*/ 453796 w 1073960"/>
              <a:gd name="connsiteY71" fmla="*/ 0 h 467438"/>
              <a:gd name="connsiteX72" fmla="*/ 454361 w 1073960"/>
              <a:gd name="connsiteY72" fmla="*/ 0 h 467438"/>
              <a:gd name="connsiteX73" fmla="*/ 457113 w 1073960"/>
              <a:gd name="connsiteY73" fmla="*/ 0 h 467438"/>
              <a:gd name="connsiteX74" fmla="*/ 458368 w 1073960"/>
              <a:gd name="connsiteY74" fmla="*/ 0 h 467438"/>
              <a:gd name="connsiteX75" fmla="*/ 460145 w 1073960"/>
              <a:gd name="connsiteY75" fmla="*/ 0 h 467438"/>
              <a:gd name="connsiteX76" fmla="*/ 460154 w 1073960"/>
              <a:gd name="connsiteY76" fmla="*/ 0 h 467438"/>
              <a:gd name="connsiteX77" fmla="*/ 460408 w 1073960"/>
              <a:gd name="connsiteY77" fmla="*/ 0 h 467438"/>
              <a:gd name="connsiteX78" fmla="*/ 464415 w 1073960"/>
              <a:gd name="connsiteY78" fmla="*/ 0 h 467438"/>
              <a:gd name="connsiteX79" fmla="*/ 466193 w 1073960"/>
              <a:gd name="connsiteY79" fmla="*/ 0 h 467438"/>
              <a:gd name="connsiteX80" fmla="*/ 470254 w 1073960"/>
              <a:gd name="connsiteY80" fmla="*/ 0 h 467438"/>
              <a:gd name="connsiteX81" fmla="*/ 472390 w 1073960"/>
              <a:gd name="connsiteY81" fmla="*/ 0 h 467438"/>
              <a:gd name="connsiteX82" fmla="*/ 475431 w 1073960"/>
              <a:gd name="connsiteY82" fmla="*/ 0 h 467438"/>
              <a:gd name="connsiteX83" fmla="*/ 476302 w 1073960"/>
              <a:gd name="connsiteY83" fmla="*/ 0 h 467438"/>
              <a:gd name="connsiteX84" fmla="*/ 478437 w 1073960"/>
              <a:gd name="connsiteY84" fmla="*/ 0 h 467438"/>
              <a:gd name="connsiteX85" fmla="*/ 481469 w 1073960"/>
              <a:gd name="connsiteY85" fmla="*/ 0 h 467438"/>
              <a:gd name="connsiteX86" fmla="*/ 481478 w 1073960"/>
              <a:gd name="connsiteY86" fmla="*/ 0 h 467438"/>
              <a:gd name="connsiteX87" fmla="*/ 487318 w 1073960"/>
              <a:gd name="connsiteY87" fmla="*/ 0 h 467438"/>
              <a:gd name="connsiteX88" fmla="*/ 491325 w 1073960"/>
              <a:gd name="connsiteY88" fmla="*/ 0 h 467438"/>
              <a:gd name="connsiteX89" fmla="*/ 491579 w 1073960"/>
              <a:gd name="connsiteY89" fmla="*/ 0 h 467438"/>
              <a:gd name="connsiteX90" fmla="*/ 493356 w 1073960"/>
              <a:gd name="connsiteY90" fmla="*/ 0 h 467438"/>
              <a:gd name="connsiteX91" fmla="*/ 493365 w 1073960"/>
              <a:gd name="connsiteY91" fmla="*/ 0 h 467438"/>
              <a:gd name="connsiteX92" fmla="*/ 497363 w 1073960"/>
              <a:gd name="connsiteY92" fmla="*/ 0 h 467438"/>
              <a:gd name="connsiteX93" fmla="*/ 497373 w 1073960"/>
              <a:gd name="connsiteY93" fmla="*/ 0 h 467438"/>
              <a:gd name="connsiteX94" fmla="*/ 500680 w 1073960"/>
              <a:gd name="connsiteY94" fmla="*/ 0 h 467438"/>
              <a:gd name="connsiteX95" fmla="*/ 503722 w 1073960"/>
              <a:gd name="connsiteY95" fmla="*/ 0 h 467438"/>
              <a:gd name="connsiteX96" fmla="*/ 508642 w 1073960"/>
              <a:gd name="connsiteY96" fmla="*/ 0 h 467438"/>
              <a:gd name="connsiteX97" fmla="*/ 512649 w 1073960"/>
              <a:gd name="connsiteY97" fmla="*/ 0 h 467438"/>
              <a:gd name="connsiteX98" fmla="*/ 514426 w 1073960"/>
              <a:gd name="connsiteY98" fmla="*/ 0 h 467438"/>
              <a:gd name="connsiteX99" fmla="*/ 515957 w 1073960"/>
              <a:gd name="connsiteY99" fmla="*/ 0 h 467438"/>
              <a:gd name="connsiteX100" fmla="*/ 515967 w 1073960"/>
              <a:gd name="connsiteY100" fmla="*/ 0 h 467438"/>
              <a:gd name="connsiteX101" fmla="*/ 517744 w 1073960"/>
              <a:gd name="connsiteY101" fmla="*/ 0 h 467438"/>
              <a:gd name="connsiteX102" fmla="*/ 518999 w 1073960"/>
              <a:gd name="connsiteY102" fmla="*/ 0 h 467438"/>
              <a:gd name="connsiteX103" fmla="*/ 521751 w 1073960"/>
              <a:gd name="connsiteY103" fmla="*/ 0 h 467438"/>
              <a:gd name="connsiteX104" fmla="*/ 522004 w 1073960"/>
              <a:gd name="connsiteY104" fmla="*/ 0 h 467438"/>
              <a:gd name="connsiteX105" fmla="*/ 525046 w 1073960"/>
              <a:gd name="connsiteY105" fmla="*/ 0 h 467438"/>
              <a:gd name="connsiteX106" fmla="*/ 530886 w 1073960"/>
              <a:gd name="connsiteY106" fmla="*/ 0 h 467438"/>
              <a:gd name="connsiteX107" fmla="*/ 533020 w 1073960"/>
              <a:gd name="connsiteY107" fmla="*/ 0 h 467438"/>
              <a:gd name="connsiteX108" fmla="*/ 534892 w 1073960"/>
              <a:gd name="connsiteY108" fmla="*/ 0 h 467438"/>
              <a:gd name="connsiteX109" fmla="*/ 536933 w 1073960"/>
              <a:gd name="connsiteY109" fmla="*/ 0 h 467438"/>
              <a:gd name="connsiteX110" fmla="*/ 537028 w 1073960"/>
              <a:gd name="connsiteY110" fmla="*/ 0 h 467438"/>
              <a:gd name="connsiteX111" fmla="*/ 539068 w 1073960"/>
              <a:gd name="connsiteY111" fmla="*/ 0 h 467438"/>
              <a:gd name="connsiteX112" fmla="*/ 540940 w 1073960"/>
              <a:gd name="connsiteY112" fmla="*/ 0 h 467438"/>
              <a:gd name="connsiteX113" fmla="*/ 543075 w 1073960"/>
              <a:gd name="connsiteY113" fmla="*/ 0 h 467438"/>
              <a:gd name="connsiteX114" fmla="*/ 548915 w 1073960"/>
              <a:gd name="connsiteY114" fmla="*/ 0 h 467438"/>
              <a:gd name="connsiteX115" fmla="*/ 551956 w 1073960"/>
              <a:gd name="connsiteY115" fmla="*/ 0 h 467438"/>
              <a:gd name="connsiteX116" fmla="*/ 552210 w 1073960"/>
              <a:gd name="connsiteY116" fmla="*/ 0 h 467438"/>
              <a:gd name="connsiteX117" fmla="*/ 554962 w 1073960"/>
              <a:gd name="connsiteY117" fmla="*/ 0 h 467438"/>
              <a:gd name="connsiteX118" fmla="*/ 556217 w 1073960"/>
              <a:gd name="connsiteY118" fmla="*/ 0 h 467438"/>
              <a:gd name="connsiteX119" fmla="*/ 557994 w 1073960"/>
              <a:gd name="connsiteY119" fmla="*/ 0 h 467438"/>
              <a:gd name="connsiteX120" fmla="*/ 558003 w 1073960"/>
              <a:gd name="connsiteY120" fmla="*/ 0 h 467438"/>
              <a:gd name="connsiteX121" fmla="*/ 559534 w 1073960"/>
              <a:gd name="connsiteY121" fmla="*/ 0 h 467438"/>
              <a:gd name="connsiteX122" fmla="*/ 561312 w 1073960"/>
              <a:gd name="connsiteY122" fmla="*/ 0 h 467438"/>
              <a:gd name="connsiteX123" fmla="*/ 565318 w 1073960"/>
              <a:gd name="connsiteY123" fmla="*/ 0 h 467438"/>
              <a:gd name="connsiteX124" fmla="*/ 570239 w 1073960"/>
              <a:gd name="connsiteY124" fmla="*/ 0 h 467438"/>
              <a:gd name="connsiteX125" fmla="*/ 573280 w 1073960"/>
              <a:gd name="connsiteY125" fmla="*/ 0 h 467438"/>
              <a:gd name="connsiteX126" fmla="*/ 576588 w 1073960"/>
              <a:gd name="connsiteY126" fmla="*/ 0 h 467438"/>
              <a:gd name="connsiteX127" fmla="*/ 576597 w 1073960"/>
              <a:gd name="connsiteY127" fmla="*/ 0 h 467438"/>
              <a:gd name="connsiteX128" fmla="*/ 580595 w 1073960"/>
              <a:gd name="connsiteY128" fmla="*/ 0 h 467438"/>
              <a:gd name="connsiteX129" fmla="*/ 580605 w 1073960"/>
              <a:gd name="connsiteY129" fmla="*/ 0 h 467438"/>
              <a:gd name="connsiteX130" fmla="*/ 582382 w 1073960"/>
              <a:gd name="connsiteY130" fmla="*/ 0 h 467438"/>
              <a:gd name="connsiteX131" fmla="*/ 582636 w 1073960"/>
              <a:gd name="connsiteY131" fmla="*/ 0 h 467438"/>
              <a:gd name="connsiteX132" fmla="*/ 586642 w 1073960"/>
              <a:gd name="connsiteY132" fmla="*/ 0 h 467438"/>
              <a:gd name="connsiteX133" fmla="*/ 592482 w 1073960"/>
              <a:gd name="connsiteY133" fmla="*/ 0 h 467438"/>
              <a:gd name="connsiteX134" fmla="*/ 592492 w 1073960"/>
              <a:gd name="connsiteY134" fmla="*/ 0 h 467438"/>
              <a:gd name="connsiteX135" fmla="*/ 595524 w 1073960"/>
              <a:gd name="connsiteY135" fmla="*/ 0 h 467438"/>
              <a:gd name="connsiteX136" fmla="*/ 597658 w 1073960"/>
              <a:gd name="connsiteY136" fmla="*/ 0 h 467438"/>
              <a:gd name="connsiteX137" fmla="*/ 598529 w 1073960"/>
              <a:gd name="connsiteY137" fmla="*/ 0 h 467438"/>
              <a:gd name="connsiteX138" fmla="*/ 601571 w 1073960"/>
              <a:gd name="connsiteY138" fmla="*/ 0 h 467438"/>
              <a:gd name="connsiteX139" fmla="*/ 603706 w 1073960"/>
              <a:gd name="connsiteY139" fmla="*/ 0 h 467438"/>
              <a:gd name="connsiteX140" fmla="*/ 607768 w 1073960"/>
              <a:gd name="connsiteY140" fmla="*/ 0 h 467438"/>
              <a:gd name="connsiteX141" fmla="*/ 609545 w 1073960"/>
              <a:gd name="connsiteY141" fmla="*/ 0 h 467438"/>
              <a:gd name="connsiteX142" fmla="*/ 613553 w 1073960"/>
              <a:gd name="connsiteY142" fmla="*/ 0 h 467438"/>
              <a:gd name="connsiteX143" fmla="*/ 613806 w 1073960"/>
              <a:gd name="connsiteY143" fmla="*/ 0 h 467438"/>
              <a:gd name="connsiteX144" fmla="*/ 613816 w 1073960"/>
              <a:gd name="connsiteY144" fmla="*/ 0 h 467438"/>
              <a:gd name="connsiteX145" fmla="*/ 615592 w 1073960"/>
              <a:gd name="connsiteY145" fmla="*/ 0 h 467438"/>
              <a:gd name="connsiteX146" fmla="*/ 616848 w 1073960"/>
              <a:gd name="connsiteY146" fmla="*/ 0 h 467438"/>
              <a:gd name="connsiteX147" fmla="*/ 619600 w 1073960"/>
              <a:gd name="connsiteY147" fmla="*/ 0 h 467438"/>
              <a:gd name="connsiteX148" fmla="*/ 620165 w 1073960"/>
              <a:gd name="connsiteY148" fmla="*/ 0 h 467438"/>
              <a:gd name="connsiteX149" fmla="*/ 624172 w 1073960"/>
              <a:gd name="connsiteY149" fmla="*/ 0 h 467438"/>
              <a:gd name="connsiteX150" fmla="*/ 625950 w 1073960"/>
              <a:gd name="connsiteY150" fmla="*/ 0 h 467438"/>
              <a:gd name="connsiteX151" fmla="*/ 630869 w 1073960"/>
              <a:gd name="connsiteY151" fmla="*/ 0 h 467438"/>
              <a:gd name="connsiteX152" fmla="*/ 634877 w 1073960"/>
              <a:gd name="connsiteY152" fmla="*/ 0 h 467438"/>
              <a:gd name="connsiteX153" fmla="*/ 636059 w 1073960"/>
              <a:gd name="connsiteY153" fmla="*/ 0 h 467438"/>
              <a:gd name="connsiteX154" fmla="*/ 638194 w 1073960"/>
              <a:gd name="connsiteY154" fmla="*/ 0 h 467438"/>
              <a:gd name="connsiteX155" fmla="*/ 641226 w 1073960"/>
              <a:gd name="connsiteY155" fmla="*/ 0 h 467438"/>
              <a:gd name="connsiteX156" fmla="*/ 641235 w 1073960"/>
              <a:gd name="connsiteY156" fmla="*/ 0 h 467438"/>
              <a:gd name="connsiteX157" fmla="*/ 647274 w 1073960"/>
              <a:gd name="connsiteY157" fmla="*/ 0 h 467438"/>
              <a:gd name="connsiteX158" fmla="*/ 651336 w 1073960"/>
              <a:gd name="connsiteY158" fmla="*/ 0 h 467438"/>
              <a:gd name="connsiteX159" fmla="*/ 653113 w 1073960"/>
              <a:gd name="connsiteY159" fmla="*/ 0 h 467438"/>
              <a:gd name="connsiteX160" fmla="*/ 653122 w 1073960"/>
              <a:gd name="connsiteY160" fmla="*/ 0 h 467438"/>
              <a:gd name="connsiteX161" fmla="*/ 657120 w 1073960"/>
              <a:gd name="connsiteY161" fmla="*/ 0 h 467438"/>
              <a:gd name="connsiteX162" fmla="*/ 657130 w 1073960"/>
              <a:gd name="connsiteY162" fmla="*/ 0 h 467438"/>
              <a:gd name="connsiteX163" fmla="*/ 657383 w 1073960"/>
              <a:gd name="connsiteY163" fmla="*/ 0 h 467438"/>
              <a:gd name="connsiteX164" fmla="*/ 659160 w 1073960"/>
              <a:gd name="connsiteY164" fmla="*/ 0 h 467438"/>
              <a:gd name="connsiteX165" fmla="*/ 663167 w 1073960"/>
              <a:gd name="connsiteY165" fmla="*/ 0 h 467438"/>
              <a:gd name="connsiteX166" fmla="*/ 668399 w 1073960"/>
              <a:gd name="connsiteY166" fmla="*/ 0 h 467438"/>
              <a:gd name="connsiteX167" fmla="*/ 672406 w 1073960"/>
              <a:gd name="connsiteY167" fmla="*/ 0 h 467438"/>
              <a:gd name="connsiteX168" fmla="*/ 674183 w 1073960"/>
              <a:gd name="connsiteY168" fmla="*/ 0 h 467438"/>
              <a:gd name="connsiteX169" fmla="*/ 674437 w 1073960"/>
              <a:gd name="connsiteY169" fmla="*/ 0 h 467438"/>
              <a:gd name="connsiteX170" fmla="*/ 674446 w 1073960"/>
              <a:gd name="connsiteY170" fmla="*/ 0 h 467438"/>
              <a:gd name="connsiteX171" fmla="*/ 678444 w 1073960"/>
              <a:gd name="connsiteY171" fmla="*/ 0 h 467438"/>
              <a:gd name="connsiteX172" fmla="*/ 678454 w 1073960"/>
              <a:gd name="connsiteY172" fmla="*/ 0 h 467438"/>
              <a:gd name="connsiteX173" fmla="*/ 680230 w 1073960"/>
              <a:gd name="connsiteY173" fmla="*/ 0 h 467438"/>
              <a:gd name="connsiteX174" fmla="*/ 681761 w 1073960"/>
              <a:gd name="connsiteY174" fmla="*/ 0 h 467438"/>
              <a:gd name="connsiteX175" fmla="*/ 684803 w 1073960"/>
              <a:gd name="connsiteY175" fmla="*/ 0 h 467438"/>
              <a:gd name="connsiteX176" fmla="*/ 695507 w 1073960"/>
              <a:gd name="connsiteY176" fmla="*/ 0 h 467438"/>
              <a:gd name="connsiteX177" fmla="*/ 696690 w 1073960"/>
              <a:gd name="connsiteY177" fmla="*/ 0 h 467438"/>
              <a:gd name="connsiteX178" fmla="*/ 698825 w 1073960"/>
              <a:gd name="connsiteY178" fmla="*/ 0 h 467438"/>
              <a:gd name="connsiteX179" fmla="*/ 700697 w 1073960"/>
              <a:gd name="connsiteY179" fmla="*/ 0 h 467438"/>
              <a:gd name="connsiteX180" fmla="*/ 702832 w 1073960"/>
              <a:gd name="connsiteY180" fmla="*/ 0 h 467438"/>
              <a:gd name="connsiteX181" fmla="*/ 711967 w 1073960"/>
              <a:gd name="connsiteY181" fmla="*/ 0 h 467438"/>
              <a:gd name="connsiteX182" fmla="*/ 714719 w 1073960"/>
              <a:gd name="connsiteY182" fmla="*/ 0 h 467438"/>
              <a:gd name="connsiteX183" fmla="*/ 715974 w 1073960"/>
              <a:gd name="connsiteY183" fmla="*/ 0 h 467438"/>
              <a:gd name="connsiteX184" fmla="*/ 717751 w 1073960"/>
              <a:gd name="connsiteY184" fmla="*/ 0 h 467438"/>
              <a:gd name="connsiteX185" fmla="*/ 717760 w 1073960"/>
              <a:gd name="connsiteY185" fmla="*/ 0 h 467438"/>
              <a:gd name="connsiteX186" fmla="*/ 718014 w 1073960"/>
              <a:gd name="connsiteY186" fmla="*/ 0 h 467438"/>
              <a:gd name="connsiteX187" fmla="*/ 722021 w 1073960"/>
              <a:gd name="connsiteY187" fmla="*/ 0 h 467438"/>
              <a:gd name="connsiteX188" fmla="*/ 723798 w 1073960"/>
              <a:gd name="connsiteY188" fmla="*/ 0 h 467438"/>
              <a:gd name="connsiteX189" fmla="*/ 729996 w 1073960"/>
              <a:gd name="connsiteY189" fmla="*/ 0 h 467438"/>
              <a:gd name="connsiteX190" fmla="*/ 733037 w 1073960"/>
              <a:gd name="connsiteY190" fmla="*/ 0 h 467438"/>
              <a:gd name="connsiteX191" fmla="*/ 736043 w 1073960"/>
              <a:gd name="connsiteY191" fmla="*/ 0 h 467438"/>
              <a:gd name="connsiteX192" fmla="*/ 739075 w 1073960"/>
              <a:gd name="connsiteY192" fmla="*/ 0 h 467438"/>
              <a:gd name="connsiteX193" fmla="*/ 739084 w 1073960"/>
              <a:gd name="connsiteY193" fmla="*/ 0 h 467438"/>
              <a:gd name="connsiteX194" fmla="*/ 742393 w 1073960"/>
              <a:gd name="connsiteY194" fmla="*/ 0 h 467438"/>
              <a:gd name="connsiteX195" fmla="*/ 746399 w 1073960"/>
              <a:gd name="connsiteY195" fmla="*/ 0 h 467438"/>
              <a:gd name="connsiteX196" fmla="*/ 758286 w 1073960"/>
              <a:gd name="connsiteY196" fmla="*/ 0 h 467438"/>
              <a:gd name="connsiteX197" fmla="*/ 761328 w 1073960"/>
              <a:gd name="connsiteY197" fmla="*/ 0 h 467438"/>
              <a:gd name="connsiteX198" fmla="*/ 763463 w 1073960"/>
              <a:gd name="connsiteY198" fmla="*/ 0 h 467438"/>
              <a:gd name="connsiteX199" fmla="*/ 773563 w 1073960"/>
              <a:gd name="connsiteY199" fmla="*/ 0 h 467438"/>
              <a:gd name="connsiteX200" fmla="*/ 773573 w 1073960"/>
              <a:gd name="connsiteY200" fmla="*/ 0 h 467438"/>
              <a:gd name="connsiteX201" fmla="*/ 775349 w 1073960"/>
              <a:gd name="connsiteY201" fmla="*/ 0 h 467438"/>
              <a:gd name="connsiteX202" fmla="*/ 776605 w 1073960"/>
              <a:gd name="connsiteY202" fmla="*/ 0 h 467438"/>
              <a:gd name="connsiteX203" fmla="*/ 779357 w 1073960"/>
              <a:gd name="connsiteY203" fmla="*/ 0 h 467438"/>
              <a:gd name="connsiteX204" fmla="*/ 779610 w 1073960"/>
              <a:gd name="connsiteY204" fmla="*/ 0 h 467438"/>
              <a:gd name="connsiteX205" fmla="*/ 782652 w 1073960"/>
              <a:gd name="connsiteY205" fmla="*/ 0 h 467438"/>
              <a:gd name="connsiteX206" fmla="*/ 790626 w 1073960"/>
              <a:gd name="connsiteY206" fmla="*/ 0 h 467438"/>
              <a:gd name="connsiteX207" fmla="*/ 794634 w 1073960"/>
              <a:gd name="connsiteY207" fmla="*/ 0 h 467438"/>
              <a:gd name="connsiteX208" fmla="*/ 796673 w 1073960"/>
              <a:gd name="connsiteY208" fmla="*/ 0 h 467438"/>
              <a:gd name="connsiteX209" fmla="*/ 800681 w 1073960"/>
              <a:gd name="connsiteY209" fmla="*/ 0 h 467438"/>
              <a:gd name="connsiteX210" fmla="*/ 807031 w 1073960"/>
              <a:gd name="connsiteY210" fmla="*/ 0 h 467438"/>
              <a:gd name="connsiteX211" fmla="*/ 817140 w 1073960"/>
              <a:gd name="connsiteY211" fmla="*/ 0 h 467438"/>
              <a:gd name="connsiteX212" fmla="*/ 818917 w 1073960"/>
              <a:gd name="connsiteY212" fmla="*/ 0 h 467438"/>
              <a:gd name="connsiteX213" fmla="*/ 822924 w 1073960"/>
              <a:gd name="connsiteY213" fmla="*/ 0 h 467438"/>
              <a:gd name="connsiteX214" fmla="*/ 834194 w 1073960"/>
              <a:gd name="connsiteY214" fmla="*/ 0 h 467438"/>
              <a:gd name="connsiteX215" fmla="*/ 834203 w 1073960"/>
              <a:gd name="connsiteY215" fmla="*/ 0 h 467438"/>
              <a:gd name="connsiteX216" fmla="*/ 838201 w 1073960"/>
              <a:gd name="connsiteY216" fmla="*/ 0 h 467438"/>
              <a:gd name="connsiteX217" fmla="*/ 838211 w 1073960"/>
              <a:gd name="connsiteY217" fmla="*/ 0 h 467438"/>
              <a:gd name="connsiteX218" fmla="*/ 839987 w 1073960"/>
              <a:gd name="connsiteY218" fmla="*/ 0 h 467438"/>
              <a:gd name="connsiteX219" fmla="*/ 840241 w 1073960"/>
              <a:gd name="connsiteY219" fmla="*/ 0 h 467438"/>
              <a:gd name="connsiteX220" fmla="*/ 1073960 w 1073960"/>
              <a:gd name="connsiteY220" fmla="*/ 233720 h 467438"/>
              <a:gd name="connsiteX221" fmla="*/ 1073959 w 1073960"/>
              <a:gd name="connsiteY221" fmla="*/ 233720 h 467438"/>
              <a:gd name="connsiteX222" fmla="*/ 840241 w 1073960"/>
              <a:gd name="connsiteY222" fmla="*/ 467438 h 467438"/>
              <a:gd name="connsiteX223" fmla="*/ 838212 w 1073960"/>
              <a:gd name="connsiteY223" fmla="*/ 467438 h 467438"/>
              <a:gd name="connsiteX224" fmla="*/ 838210 w 1073960"/>
              <a:gd name="connsiteY224" fmla="*/ 467438 h 467438"/>
              <a:gd name="connsiteX225" fmla="*/ 838201 w 1073960"/>
              <a:gd name="connsiteY225" fmla="*/ 467438 h 467438"/>
              <a:gd name="connsiteX226" fmla="*/ 838200 w 1073960"/>
              <a:gd name="connsiteY226" fmla="*/ 467438 h 467438"/>
              <a:gd name="connsiteX227" fmla="*/ 834205 w 1073960"/>
              <a:gd name="connsiteY227" fmla="*/ 467438 h 467438"/>
              <a:gd name="connsiteX228" fmla="*/ 834202 w 1073960"/>
              <a:gd name="connsiteY228" fmla="*/ 467438 h 467438"/>
              <a:gd name="connsiteX229" fmla="*/ 834193 w 1073960"/>
              <a:gd name="connsiteY229" fmla="*/ 467438 h 467438"/>
              <a:gd name="connsiteX230" fmla="*/ 817140 w 1073960"/>
              <a:gd name="connsiteY230" fmla="*/ 467438 h 467438"/>
              <a:gd name="connsiteX231" fmla="*/ 817139 w 1073960"/>
              <a:gd name="connsiteY231" fmla="*/ 467438 h 467438"/>
              <a:gd name="connsiteX232" fmla="*/ 807030 w 1073960"/>
              <a:gd name="connsiteY232" fmla="*/ 467438 h 467438"/>
              <a:gd name="connsiteX233" fmla="*/ 800683 w 1073960"/>
              <a:gd name="connsiteY233" fmla="*/ 467438 h 467438"/>
              <a:gd name="connsiteX234" fmla="*/ 800680 w 1073960"/>
              <a:gd name="connsiteY234" fmla="*/ 467438 h 467438"/>
              <a:gd name="connsiteX235" fmla="*/ 796675 w 1073960"/>
              <a:gd name="connsiteY235" fmla="*/ 467438 h 467438"/>
              <a:gd name="connsiteX236" fmla="*/ 796673 w 1073960"/>
              <a:gd name="connsiteY236" fmla="*/ 467438 h 467438"/>
              <a:gd name="connsiteX237" fmla="*/ 794635 w 1073960"/>
              <a:gd name="connsiteY237" fmla="*/ 467438 h 467438"/>
              <a:gd name="connsiteX238" fmla="*/ 794633 w 1073960"/>
              <a:gd name="connsiteY238" fmla="*/ 467438 h 467438"/>
              <a:gd name="connsiteX239" fmla="*/ 790628 w 1073960"/>
              <a:gd name="connsiteY239" fmla="*/ 467438 h 467438"/>
              <a:gd name="connsiteX240" fmla="*/ 790625 w 1073960"/>
              <a:gd name="connsiteY240" fmla="*/ 467438 h 467438"/>
              <a:gd name="connsiteX241" fmla="*/ 782652 w 1073960"/>
              <a:gd name="connsiteY241" fmla="*/ 467438 h 467438"/>
              <a:gd name="connsiteX242" fmla="*/ 782651 w 1073960"/>
              <a:gd name="connsiteY242" fmla="*/ 467438 h 467438"/>
              <a:gd name="connsiteX243" fmla="*/ 779610 w 1073960"/>
              <a:gd name="connsiteY243" fmla="*/ 467438 h 467438"/>
              <a:gd name="connsiteX244" fmla="*/ 779609 w 1073960"/>
              <a:gd name="connsiteY244" fmla="*/ 467438 h 467438"/>
              <a:gd name="connsiteX245" fmla="*/ 776605 w 1073960"/>
              <a:gd name="connsiteY245" fmla="*/ 467438 h 467438"/>
              <a:gd name="connsiteX246" fmla="*/ 776604 w 1073960"/>
              <a:gd name="connsiteY246" fmla="*/ 467438 h 467438"/>
              <a:gd name="connsiteX247" fmla="*/ 773574 w 1073960"/>
              <a:gd name="connsiteY247" fmla="*/ 467438 h 467438"/>
              <a:gd name="connsiteX248" fmla="*/ 773572 w 1073960"/>
              <a:gd name="connsiteY248" fmla="*/ 467438 h 467438"/>
              <a:gd name="connsiteX249" fmla="*/ 773563 w 1073960"/>
              <a:gd name="connsiteY249" fmla="*/ 467438 h 467438"/>
              <a:gd name="connsiteX250" fmla="*/ 773562 w 1073960"/>
              <a:gd name="connsiteY250" fmla="*/ 467438 h 467438"/>
              <a:gd name="connsiteX251" fmla="*/ 763464 w 1073960"/>
              <a:gd name="connsiteY251" fmla="*/ 467438 h 467438"/>
              <a:gd name="connsiteX252" fmla="*/ 763462 w 1073960"/>
              <a:gd name="connsiteY252" fmla="*/ 467438 h 467438"/>
              <a:gd name="connsiteX253" fmla="*/ 746399 w 1073960"/>
              <a:gd name="connsiteY253" fmla="*/ 467438 h 467438"/>
              <a:gd name="connsiteX254" fmla="*/ 742392 w 1073960"/>
              <a:gd name="connsiteY254" fmla="*/ 467438 h 467438"/>
              <a:gd name="connsiteX255" fmla="*/ 739086 w 1073960"/>
              <a:gd name="connsiteY255" fmla="*/ 467438 h 467438"/>
              <a:gd name="connsiteX256" fmla="*/ 739083 w 1073960"/>
              <a:gd name="connsiteY256" fmla="*/ 467438 h 467438"/>
              <a:gd name="connsiteX257" fmla="*/ 739074 w 1073960"/>
              <a:gd name="connsiteY257" fmla="*/ 467438 h 467438"/>
              <a:gd name="connsiteX258" fmla="*/ 736045 w 1073960"/>
              <a:gd name="connsiteY258" fmla="*/ 467438 h 467438"/>
              <a:gd name="connsiteX259" fmla="*/ 736042 w 1073960"/>
              <a:gd name="connsiteY259" fmla="*/ 467438 h 467438"/>
              <a:gd name="connsiteX260" fmla="*/ 733038 w 1073960"/>
              <a:gd name="connsiteY260" fmla="*/ 467438 h 467438"/>
              <a:gd name="connsiteX261" fmla="*/ 733036 w 1073960"/>
              <a:gd name="connsiteY261" fmla="*/ 467438 h 467438"/>
              <a:gd name="connsiteX262" fmla="*/ 729997 w 1073960"/>
              <a:gd name="connsiteY262" fmla="*/ 467438 h 467438"/>
              <a:gd name="connsiteX263" fmla="*/ 729995 w 1073960"/>
              <a:gd name="connsiteY263" fmla="*/ 467438 h 467438"/>
              <a:gd name="connsiteX264" fmla="*/ 722021 w 1073960"/>
              <a:gd name="connsiteY264" fmla="*/ 467438 h 467438"/>
              <a:gd name="connsiteX265" fmla="*/ 722020 w 1073960"/>
              <a:gd name="connsiteY265" fmla="*/ 467438 h 467438"/>
              <a:gd name="connsiteX266" fmla="*/ 718014 w 1073960"/>
              <a:gd name="connsiteY266" fmla="*/ 467438 h 467438"/>
              <a:gd name="connsiteX267" fmla="*/ 718013 w 1073960"/>
              <a:gd name="connsiteY267" fmla="*/ 467438 h 467438"/>
              <a:gd name="connsiteX268" fmla="*/ 715974 w 1073960"/>
              <a:gd name="connsiteY268" fmla="*/ 467438 h 467438"/>
              <a:gd name="connsiteX269" fmla="*/ 715973 w 1073960"/>
              <a:gd name="connsiteY269" fmla="*/ 467438 h 467438"/>
              <a:gd name="connsiteX270" fmla="*/ 711967 w 1073960"/>
              <a:gd name="connsiteY270" fmla="*/ 467438 h 467438"/>
              <a:gd name="connsiteX271" fmla="*/ 711966 w 1073960"/>
              <a:gd name="connsiteY271" fmla="*/ 467438 h 467438"/>
              <a:gd name="connsiteX272" fmla="*/ 702834 w 1073960"/>
              <a:gd name="connsiteY272" fmla="*/ 467438 h 467438"/>
              <a:gd name="connsiteX273" fmla="*/ 702832 w 1073960"/>
              <a:gd name="connsiteY273" fmla="*/ 467438 h 467438"/>
              <a:gd name="connsiteX274" fmla="*/ 698826 w 1073960"/>
              <a:gd name="connsiteY274" fmla="*/ 467438 h 467438"/>
              <a:gd name="connsiteX275" fmla="*/ 698824 w 1073960"/>
              <a:gd name="connsiteY275" fmla="*/ 467438 h 467438"/>
              <a:gd name="connsiteX276" fmla="*/ 695509 w 1073960"/>
              <a:gd name="connsiteY276" fmla="*/ 467438 h 467438"/>
              <a:gd name="connsiteX277" fmla="*/ 695506 w 1073960"/>
              <a:gd name="connsiteY277" fmla="*/ 467438 h 467438"/>
              <a:gd name="connsiteX278" fmla="*/ 684803 w 1073960"/>
              <a:gd name="connsiteY278" fmla="*/ 467438 h 467438"/>
              <a:gd name="connsiteX279" fmla="*/ 681761 w 1073960"/>
              <a:gd name="connsiteY279" fmla="*/ 467438 h 467438"/>
              <a:gd name="connsiteX280" fmla="*/ 678455 w 1073960"/>
              <a:gd name="connsiteY280" fmla="*/ 467438 h 467438"/>
              <a:gd name="connsiteX281" fmla="*/ 678453 w 1073960"/>
              <a:gd name="connsiteY281" fmla="*/ 467438 h 467438"/>
              <a:gd name="connsiteX282" fmla="*/ 678444 w 1073960"/>
              <a:gd name="connsiteY282" fmla="*/ 467438 h 467438"/>
              <a:gd name="connsiteX283" fmla="*/ 678443 w 1073960"/>
              <a:gd name="connsiteY283" fmla="*/ 467438 h 467438"/>
              <a:gd name="connsiteX284" fmla="*/ 674448 w 1073960"/>
              <a:gd name="connsiteY284" fmla="*/ 467438 h 467438"/>
              <a:gd name="connsiteX285" fmla="*/ 674445 w 1073960"/>
              <a:gd name="connsiteY285" fmla="*/ 467438 h 467438"/>
              <a:gd name="connsiteX286" fmla="*/ 674436 w 1073960"/>
              <a:gd name="connsiteY286" fmla="*/ 467438 h 467438"/>
              <a:gd name="connsiteX287" fmla="*/ 672407 w 1073960"/>
              <a:gd name="connsiteY287" fmla="*/ 467438 h 467438"/>
              <a:gd name="connsiteX288" fmla="*/ 672406 w 1073960"/>
              <a:gd name="connsiteY288" fmla="*/ 467438 h 467438"/>
              <a:gd name="connsiteX289" fmla="*/ 668400 w 1073960"/>
              <a:gd name="connsiteY289" fmla="*/ 467438 h 467438"/>
              <a:gd name="connsiteX290" fmla="*/ 668398 w 1073960"/>
              <a:gd name="connsiteY290" fmla="*/ 467438 h 467438"/>
              <a:gd name="connsiteX291" fmla="*/ 657383 w 1073960"/>
              <a:gd name="connsiteY291" fmla="*/ 467438 h 467438"/>
              <a:gd name="connsiteX292" fmla="*/ 657382 w 1073960"/>
              <a:gd name="connsiteY292" fmla="*/ 467438 h 467438"/>
              <a:gd name="connsiteX293" fmla="*/ 651336 w 1073960"/>
              <a:gd name="connsiteY293" fmla="*/ 467438 h 467438"/>
              <a:gd name="connsiteX294" fmla="*/ 651335 w 1073960"/>
              <a:gd name="connsiteY294" fmla="*/ 467438 h 467438"/>
              <a:gd name="connsiteX295" fmla="*/ 647273 w 1073960"/>
              <a:gd name="connsiteY295" fmla="*/ 467438 h 467438"/>
              <a:gd name="connsiteX296" fmla="*/ 641237 w 1073960"/>
              <a:gd name="connsiteY296" fmla="*/ 467438 h 467438"/>
              <a:gd name="connsiteX297" fmla="*/ 641235 w 1073960"/>
              <a:gd name="connsiteY297" fmla="*/ 467438 h 467438"/>
              <a:gd name="connsiteX298" fmla="*/ 641225 w 1073960"/>
              <a:gd name="connsiteY298" fmla="*/ 467438 h 467438"/>
              <a:gd name="connsiteX299" fmla="*/ 638196 w 1073960"/>
              <a:gd name="connsiteY299" fmla="*/ 467438 h 467438"/>
              <a:gd name="connsiteX300" fmla="*/ 638194 w 1073960"/>
              <a:gd name="connsiteY300" fmla="*/ 467438 h 467438"/>
              <a:gd name="connsiteX301" fmla="*/ 634878 w 1073960"/>
              <a:gd name="connsiteY301" fmla="*/ 467438 h 467438"/>
              <a:gd name="connsiteX302" fmla="*/ 634876 w 1073960"/>
              <a:gd name="connsiteY302" fmla="*/ 467438 h 467438"/>
              <a:gd name="connsiteX303" fmla="*/ 630871 w 1073960"/>
              <a:gd name="connsiteY303" fmla="*/ 467438 h 467438"/>
              <a:gd name="connsiteX304" fmla="*/ 630868 w 1073960"/>
              <a:gd name="connsiteY304" fmla="*/ 467438 h 467438"/>
              <a:gd name="connsiteX305" fmla="*/ 624172 w 1073960"/>
              <a:gd name="connsiteY305" fmla="*/ 467438 h 467438"/>
              <a:gd name="connsiteX306" fmla="*/ 624171 w 1073960"/>
              <a:gd name="connsiteY306" fmla="*/ 467438 h 467438"/>
              <a:gd name="connsiteX307" fmla="*/ 620165 w 1073960"/>
              <a:gd name="connsiteY307" fmla="*/ 467438 h 467438"/>
              <a:gd name="connsiteX308" fmla="*/ 616848 w 1073960"/>
              <a:gd name="connsiteY308" fmla="*/ 467438 h 467438"/>
              <a:gd name="connsiteX309" fmla="*/ 616847 w 1073960"/>
              <a:gd name="connsiteY309" fmla="*/ 467438 h 467438"/>
              <a:gd name="connsiteX310" fmla="*/ 613817 w 1073960"/>
              <a:gd name="connsiteY310" fmla="*/ 467438 h 467438"/>
              <a:gd name="connsiteX311" fmla="*/ 613815 w 1073960"/>
              <a:gd name="connsiteY311" fmla="*/ 467438 h 467438"/>
              <a:gd name="connsiteX312" fmla="*/ 613806 w 1073960"/>
              <a:gd name="connsiteY312" fmla="*/ 467438 h 467438"/>
              <a:gd name="connsiteX313" fmla="*/ 613805 w 1073960"/>
              <a:gd name="connsiteY313" fmla="*/ 467438 h 467438"/>
              <a:gd name="connsiteX314" fmla="*/ 607769 w 1073960"/>
              <a:gd name="connsiteY314" fmla="*/ 467438 h 467438"/>
              <a:gd name="connsiteX315" fmla="*/ 607768 w 1073960"/>
              <a:gd name="connsiteY315" fmla="*/ 467438 h 467438"/>
              <a:gd name="connsiteX316" fmla="*/ 603707 w 1073960"/>
              <a:gd name="connsiteY316" fmla="*/ 467438 h 467438"/>
              <a:gd name="connsiteX317" fmla="*/ 603705 w 1073960"/>
              <a:gd name="connsiteY317" fmla="*/ 467438 h 467438"/>
              <a:gd name="connsiteX318" fmla="*/ 597660 w 1073960"/>
              <a:gd name="connsiteY318" fmla="*/ 467438 h 467438"/>
              <a:gd name="connsiteX319" fmla="*/ 597657 w 1073960"/>
              <a:gd name="connsiteY319" fmla="*/ 467438 h 467438"/>
              <a:gd name="connsiteX320" fmla="*/ 586642 w 1073960"/>
              <a:gd name="connsiteY320" fmla="*/ 467438 h 467438"/>
              <a:gd name="connsiteX321" fmla="*/ 582635 w 1073960"/>
              <a:gd name="connsiteY321" fmla="*/ 467438 h 467438"/>
              <a:gd name="connsiteX322" fmla="*/ 580606 w 1073960"/>
              <a:gd name="connsiteY322" fmla="*/ 467438 h 467438"/>
              <a:gd name="connsiteX323" fmla="*/ 580604 w 1073960"/>
              <a:gd name="connsiteY323" fmla="*/ 467438 h 467438"/>
              <a:gd name="connsiteX324" fmla="*/ 580595 w 1073960"/>
              <a:gd name="connsiteY324" fmla="*/ 467438 h 467438"/>
              <a:gd name="connsiteX325" fmla="*/ 580594 w 1073960"/>
              <a:gd name="connsiteY325" fmla="*/ 467438 h 467438"/>
              <a:gd name="connsiteX326" fmla="*/ 576599 w 1073960"/>
              <a:gd name="connsiteY326" fmla="*/ 467438 h 467438"/>
              <a:gd name="connsiteX327" fmla="*/ 576597 w 1073960"/>
              <a:gd name="connsiteY327" fmla="*/ 467438 h 467438"/>
              <a:gd name="connsiteX328" fmla="*/ 576587 w 1073960"/>
              <a:gd name="connsiteY328" fmla="*/ 467438 h 467438"/>
              <a:gd name="connsiteX329" fmla="*/ 573281 w 1073960"/>
              <a:gd name="connsiteY329" fmla="*/ 467438 h 467438"/>
              <a:gd name="connsiteX330" fmla="*/ 573279 w 1073960"/>
              <a:gd name="connsiteY330" fmla="*/ 467438 h 467438"/>
              <a:gd name="connsiteX331" fmla="*/ 570240 w 1073960"/>
              <a:gd name="connsiteY331" fmla="*/ 467438 h 467438"/>
              <a:gd name="connsiteX332" fmla="*/ 570238 w 1073960"/>
              <a:gd name="connsiteY332" fmla="*/ 467438 h 467438"/>
              <a:gd name="connsiteX333" fmla="*/ 559534 w 1073960"/>
              <a:gd name="connsiteY333" fmla="*/ 467438 h 467438"/>
              <a:gd name="connsiteX334" fmla="*/ 559533 w 1073960"/>
              <a:gd name="connsiteY334" fmla="*/ 467438 h 467438"/>
              <a:gd name="connsiteX335" fmla="*/ 556217 w 1073960"/>
              <a:gd name="connsiteY335" fmla="*/ 467438 h 467438"/>
              <a:gd name="connsiteX336" fmla="*/ 556216 w 1073960"/>
              <a:gd name="connsiteY336" fmla="*/ 467438 h 467438"/>
              <a:gd name="connsiteX337" fmla="*/ 552210 w 1073960"/>
              <a:gd name="connsiteY337" fmla="*/ 467438 h 467438"/>
              <a:gd name="connsiteX338" fmla="*/ 552209 w 1073960"/>
              <a:gd name="connsiteY338" fmla="*/ 467438 h 467438"/>
              <a:gd name="connsiteX339" fmla="*/ 543077 w 1073960"/>
              <a:gd name="connsiteY339" fmla="*/ 467438 h 467438"/>
              <a:gd name="connsiteX340" fmla="*/ 543075 w 1073960"/>
              <a:gd name="connsiteY340" fmla="*/ 467438 h 467438"/>
              <a:gd name="connsiteX341" fmla="*/ 539069 w 1073960"/>
              <a:gd name="connsiteY341" fmla="*/ 467438 h 467438"/>
              <a:gd name="connsiteX342" fmla="*/ 539067 w 1073960"/>
              <a:gd name="connsiteY342" fmla="*/ 467438 h 467438"/>
              <a:gd name="connsiteX343" fmla="*/ 537030 w 1073960"/>
              <a:gd name="connsiteY343" fmla="*/ 467438 h 467438"/>
              <a:gd name="connsiteX344" fmla="*/ 537027 w 1073960"/>
              <a:gd name="connsiteY344" fmla="*/ 467438 h 467438"/>
              <a:gd name="connsiteX345" fmla="*/ 533022 w 1073960"/>
              <a:gd name="connsiteY345" fmla="*/ 467438 h 467438"/>
              <a:gd name="connsiteX346" fmla="*/ 533019 w 1073960"/>
              <a:gd name="connsiteY346" fmla="*/ 467438 h 467438"/>
              <a:gd name="connsiteX347" fmla="*/ 525046 w 1073960"/>
              <a:gd name="connsiteY347" fmla="*/ 467438 h 467438"/>
              <a:gd name="connsiteX348" fmla="*/ 522004 w 1073960"/>
              <a:gd name="connsiteY348" fmla="*/ 467438 h 467438"/>
              <a:gd name="connsiteX349" fmla="*/ 518999 w 1073960"/>
              <a:gd name="connsiteY349" fmla="*/ 467438 h 467438"/>
              <a:gd name="connsiteX350" fmla="*/ 518998 w 1073960"/>
              <a:gd name="connsiteY350" fmla="*/ 467438 h 467438"/>
              <a:gd name="connsiteX351" fmla="*/ 515968 w 1073960"/>
              <a:gd name="connsiteY351" fmla="*/ 467438 h 467438"/>
              <a:gd name="connsiteX352" fmla="*/ 515966 w 1073960"/>
              <a:gd name="connsiteY352" fmla="*/ 467438 h 467438"/>
              <a:gd name="connsiteX353" fmla="*/ 515957 w 1073960"/>
              <a:gd name="connsiteY353" fmla="*/ 467438 h 467438"/>
              <a:gd name="connsiteX354" fmla="*/ 515956 w 1073960"/>
              <a:gd name="connsiteY354" fmla="*/ 467438 h 467438"/>
              <a:gd name="connsiteX355" fmla="*/ 512650 w 1073960"/>
              <a:gd name="connsiteY355" fmla="*/ 467438 h 467438"/>
              <a:gd name="connsiteX356" fmla="*/ 512649 w 1073960"/>
              <a:gd name="connsiteY356" fmla="*/ 467438 h 467438"/>
              <a:gd name="connsiteX357" fmla="*/ 508643 w 1073960"/>
              <a:gd name="connsiteY357" fmla="*/ 467438 h 467438"/>
              <a:gd name="connsiteX358" fmla="*/ 508641 w 1073960"/>
              <a:gd name="connsiteY358" fmla="*/ 467438 h 467438"/>
              <a:gd name="connsiteX359" fmla="*/ 491579 w 1073960"/>
              <a:gd name="connsiteY359" fmla="*/ 467438 h 467438"/>
              <a:gd name="connsiteX360" fmla="*/ 491578 w 1073960"/>
              <a:gd name="connsiteY360" fmla="*/ 467438 h 467438"/>
              <a:gd name="connsiteX361" fmla="*/ 481480 w 1073960"/>
              <a:gd name="connsiteY361" fmla="*/ 467438 h 467438"/>
              <a:gd name="connsiteX362" fmla="*/ 481478 w 1073960"/>
              <a:gd name="connsiteY362" fmla="*/ 467438 h 467438"/>
              <a:gd name="connsiteX363" fmla="*/ 481468 w 1073960"/>
              <a:gd name="connsiteY363" fmla="*/ 467438 h 467438"/>
              <a:gd name="connsiteX364" fmla="*/ 478439 w 1073960"/>
              <a:gd name="connsiteY364" fmla="*/ 467438 h 467438"/>
              <a:gd name="connsiteX365" fmla="*/ 478437 w 1073960"/>
              <a:gd name="connsiteY365" fmla="*/ 467438 h 467438"/>
              <a:gd name="connsiteX366" fmla="*/ 475433 w 1073960"/>
              <a:gd name="connsiteY366" fmla="*/ 467438 h 467438"/>
              <a:gd name="connsiteX367" fmla="*/ 475430 w 1073960"/>
              <a:gd name="connsiteY367" fmla="*/ 467438 h 467438"/>
              <a:gd name="connsiteX368" fmla="*/ 472392 w 1073960"/>
              <a:gd name="connsiteY368" fmla="*/ 467438 h 467438"/>
              <a:gd name="connsiteX369" fmla="*/ 472389 w 1073960"/>
              <a:gd name="connsiteY369" fmla="*/ 467438 h 467438"/>
              <a:gd name="connsiteX370" fmla="*/ 464415 w 1073960"/>
              <a:gd name="connsiteY370" fmla="*/ 467438 h 467438"/>
              <a:gd name="connsiteX371" fmla="*/ 464414 w 1073960"/>
              <a:gd name="connsiteY371" fmla="*/ 467438 h 467438"/>
              <a:gd name="connsiteX372" fmla="*/ 460408 w 1073960"/>
              <a:gd name="connsiteY372" fmla="*/ 467438 h 467438"/>
              <a:gd name="connsiteX373" fmla="*/ 458368 w 1073960"/>
              <a:gd name="connsiteY373" fmla="*/ 467438 h 467438"/>
              <a:gd name="connsiteX374" fmla="*/ 458367 w 1073960"/>
              <a:gd name="connsiteY374" fmla="*/ 467438 h 467438"/>
              <a:gd name="connsiteX375" fmla="*/ 454361 w 1073960"/>
              <a:gd name="connsiteY375" fmla="*/ 467438 h 467438"/>
              <a:gd name="connsiteX376" fmla="*/ 454360 w 1073960"/>
              <a:gd name="connsiteY376" fmla="*/ 467438 h 467438"/>
              <a:gd name="connsiteX377" fmla="*/ 448012 w 1073960"/>
              <a:gd name="connsiteY377" fmla="*/ 467438 h 467438"/>
              <a:gd name="connsiteX378" fmla="*/ 448011 w 1073960"/>
              <a:gd name="connsiteY378" fmla="*/ 467438 h 467438"/>
              <a:gd name="connsiteX379" fmla="*/ 437903 w 1073960"/>
              <a:gd name="connsiteY379" fmla="*/ 467438 h 467438"/>
              <a:gd name="connsiteX380" fmla="*/ 437900 w 1073960"/>
              <a:gd name="connsiteY380" fmla="*/ 467438 h 467438"/>
              <a:gd name="connsiteX381" fmla="*/ 420849 w 1073960"/>
              <a:gd name="connsiteY381" fmla="*/ 467438 h 467438"/>
              <a:gd name="connsiteX382" fmla="*/ 420847 w 1073960"/>
              <a:gd name="connsiteY382" fmla="*/ 467438 h 467438"/>
              <a:gd name="connsiteX383" fmla="*/ 420838 w 1073960"/>
              <a:gd name="connsiteY383" fmla="*/ 467438 h 467438"/>
              <a:gd name="connsiteX384" fmla="*/ 420837 w 1073960"/>
              <a:gd name="connsiteY384" fmla="*/ 467438 h 467438"/>
              <a:gd name="connsiteX385" fmla="*/ 416842 w 1073960"/>
              <a:gd name="connsiteY385" fmla="*/ 467438 h 467438"/>
              <a:gd name="connsiteX386" fmla="*/ 416840 w 1073960"/>
              <a:gd name="connsiteY386" fmla="*/ 467438 h 467438"/>
              <a:gd name="connsiteX387" fmla="*/ 416830 w 1073960"/>
              <a:gd name="connsiteY387" fmla="*/ 467438 h 467438"/>
              <a:gd name="connsiteX388" fmla="*/ 414802 w 1073960"/>
              <a:gd name="connsiteY388" fmla="*/ 467438 h 467438"/>
              <a:gd name="connsiteX389" fmla="*/ 414800 w 1073960"/>
              <a:gd name="connsiteY389" fmla="*/ 467438 h 467438"/>
              <a:gd name="connsiteX390" fmla="*/ 233720 w 1073960"/>
              <a:gd name="connsiteY390" fmla="*/ 467437 h 467438"/>
              <a:gd name="connsiteX391" fmla="*/ 4748 w 1073960"/>
              <a:gd name="connsiteY391" fmla="*/ 280821 h 467438"/>
              <a:gd name="connsiteX392" fmla="*/ 0 w 1073960"/>
              <a:gd name="connsiteY392" fmla="*/ 233720 h 467438"/>
              <a:gd name="connsiteX393" fmla="*/ 4748 w 1073960"/>
              <a:gd name="connsiteY393" fmla="*/ 186617 h 467438"/>
              <a:gd name="connsiteX394" fmla="*/ 233720 w 1073960"/>
              <a:gd name="connsiteY394" fmla="*/ 0 h 46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</a:cxnLst>
            <a:rect l="l" t="t" r="r" b="b"/>
            <a:pathLst>
              <a:path w="1073960" h="467438">
                <a:moveTo>
                  <a:pt x="233720" y="0"/>
                </a:moveTo>
                <a:lnTo>
                  <a:pt x="233973" y="0"/>
                </a:lnTo>
                <a:lnTo>
                  <a:pt x="235750" y="0"/>
                </a:lnTo>
                <a:lnTo>
                  <a:pt x="235759" y="0"/>
                </a:lnTo>
                <a:lnTo>
                  <a:pt x="239757" y="0"/>
                </a:lnTo>
                <a:lnTo>
                  <a:pt x="239767" y="0"/>
                </a:lnTo>
                <a:lnTo>
                  <a:pt x="251036" y="0"/>
                </a:lnTo>
                <a:lnTo>
                  <a:pt x="255044" y="0"/>
                </a:lnTo>
                <a:lnTo>
                  <a:pt x="256820" y="0"/>
                </a:lnTo>
                <a:lnTo>
                  <a:pt x="266930" y="0"/>
                </a:lnTo>
                <a:lnTo>
                  <a:pt x="273280" y="0"/>
                </a:lnTo>
                <a:lnTo>
                  <a:pt x="277287" y="0"/>
                </a:lnTo>
                <a:lnTo>
                  <a:pt x="279327" y="0"/>
                </a:lnTo>
                <a:lnTo>
                  <a:pt x="283334" y="0"/>
                </a:lnTo>
                <a:lnTo>
                  <a:pt x="291309" y="0"/>
                </a:lnTo>
                <a:lnTo>
                  <a:pt x="294350" y="0"/>
                </a:lnTo>
                <a:lnTo>
                  <a:pt x="294604" y="0"/>
                </a:lnTo>
                <a:lnTo>
                  <a:pt x="297356" y="0"/>
                </a:lnTo>
                <a:lnTo>
                  <a:pt x="298611" y="0"/>
                </a:lnTo>
                <a:lnTo>
                  <a:pt x="300388" y="0"/>
                </a:lnTo>
                <a:lnTo>
                  <a:pt x="300397" y="0"/>
                </a:lnTo>
                <a:lnTo>
                  <a:pt x="310497" y="0"/>
                </a:lnTo>
                <a:lnTo>
                  <a:pt x="312633" y="0"/>
                </a:lnTo>
                <a:lnTo>
                  <a:pt x="315674" y="0"/>
                </a:lnTo>
                <a:lnTo>
                  <a:pt x="327561" y="0"/>
                </a:lnTo>
                <a:lnTo>
                  <a:pt x="331568" y="0"/>
                </a:lnTo>
                <a:lnTo>
                  <a:pt x="334876" y="0"/>
                </a:lnTo>
                <a:lnTo>
                  <a:pt x="334886" y="0"/>
                </a:lnTo>
                <a:lnTo>
                  <a:pt x="337918" y="0"/>
                </a:lnTo>
                <a:lnTo>
                  <a:pt x="340923" y="0"/>
                </a:lnTo>
                <a:lnTo>
                  <a:pt x="343965" y="0"/>
                </a:lnTo>
                <a:lnTo>
                  <a:pt x="350163" y="0"/>
                </a:lnTo>
                <a:lnTo>
                  <a:pt x="351939" y="0"/>
                </a:lnTo>
                <a:lnTo>
                  <a:pt x="355947" y="0"/>
                </a:lnTo>
                <a:lnTo>
                  <a:pt x="356200" y="0"/>
                </a:lnTo>
                <a:lnTo>
                  <a:pt x="356210" y="0"/>
                </a:lnTo>
                <a:lnTo>
                  <a:pt x="357987" y="0"/>
                </a:lnTo>
                <a:lnTo>
                  <a:pt x="359242" y="0"/>
                </a:lnTo>
                <a:lnTo>
                  <a:pt x="361994" y="0"/>
                </a:lnTo>
                <a:lnTo>
                  <a:pt x="371129" y="0"/>
                </a:lnTo>
                <a:lnTo>
                  <a:pt x="373263" y="0"/>
                </a:lnTo>
                <a:lnTo>
                  <a:pt x="375135" y="0"/>
                </a:lnTo>
                <a:lnTo>
                  <a:pt x="377271" y="0"/>
                </a:lnTo>
                <a:lnTo>
                  <a:pt x="378453" y="0"/>
                </a:lnTo>
                <a:lnTo>
                  <a:pt x="389158" y="0"/>
                </a:lnTo>
                <a:lnTo>
                  <a:pt x="392199" y="0"/>
                </a:lnTo>
                <a:lnTo>
                  <a:pt x="393730" y="0"/>
                </a:lnTo>
                <a:lnTo>
                  <a:pt x="395507" y="0"/>
                </a:lnTo>
                <a:lnTo>
                  <a:pt x="395516" y="0"/>
                </a:lnTo>
                <a:lnTo>
                  <a:pt x="399514" y="0"/>
                </a:lnTo>
                <a:lnTo>
                  <a:pt x="399524" y="0"/>
                </a:lnTo>
                <a:lnTo>
                  <a:pt x="399777" y="0"/>
                </a:lnTo>
                <a:lnTo>
                  <a:pt x="401555" y="0"/>
                </a:lnTo>
                <a:lnTo>
                  <a:pt x="405561" y="0"/>
                </a:lnTo>
                <a:lnTo>
                  <a:pt x="410793" y="0"/>
                </a:lnTo>
                <a:lnTo>
                  <a:pt x="414801" y="0"/>
                </a:lnTo>
                <a:lnTo>
                  <a:pt x="416577" y="0"/>
                </a:lnTo>
                <a:lnTo>
                  <a:pt x="416831" y="0"/>
                </a:lnTo>
                <a:lnTo>
                  <a:pt x="416840" y="0"/>
                </a:lnTo>
                <a:lnTo>
                  <a:pt x="420838" y="0"/>
                </a:lnTo>
                <a:lnTo>
                  <a:pt x="420848" y="0"/>
                </a:lnTo>
                <a:lnTo>
                  <a:pt x="422625" y="0"/>
                </a:lnTo>
                <a:lnTo>
                  <a:pt x="426687" y="0"/>
                </a:lnTo>
                <a:lnTo>
                  <a:pt x="432725" y="0"/>
                </a:lnTo>
                <a:lnTo>
                  <a:pt x="432735" y="0"/>
                </a:lnTo>
                <a:lnTo>
                  <a:pt x="435767" y="0"/>
                </a:lnTo>
                <a:lnTo>
                  <a:pt x="437901" y="0"/>
                </a:lnTo>
                <a:lnTo>
                  <a:pt x="439084" y="0"/>
                </a:lnTo>
                <a:lnTo>
                  <a:pt x="443091" y="0"/>
                </a:lnTo>
                <a:lnTo>
                  <a:pt x="448011" y="0"/>
                </a:lnTo>
                <a:lnTo>
                  <a:pt x="449788" y="0"/>
                </a:lnTo>
                <a:lnTo>
                  <a:pt x="453796" y="0"/>
                </a:lnTo>
                <a:lnTo>
                  <a:pt x="454361" y="0"/>
                </a:lnTo>
                <a:lnTo>
                  <a:pt x="457113" y="0"/>
                </a:lnTo>
                <a:lnTo>
                  <a:pt x="458368" y="0"/>
                </a:lnTo>
                <a:lnTo>
                  <a:pt x="460145" y="0"/>
                </a:lnTo>
                <a:lnTo>
                  <a:pt x="460154" y="0"/>
                </a:lnTo>
                <a:lnTo>
                  <a:pt x="460408" y="0"/>
                </a:lnTo>
                <a:lnTo>
                  <a:pt x="464415" y="0"/>
                </a:lnTo>
                <a:lnTo>
                  <a:pt x="466193" y="0"/>
                </a:lnTo>
                <a:lnTo>
                  <a:pt x="470254" y="0"/>
                </a:lnTo>
                <a:lnTo>
                  <a:pt x="472390" y="0"/>
                </a:lnTo>
                <a:lnTo>
                  <a:pt x="475431" y="0"/>
                </a:lnTo>
                <a:lnTo>
                  <a:pt x="476302" y="0"/>
                </a:lnTo>
                <a:lnTo>
                  <a:pt x="478437" y="0"/>
                </a:lnTo>
                <a:lnTo>
                  <a:pt x="481469" y="0"/>
                </a:lnTo>
                <a:lnTo>
                  <a:pt x="481478" y="0"/>
                </a:lnTo>
                <a:lnTo>
                  <a:pt x="487318" y="0"/>
                </a:lnTo>
                <a:lnTo>
                  <a:pt x="491325" y="0"/>
                </a:lnTo>
                <a:lnTo>
                  <a:pt x="491579" y="0"/>
                </a:lnTo>
                <a:lnTo>
                  <a:pt x="493356" y="0"/>
                </a:lnTo>
                <a:lnTo>
                  <a:pt x="493365" y="0"/>
                </a:lnTo>
                <a:lnTo>
                  <a:pt x="497363" y="0"/>
                </a:lnTo>
                <a:lnTo>
                  <a:pt x="497373" y="0"/>
                </a:lnTo>
                <a:lnTo>
                  <a:pt x="500680" y="0"/>
                </a:lnTo>
                <a:lnTo>
                  <a:pt x="503722" y="0"/>
                </a:lnTo>
                <a:lnTo>
                  <a:pt x="508642" y="0"/>
                </a:lnTo>
                <a:lnTo>
                  <a:pt x="512649" y="0"/>
                </a:lnTo>
                <a:lnTo>
                  <a:pt x="514426" y="0"/>
                </a:lnTo>
                <a:lnTo>
                  <a:pt x="515957" y="0"/>
                </a:lnTo>
                <a:lnTo>
                  <a:pt x="515967" y="0"/>
                </a:lnTo>
                <a:lnTo>
                  <a:pt x="517744" y="0"/>
                </a:lnTo>
                <a:lnTo>
                  <a:pt x="518999" y="0"/>
                </a:lnTo>
                <a:lnTo>
                  <a:pt x="521751" y="0"/>
                </a:lnTo>
                <a:lnTo>
                  <a:pt x="522004" y="0"/>
                </a:lnTo>
                <a:lnTo>
                  <a:pt x="525046" y="0"/>
                </a:lnTo>
                <a:lnTo>
                  <a:pt x="530886" y="0"/>
                </a:lnTo>
                <a:lnTo>
                  <a:pt x="533020" y="0"/>
                </a:lnTo>
                <a:lnTo>
                  <a:pt x="534892" y="0"/>
                </a:lnTo>
                <a:lnTo>
                  <a:pt x="536933" y="0"/>
                </a:lnTo>
                <a:lnTo>
                  <a:pt x="537028" y="0"/>
                </a:lnTo>
                <a:lnTo>
                  <a:pt x="539068" y="0"/>
                </a:lnTo>
                <a:lnTo>
                  <a:pt x="540940" y="0"/>
                </a:lnTo>
                <a:lnTo>
                  <a:pt x="543075" y="0"/>
                </a:lnTo>
                <a:lnTo>
                  <a:pt x="548915" y="0"/>
                </a:lnTo>
                <a:lnTo>
                  <a:pt x="551956" y="0"/>
                </a:lnTo>
                <a:lnTo>
                  <a:pt x="552210" y="0"/>
                </a:lnTo>
                <a:lnTo>
                  <a:pt x="554962" y="0"/>
                </a:lnTo>
                <a:lnTo>
                  <a:pt x="556217" y="0"/>
                </a:lnTo>
                <a:lnTo>
                  <a:pt x="557994" y="0"/>
                </a:lnTo>
                <a:lnTo>
                  <a:pt x="558003" y="0"/>
                </a:lnTo>
                <a:lnTo>
                  <a:pt x="559534" y="0"/>
                </a:lnTo>
                <a:lnTo>
                  <a:pt x="561312" y="0"/>
                </a:lnTo>
                <a:lnTo>
                  <a:pt x="565318" y="0"/>
                </a:lnTo>
                <a:lnTo>
                  <a:pt x="570239" y="0"/>
                </a:lnTo>
                <a:lnTo>
                  <a:pt x="573280" y="0"/>
                </a:lnTo>
                <a:lnTo>
                  <a:pt x="576588" y="0"/>
                </a:lnTo>
                <a:lnTo>
                  <a:pt x="576597" y="0"/>
                </a:lnTo>
                <a:lnTo>
                  <a:pt x="580595" y="0"/>
                </a:lnTo>
                <a:lnTo>
                  <a:pt x="580605" y="0"/>
                </a:lnTo>
                <a:lnTo>
                  <a:pt x="582382" y="0"/>
                </a:lnTo>
                <a:lnTo>
                  <a:pt x="582636" y="0"/>
                </a:lnTo>
                <a:lnTo>
                  <a:pt x="586642" y="0"/>
                </a:lnTo>
                <a:lnTo>
                  <a:pt x="592482" y="0"/>
                </a:lnTo>
                <a:lnTo>
                  <a:pt x="592492" y="0"/>
                </a:lnTo>
                <a:lnTo>
                  <a:pt x="595524" y="0"/>
                </a:lnTo>
                <a:lnTo>
                  <a:pt x="597658" y="0"/>
                </a:lnTo>
                <a:lnTo>
                  <a:pt x="598529" y="0"/>
                </a:lnTo>
                <a:lnTo>
                  <a:pt x="601571" y="0"/>
                </a:lnTo>
                <a:lnTo>
                  <a:pt x="603706" y="0"/>
                </a:lnTo>
                <a:lnTo>
                  <a:pt x="607768" y="0"/>
                </a:lnTo>
                <a:lnTo>
                  <a:pt x="609545" y="0"/>
                </a:lnTo>
                <a:lnTo>
                  <a:pt x="613553" y="0"/>
                </a:lnTo>
                <a:lnTo>
                  <a:pt x="613806" y="0"/>
                </a:lnTo>
                <a:lnTo>
                  <a:pt x="613816" y="0"/>
                </a:lnTo>
                <a:lnTo>
                  <a:pt x="615592" y="0"/>
                </a:lnTo>
                <a:lnTo>
                  <a:pt x="616848" y="0"/>
                </a:lnTo>
                <a:lnTo>
                  <a:pt x="619600" y="0"/>
                </a:lnTo>
                <a:lnTo>
                  <a:pt x="620165" y="0"/>
                </a:lnTo>
                <a:lnTo>
                  <a:pt x="624172" y="0"/>
                </a:lnTo>
                <a:lnTo>
                  <a:pt x="625950" y="0"/>
                </a:lnTo>
                <a:lnTo>
                  <a:pt x="630869" y="0"/>
                </a:lnTo>
                <a:lnTo>
                  <a:pt x="634877" y="0"/>
                </a:lnTo>
                <a:lnTo>
                  <a:pt x="636059" y="0"/>
                </a:lnTo>
                <a:lnTo>
                  <a:pt x="638194" y="0"/>
                </a:lnTo>
                <a:lnTo>
                  <a:pt x="641226" y="0"/>
                </a:lnTo>
                <a:lnTo>
                  <a:pt x="641235" y="0"/>
                </a:lnTo>
                <a:lnTo>
                  <a:pt x="647274" y="0"/>
                </a:lnTo>
                <a:lnTo>
                  <a:pt x="651336" y="0"/>
                </a:lnTo>
                <a:lnTo>
                  <a:pt x="653113" y="0"/>
                </a:lnTo>
                <a:lnTo>
                  <a:pt x="653122" y="0"/>
                </a:lnTo>
                <a:lnTo>
                  <a:pt x="657120" y="0"/>
                </a:lnTo>
                <a:lnTo>
                  <a:pt x="657130" y="0"/>
                </a:lnTo>
                <a:lnTo>
                  <a:pt x="657383" y="0"/>
                </a:lnTo>
                <a:lnTo>
                  <a:pt x="659160" y="0"/>
                </a:lnTo>
                <a:lnTo>
                  <a:pt x="663167" y="0"/>
                </a:lnTo>
                <a:lnTo>
                  <a:pt x="668399" y="0"/>
                </a:lnTo>
                <a:lnTo>
                  <a:pt x="672406" y="0"/>
                </a:lnTo>
                <a:lnTo>
                  <a:pt x="674183" y="0"/>
                </a:lnTo>
                <a:lnTo>
                  <a:pt x="674437" y="0"/>
                </a:lnTo>
                <a:lnTo>
                  <a:pt x="674446" y="0"/>
                </a:lnTo>
                <a:lnTo>
                  <a:pt x="678444" y="0"/>
                </a:lnTo>
                <a:lnTo>
                  <a:pt x="678454" y="0"/>
                </a:lnTo>
                <a:lnTo>
                  <a:pt x="680230" y="0"/>
                </a:lnTo>
                <a:lnTo>
                  <a:pt x="681761" y="0"/>
                </a:lnTo>
                <a:lnTo>
                  <a:pt x="684803" y="0"/>
                </a:lnTo>
                <a:lnTo>
                  <a:pt x="695507" y="0"/>
                </a:lnTo>
                <a:lnTo>
                  <a:pt x="696690" y="0"/>
                </a:lnTo>
                <a:lnTo>
                  <a:pt x="698825" y="0"/>
                </a:lnTo>
                <a:lnTo>
                  <a:pt x="700697" y="0"/>
                </a:lnTo>
                <a:lnTo>
                  <a:pt x="702832" y="0"/>
                </a:lnTo>
                <a:lnTo>
                  <a:pt x="711967" y="0"/>
                </a:lnTo>
                <a:lnTo>
                  <a:pt x="714719" y="0"/>
                </a:lnTo>
                <a:lnTo>
                  <a:pt x="715974" y="0"/>
                </a:lnTo>
                <a:lnTo>
                  <a:pt x="717751" y="0"/>
                </a:lnTo>
                <a:lnTo>
                  <a:pt x="717760" y="0"/>
                </a:lnTo>
                <a:lnTo>
                  <a:pt x="718014" y="0"/>
                </a:lnTo>
                <a:lnTo>
                  <a:pt x="722021" y="0"/>
                </a:lnTo>
                <a:lnTo>
                  <a:pt x="723798" y="0"/>
                </a:lnTo>
                <a:lnTo>
                  <a:pt x="729996" y="0"/>
                </a:lnTo>
                <a:lnTo>
                  <a:pt x="733037" y="0"/>
                </a:lnTo>
                <a:lnTo>
                  <a:pt x="736043" y="0"/>
                </a:lnTo>
                <a:lnTo>
                  <a:pt x="739075" y="0"/>
                </a:lnTo>
                <a:lnTo>
                  <a:pt x="739084" y="0"/>
                </a:lnTo>
                <a:lnTo>
                  <a:pt x="742393" y="0"/>
                </a:lnTo>
                <a:lnTo>
                  <a:pt x="746399" y="0"/>
                </a:lnTo>
                <a:lnTo>
                  <a:pt x="758286" y="0"/>
                </a:lnTo>
                <a:lnTo>
                  <a:pt x="761328" y="0"/>
                </a:lnTo>
                <a:lnTo>
                  <a:pt x="763463" y="0"/>
                </a:lnTo>
                <a:lnTo>
                  <a:pt x="773563" y="0"/>
                </a:lnTo>
                <a:lnTo>
                  <a:pt x="773573" y="0"/>
                </a:lnTo>
                <a:lnTo>
                  <a:pt x="775349" y="0"/>
                </a:lnTo>
                <a:lnTo>
                  <a:pt x="776605" y="0"/>
                </a:lnTo>
                <a:lnTo>
                  <a:pt x="779357" y="0"/>
                </a:lnTo>
                <a:lnTo>
                  <a:pt x="779610" y="0"/>
                </a:lnTo>
                <a:lnTo>
                  <a:pt x="782652" y="0"/>
                </a:lnTo>
                <a:lnTo>
                  <a:pt x="790626" y="0"/>
                </a:lnTo>
                <a:lnTo>
                  <a:pt x="794634" y="0"/>
                </a:lnTo>
                <a:lnTo>
                  <a:pt x="796673" y="0"/>
                </a:lnTo>
                <a:lnTo>
                  <a:pt x="800681" y="0"/>
                </a:lnTo>
                <a:lnTo>
                  <a:pt x="807031" y="0"/>
                </a:lnTo>
                <a:lnTo>
                  <a:pt x="817140" y="0"/>
                </a:lnTo>
                <a:lnTo>
                  <a:pt x="818917" y="0"/>
                </a:lnTo>
                <a:lnTo>
                  <a:pt x="822924" y="0"/>
                </a:lnTo>
                <a:lnTo>
                  <a:pt x="834194" y="0"/>
                </a:lnTo>
                <a:lnTo>
                  <a:pt x="834203" y="0"/>
                </a:lnTo>
                <a:lnTo>
                  <a:pt x="838201" y="0"/>
                </a:lnTo>
                <a:lnTo>
                  <a:pt x="838211" y="0"/>
                </a:lnTo>
                <a:lnTo>
                  <a:pt x="839987" y="0"/>
                </a:lnTo>
                <a:lnTo>
                  <a:pt x="840241" y="0"/>
                </a:lnTo>
                <a:cubicBezTo>
                  <a:pt x="969321" y="0"/>
                  <a:pt x="1073960" y="104640"/>
                  <a:pt x="1073960" y="233720"/>
                </a:cubicBezTo>
                <a:lnTo>
                  <a:pt x="1073959" y="233720"/>
                </a:lnTo>
                <a:cubicBezTo>
                  <a:pt x="1073959" y="362799"/>
                  <a:pt x="969320" y="467438"/>
                  <a:pt x="840241" y="467438"/>
                </a:cubicBezTo>
                <a:lnTo>
                  <a:pt x="838212" y="467438"/>
                </a:lnTo>
                <a:lnTo>
                  <a:pt x="838210" y="467438"/>
                </a:lnTo>
                <a:lnTo>
                  <a:pt x="838201" y="467438"/>
                </a:lnTo>
                <a:lnTo>
                  <a:pt x="838200" y="467438"/>
                </a:lnTo>
                <a:lnTo>
                  <a:pt x="834205" y="467438"/>
                </a:lnTo>
                <a:lnTo>
                  <a:pt x="834202" y="467438"/>
                </a:lnTo>
                <a:lnTo>
                  <a:pt x="834193" y="467438"/>
                </a:lnTo>
                <a:lnTo>
                  <a:pt x="817140" y="467438"/>
                </a:lnTo>
                <a:lnTo>
                  <a:pt x="817139" y="467438"/>
                </a:lnTo>
                <a:lnTo>
                  <a:pt x="807030" y="467438"/>
                </a:lnTo>
                <a:lnTo>
                  <a:pt x="800683" y="467438"/>
                </a:lnTo>
                <a:lnTo>
                  <a:pt x="800680" y="467438"/>
                </a:lnTo>
                <a:lnTo>
                  <a:pt x="796675" y="467438"/>
                </a:lnTo>
                <a:lnTo>
                  <a:pt x="796673" y="467438"/>
                </a:lnTo>
                <a:lnTo>
                  <a:pt x="794635" y="467438"/>
                </a:lnTo>
                <a:lnTo>
                  <a:pt x="794633" y="467438"/>
                </a:lnTo>
                <a:lnTo>
                  <a:pt x="790628" y="467438"/>
                </a:lnTo>
                <a:lnTo>
                  <a:pt x="790625" y="467438"/>
                </a:lnTo>
                <a:lnTo>
                  <a:pt x="782652" y="467438"/>
                </a:lnTo>
                <a:lnTo>
                  <a:pt x="782651" y="467438"/>
                </a:lnTo>
                <a:lnTo>
                  <a:pt x="779610" y="467438"/>
                </a:lnTo>
                <a:lnTo>
                  <a:pt x="779609" y="467438"/>
                </a:lnTo>
                <a:lnTo>
                  <a:pt x="776605" y="467438"/>
                </a:lnTo>
                <a:lnTo>
                  <a:pt x="776604" y="467438"/>
                </a:lnTo>
                <a:lnTo>
                  <a:pt x="773574" y="467438"/>
                </a:lnTo>
                <a:lnTo>
                  <a:pt x="773572" y="467438"/>
                </a:lnTo>
                <a:lnTo>
                  <a:pt x="773563" y="467438"/>
                </a:lnTo>
                <a:lnTo>
                  <a:pt x="773562" y="467438"/>
                </a:lnTo>
                <a:lnTo>
                  <a:pt x="763464" y="467438"/>
                </a:lnTo>
                <a:lnTo>
                  <a:pt x="763462" y="467438"/>
                </a:lnTo>
                <a:lnTo>
                  <a:pt x="746399" y="467438"/>
                </a:lnTo>
                <a:lnTo>
                  <a:pt x="742392" y="467438"/>
                </a:lnTo>
                <a:lnTo>
                  <a:pt x="739086" y="467438"/>
                </a:lnTo>
                <a:lnTo>
                  <a:pt x="739083" y="467438"/>
                </a:lnTo>
                <a:lnTo>
                  <a:pt x="739074" y="467438"/>
                </a:lnTo>
                <a:lnTo>
                  <a:pt x="736045" y="467438"/>
                </a:lnTo>
                <a:lnTo>
                  <a:pt x="736042" y="467438"/>
                </a:lnTo>
                <a:lnTo>
                  <a:pt x="733038" y="467438"/>
                </a:lnTo>
                <a:lnTo>
                  <a:pt x="733036" y="467438"/>
                </a:lnTo>
                <a:lnTo>
                  <a:pt x="729997" y="467438"/>
                </a:lnTo>
                <a:lnTo>
                  <a:pt x="729995" y="467438"/>
                </a:lnTo>
                <a:lnTo>
                  <a:pt x="722021" y="467438"/>
                </a:lnTo>
                <a:lnTo>
                  <a:pt x="722020" y="467438"/>
                </a:lnTo>
                <a:lnTo>
                  <a:pt x="718014" y="467438"/>
                </a:lnTo>
                <a:lnTo>
                  <a:pt x="718013" y="467438"/>
                </a:lnTo>
                <a:lnTo>
                  <a:pt x="715974" y="467438"/>
                </a:lnTo>
                <a:lnTo>
                  <a:pt x="715973" y="467438"/>
                </a:lnTo>
                <a:lnTo>
                  <a:pt x="711967" y="467438"/>
                </a:lnTo>
                <a:lnTo>
                  <a:pt x="711966" y="467438"/>
                </a:lnTo>
                <a:lnTo>
                  <a:pt x="702834" y="467438"/>
                </a:lnTo>
                <a:lnTo>
                  <a:pt x="702832" y="467438"/>
                </a:lnTo>
                <a:lnTo>
                  <a:pt x="698826" y="467438"/>
                </a:lnTo>
                <a:lnTo>
                  <a:pt x="698824" y="467438"/>
                </a:lnTo>
                <a:lnTo>
                  <a:pt x="695509" y="467438"/>
                </a:lnTo>
                <a:lnTo>
                  <a:pt x="695506" y="467438"/>
                </a:lnTo>
                <a:lnTo>
                  <a:pt x="684803" y="467438"/>
                </a:lnTo>
                <a:lnTo>
                  <a:pt x="681761" y="467438"/>
                </a:lnTo>
                <a:lnTo>
                  <a:pt x="678455" y="467438"/>
                </a:lnTo>
                <a:lnTo>
                  <a:pt x="678453" y="467438"/>
                </a:lnTo>
                <a:lnTo>
                  <a:pt x="678444" y="467438"/>
                </a:lnTo>
                <a:lnTo>
                  <a:pt x="678443" y="467438"/>
                </a:lnTo>
                <a:lnTo>
                  <a:pt x="674448" y="467438"/>
                </a:lnTo>
                <a:lnTo>
                  <a:pt x="674445" y="467438"/>
                </a:lnTo>
                <a:lnTo>
                  <a:pt x="674436" y="467438"/>
                </a:lnTo>
                <a:lnTo>
                  <a:pt x="672407" y="467438"/>
                </a:lnTo>
                <a:lnTo>
                  <a:pt x="672406" y="467438"/>
                </a:lnTo>
                <a:lnTo>
                  <a:pt x="668400" y="467438"/>
                </a:lnTo>
                <a:lnTo>
                  <a:pt x="668398" y="467438"/>
                </a:lnTo>
                <a:lnTo>
                  <a:pt x="657383" y="467438"/>
                </a:lnTo>
                <a:lnTo>
                  <a:pt x="657382" y="467438"/>
                </a:lnTo>
                <a:lnTo>
                  <a:pt x="651336" y="467438"/>
                </a:lnTo>
                <a:lnTo>
                  <a:pt x="651335" y="467438"/>
                </a:lnTo>
                <a:lnTo>
                  <a:pt x="647273" y="467438"/>
                </a:lnTo>
                <a:lnTo>
                  <a:pt x="641237" y="467438"/>
                </a:lnTo>
                <a:lnTo>
                  <a:pt x="641235" y="467438"/>
                </a:lnTo>
                <a:lnTo>
                  <a:pt x="641225" y="467438"/>
                </a:lnTo>
                <a:lnTo>
                  <a:pt x="638196" y="467438"/>
                </a:lnTo>
                <a:lnTo>
                  <a:pt x="638194" y="467438"/>
                </a:lnTo>
                <a:lnTo>
                  <a:pt x="634878" y="467438"/>
                </a:lnTo>
                <a:lnTo>
                  <a:pt x="634876" y="467438"/>
                </a:lnTo>
                <a:lnTo>
                  <a:pt x="630871" y="467438"/>
                </a:lnTo>
                <a:lnTo>
                  <a:pt x="630868" y="467438"/>
                </a:lnTo>
                <a:lnTo>
                  <a:pt x="624172" y="467438"/>
                </a:lnTo>
                <a:lnTo>
                  <a:pt x="624171" y="467438"/>
                </a:lnTo>
                <a:lnTo>
                  <a:pt x="620165" y="467438"/>
                </a:lnTo>
                <a:lnTo>
                  <a:pt x="616848" y="467438"/>
                </a:lnTo>
                <a:lnTo>
                  <a:pt x="616847" y="467438"/>
                </a:lnTo>
                <a:lnTo>
                  <a:pt x="613817" y="467438"/>
                </a:lnTo>
                <a:lnTo>
                  <a:pt x="613815" y="467438"/>
                </a:lnTo>
                <a:lnTo>
                  <a:pt x="613806" y="467438"/>
                </a:lnTo>
                <a:lnTo>
                  <a:pt x="613805" y="467438"/>
                </a:lnTo>
                <a:lnTo>
                  <a:pt x="607769" y="467438"/>
                </a:lnTo>
                <a:lnTo>
                  <a:pt x="607768" y="467438"/>
                </a:lnTo>
                <a:lnTo>
                  <a:pt x="603707" y="467438"/>
                </a:lnTo>
                <a:lnTo>
                  <a:pt x="603705" y="467438"/>
                </a:lnTo>
                <a:lnTo>
                  <a:pt x="597660" y="467438"/>
                </a:lnTo>
                <a:lnTo>
                  <a:pt x="597657" y="467438"/>
                </a:lnTo>
                <a:lnTo>
                  <a:pt x="586642" y="467438"/>
                </a:lnTo>
                <a:lnTo>
                  <a:pt x="582635" y="467438"/>
                </a:lnTo>
                <a:lnTo>
                  <a:pt x="580606" y="467438"/>
                </a:lnTo>
                <a:lnTo>
                  <a:pt x="580604" y="467438"/>
                </a:lnTo>
                <a:lnTo>
                  <a:pt x="580595" y="467438"/>
                </a:lnTo>
                <a:lnTo>
                  <a:pt x="580594" y="467438"/>
                </a:lnTo>
                <a:lnTo>
                  <a:pt x="576599" y="467438"/>
                </a:lnTo>
                <a:lnTo>
                  <a:pt x="576597" y="467438"/>
                </a:lnTo>
                <a:lnTo>
                  <a:pt x="576587" y="467438"/>
                </a:lnTo>
                <a:lnTo>
                  <a:pt x="573281" y="467438"/>
                </a:lnTo>
                <a:lnTo>
                  <a:pt x="573279" y="467438"/>
                </a:lnTo>
                <a:lnTo>
                  <a:pt x="570240" y="467438"/>
                </a:lnTo>
                <a:lnTo>
                  <a:pt x="570238" y="467438"/>
                </a:lnTo>
                <a:lnTo>
                  <a:pt x="559534" y="467438"/>
                </a:lnTo>
                <a:lnTo>
                  <a:pt x="559533" y="467438"/>
                </a:lnTo>
                <a:lnTo>
                  <a:pt x="556217" y="467438"/>
                </a:lnTo>
                <a:lnTo>
                  <a:pt x="556216" y="467438"/>
                </a:lnTo>
                <a:lnTo>
                  <a:pt x="552210" y="467438"/>
                </a:lnTo>
                <a:lnTo>
                  <a:pt x="552209" y="467438"/>
                </a:lnTo>
                <a:lnTo>
                  <a:pt x="543077" y="467438"/>
                </a:lnTo>
                <a:lnTo>
                  <a:pt x="543075" y="467438"/>
                </a:lnTo>
                <a:lnTo>
                  <a:pt x="539069" y="467438"/>
                </a:lnTo>
                <a:lnTo>
                  <a:pt x="539067" y="467438"/>
                </a:lnTo>
                <a:lnTo>
                  <a:pt x="537030" y="467438"/>
                </a:lnTo>
                <a:lnTo>
                  <a:pt x="537027" y="467438"/>
                </a:lnTo>
                <a:lnTo>
                  <a:pt x="533022" y="467438"/>
                </a:lnTo>
                <a:lnTo>
                  <a:pt x="533019" y="467438"/>
                </a:lnTo>
                <a:lnTo>
                  <a:pt x="525046" y="467438"/>
                </a:lnTo>
                <a:lnTo>
                  <a:pt x="522004" y="467438"/>
                </a:lnTo>
                <a:lnTo>
                  <a:pt x="518999" y="467438"/>
                </a:lnTo>
                <a:lnTo>
                  <a:pt x="518998" y="467438"/>
                </a:lnTo>
                <a:lnTo>
                  <a:pt x="515968" y="467438"/>
                </a:lnTo>
                <a:lnTo>
                  <a:pt x="515966" y="467438"/>
                </a:lnTo>
                <a:lnTo>
                  <a:pt x="515957" y="467438"/>
                </a:lnTo>
                <a:lnTo>
                  <a:pt x="515956" y="467438"/>
                </a:lnTo>
                <a:lnTo>
                  <a:pt x="512650" y="467438"/>
                </a:lnTo>
                <a:lnTo>
                  <a:pt x="512649" y="467438"/>
                </a:lnTo>
                <a:lnTo>
                  <a:pt x="508643" y="467438"/>
                </a:lnTo>
                <a:lnTo>
                  <a:pt x="508641" y="467438"/>
                </a:lnTo>
                <a:lnTo>
                  <a:pt x="491579" y="467438"/>
                </a:lnTo>
                <a:lnTo>
                  <a:pt x="491578" y="467438"/>
                </a:lnTo>
                <a:lnTo>
                  <a:pt x="481480" y="467438"/>
                </a:lnTo>
                <a:lnTo>
                  <a:pt x="481478" y="467438"/>
                </a:lnTo>
                <a:lnTo>
                  <a:pt x="481468" y="467438"/>
                </a:lnTo>
                <a:lnTo>
                  <a:pt x="478439" y="467438"/>
                </a:lnTo>
                <a:lnTo>
                  <a:pt x="478437" y="467438"/>
                </a:lnTo>
                <a:lnTo>
                  <a:pt x="475433" y="467438"/>
                </a:lnTo>
                <a:lnTo>
                  <a:pt x="475430" y="467438"/>
                </a:lnTo>
                <a:lnTo>
                  <a:pt x="472392" y="467438"/>
                </a:lnTo>
                <a:lnTo>
                  <a:pt x="472389" y="467438"/>
                </a:lnTo>
                <a:lnTo>
                  <a:pt x="464415" y="467438"/>
                </a:lnTo>
                <a:lnTo>
                  <a:pt x="464414" y="467438"/>
                </a:lnTo>
                <a:lnTo>
                  <a:pt x="460408" y="467438"/>
                </a:lnTo>
                <a:lnTo>
                  <a:pt x="458368" y="467438"/>
                </a:lnTo>
                <a:lnTo>
                  <a:pt x="458367" y="467438"/>
                </a:lnTo>
                <a:lnTo>
                  <a:pt x="454361" y="467438"/>
                </a:lnTo>
                <a:lnTo>
                  <a:pt x="454360" y="467438"/>
                </a:lnTo>
                <a:lnTo>
                  <a:pt x="448012" y="467438"/>
                </a:lnTo>
                <a:lnTo>
                  <a:pt x="448011" y="467438"/>
                </a:lnTo>
                <a:lnTo>
                  <a:pt x="437903" y="467438"/>
                </a:lnTo>
                <a:lnTo>
                  <a:pt x="437900" y="467438"/>
                </a:lnTo>
                <a:lnTo>
                  <a:pt x="420849" y="467438"/>
                </a:lnTo>
                <a:lnTo>
                  <a:pt x="420847" y="467438"/>
                </a:lnTo>
                <a:lnTo>
                  <a:pt x="420838" y="467438"/>
                </a:lnTo>
                <a:lnTo>
                  <a:pt x="420837" y="467438"/>
                </a:lnTo>
                <a:lnTo>
                  <a:pt x="416842" y="467438"/>
                </a:lnTo>
                <a:lnTo>
                  <a:pt x="416840" y="467438"/>
                </a:lnTo>
                <a:lnTo>
                  <a:pt x="416830" y="467438"/>
                </a:lnTo>
                <a:lnTo>
                  <a:pt x="414802" y="467438"/>
                </a:lnTo>
                <a:lnTo>
                  <a:pt x="414800" y="467438"/>
                </a:lnTo>
                <a:lnTo>
                  <a:pt x="233720" y="467437"/>
                </a:lnTo>
                <a:cubicBezTo>
                  <a:pt x="120774" y="467437"/>
                  <a:pt x="26542" y="387323"/>
                  <a:pt x="4748" y="280821"/>
                </a:cubicBezTo>
                <a:lnTo>
                  <a:pt x="0" y="233720"/>
                </a:lnTo>
                <a:lnTo>
                  <a:pt x="4748" y="186617"/>
                </a:lnTo>
                <a:cubicBezTo>
                  <a:pt x="26542" y="80115"/>
                  <a:pt x="120774" y="0"/>
                  <a:pt x="233720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2" name="Полилиния 51"/>
          <p:cNvSpPr/>
          <p:nvPr/>
        </p:nvSpPr>
        <p:spPr>
          <a:xfrm>
            <a:off x="9441768" y="3039017"/>
            <a:ext cx="957893" cy="388075"/>
          </a:xfrm>
          <a:custGeom>
            <a:avLst/>
            <a:gdLst>
              <a:gd name="connsiteX0" fmla="*/ 233720 w 1138598"/>
              <a:gd name="connsiteY0" fmla="*/ 0 h 467438"/>
              <a:gd name="connsiteX1" fmla="*/ 239757 w 1138598"/>
              <a:gd name="connsiteY1" fmla="*/ 0 h 467438"/>
              <a:gd name="connsiteX2" fmla="*/ 239767 w 1138598"/>
              <a:gd name="connsiteY2" fmla="*/ 0 h 467438"/>
              <a:gd name="connsiteX3" fmla="*/ 255044 w 1138598"/>
              <a:gd name="connsiteY3" fmla="*/ 0 h 467438"/>
              <a:gd name="connsiteX4" fmla="*/ 256820 w 1138598"/>
              <a:gd name="connsiteY4" fmla="*/ 0 h 467438"/>
              <a:gd name="connsiteX5" fmla="*/ 277287 w 1138598"/>
              <a:gd name="connsiteY5" fmla="*/ 0 h 467438"/>
              <a:gd name="connsiteX6" fmla="*/ 283334 w 1138598"/>
              <a:gd name="connsiteY6" fmla="*/ 0 h 467438"/>
              <a:gd name="connsiteX7" fmla="*/ 294350 w 1138598"/>
              <a:gd name="connsiteY7" fmla="*/ 0 h 467438"/>
              <a:gd name="connsiteX8" fmla="*/ 298611 w 1138598"/>
              <a:gd name="connsiteY8" fmla="*/ 0 h 467438"/>
              <a:gd name="connsiteX9" fmla="*/ 300388 w 1138598"/>
              <a:gd name="connsiteY9" fmla="*/ 0 h 467438"/>
              <a:gd name="connsiteX10" fmla="*/ 300397 w 1138598"/>
              <a:gd name="connsiteY10" fmla="*/ 0 h 467438"/>
              <a:gd name="connsiteX11" fmla="*/ 315674 w 1138598"/>
              <a:gd name="connsiteY11" fmla="*/ 0 h 467438"/>
              <a:gd name="connsiteX12" fmla="*/ 331568 w 1138598"/>
              <a:gd name="connsiteY12" fmla="*/ 0 h 467438"/>
              <a:gd name="connsiteX13" fmla="*/ 337918 w 1138598"/>
              <a:gd name="connsiteY13" fmla="*/ 0 h 467438"/>
              <a:gd name="connsiteX14" fmla="*/ 343965 w 1138598"/>
              <a:gd name="connsiteY14" fmla="*/ 0 h 467438"/>
              <a:gd name="connsiteX15" fmla="*/ 355947 w 1138598"/>
              <a:gd name="connsiteY15" fmla="*/ 0 h 467438"/>
              <a:gd name="connsiteX16" fmla="*/ 359242 w 1138598"/>
              <a:gd name="connsiteY16" fmla="*/ 0 h 467438"/>
              <a:gd name="connsiteX17" fmla="*/ 361994 w 1138598"/>
              <a:gd name="connsiteY17" fmla="*/ 0 h 467438"/>
              <a:gd name="connsiteX18" fmla="*/ 375135 w 1138598"/>
              <a:gd name="connsiteY18" fmla="*/ 0 h 467438"/>
              <a:gd name="connsiteX19" fmla="*/ 377271 w 1138598"/>
              <a:gd name="connsiteY19" fmla="*/ 0 h 467438"/>
              <a:gd name="connsiteX20" fmla="*/ 392199 w 1138598"/>
              <a:gd name="connsiteY20" fmla="*/ 0 h 467438"/>
              <a:gd name="connsiteX21" fmla="*/ 399514 w 1138598"/>
              <a:gd name="connsiteY21" fmla="*/ 0 h 467438"/>
              <a:gd name="connsiteX22" fmla="*/ 399524 w 1138598"/>
              <a:gd name="connsiteY22" fmla="*/ 0 h 467438"/>
              <a:gd name="connsiteX23" fmla="*/ 405561 w 1138598"/>
              <a:gd name="connsiteY23" fmla="*/ 0 h 467438"/>
              <a:gd name="connsiteX24" fmla="*/ 414801 w 1138598"/>
              <a:gd name="connsiteY24" fmla="*/ 0 h 467438"/>
              <a:gd name="connsiteX25" fmla="*/ 416577 w 1138598"/>
              <a:gd name="connsiteY25" fmla="*/ 0 h 467438"/>
              <a:gd name="connsiteX26" fmla="*/ 420838 w 1138598"/>
              <a:gd name="connsiteY26" fmla="*/ 0 h 467438"/>
              <a:gd name="connsiteX27" fmla="*/ 420848 w 1138598"/>
              <a:gd name="connsiteY27" fmla="*/ 0 h 467438"/>
              <a:gd name="connsiteX28" fmla="*/ 422625 w 1138598"/>
              <a:gd name="connsiteY28" fmla="*/ 0 h 467438"/>
              <a:gd name="connsiteX29" fmla="*/ 435767 w 1138598"/>
              <a:gd name="connsiteY29" fmla="*/ 0 h 467438"/>
              <a:gd name="connsiteX30" fmla="*/ 437901 w 1138598"/>
              <a:gd name="connsiteY30" fmla="*/ 0 h 467438"/>
              <a:gd name="connsiteX31" fmla="*/ 443091 w 1138598"/>
              <a:gd name="connsiteY31" fmla="*/ 0 h 467438"/>
              <a:gd name="connsiteX32" fmla="*/ 453796 w 1138598"/>
              <a:gd name="connsiteY32" fmla="*/ 0 h 467438"/>
              <a:gd name="connsiteX33" fmla="*/ 458368 w 1138598"/>
              <a:gd name="connsiteY33" fmla="*/ 0 h 467438"/>
              <a:gd name="connsiteX34" fmla="*/ 460145 w 1138598"/>
              <a:gd name="connsiteY34" fmla="*/ 0 h 467438"/>
              <a:gd name="connsiteX35" fmla="*/ 460154 w 1138598"/>
              <a:gd name="connsiteY35" fmla="*/ 0 h 467438"/>
              <a:gd name="connsiteX36" fmla="*/ 464415 w 1138598"/>
              <a:gd name="connsiteY36" fmla="*/ 0 h 467438"/>
              <a:gd name="connsiteX37" fmla="*/ 466193 w 1138598"/>
              <a:gd name="connsiteY37" fmla="*/ 0 h 467438"/>
              <a:gd name="connsiteX38" fmla="*/ 475431 w 1138598"/>
              <a:gd name="connsiteY38" fmla="*/ 0 h 467438"/>
              <a:gd name="connsiteX39" fmla="*/ 481469 w 1138598"/>
              <a:gd name="connsiteY39" fmla="*/ 0 h 467438"/>
              <a:gd name="connsiteX40" fmla="*/ 481478 w 1138598"/>
              <a:gd name="connsiteY40" fmla="*/ 0 h 467438"/>
              <a:gd name="connsiteX41" fmla="*/ 491325 w 1138598"/>
              <a:gd name="connsiteY41" fmla="*/ 0 h 467438"/>
              <a:gd name="connsiteX42" fmla="*/ 497363 w 1138598"/>
              <a:gd name="connsiteY42" fmla="*/ 0 h 467438"/>
              <a:gd name="connsiteX43" fmla="*/ 497373 w 1138598"/>
              <a:gd name="connsiteY43" fmla="*/ 0 h 467438"/>
              <a:gd name="connsiteX44" fmla="*/ 503722 w 1138598"/>
              <a:gd name="connsiteY44" fmla="*/ 0 h 467438"/>
              <a:gd name="connsiteX45" fmla="*/ 512649 w 1138598"/>
              <a:gd name="connsiteY45" fmla="*/ 0 h 467438"/>
              <a:gd name="connsiteX46" fmla="*/ 514426 w 1138598"/>
              <a:gd name="connsiteY46" fmla="*/ 0 h 467438"/>
              <a:gd name="connsiteX47" fmla="*/ 518999 w 1138598"/>
              <a:gd name="connsiteY47" fmla="*/ 0 h 467438"/>
              <a:gd name="connsiteX48" fmla="*/ 521751 w 1138598"/>
              <a:gd name="connsiteY48" fmla="*/ 0 h 467438"/>
              <a:gd name="connsiteX49" fmla="*/ 525046 w 1138598"/>
              <a:gd name="connsiteY49" fmla="*/ 0 h 467438"/>
              <a:gd name="connsiteX50" fmla="*/ 534892 w 1138598"/>
              <a:gd name="connsiteY50" fmla="*/ 0 h 467438"/>
              <a:gd name="connsiteX51" fmla="*/ 537028 w 1138598"/>
              <a:gd name="connsiteY51" fmla="*/ 0 h 467438"/>
              <a:gd name="connsiteX52" fmla="*/ 540940 w 1138598"/>
              <a:gd name="connsiteY52" fmla="*/ 0 h 467438"/>
              <a:gd name="connsiteX53" fmla="*/ 543075 w 1138598"/>
              <a:gd name="connsiteY53" fmla="*/ 0 h 467438"/>
              <a:gd name="connsiteX54" fmla="*/ 551956 w 1138598"/>
              <a:gd name="connsiteY54" fmla="*/ 0 h 467438"/>
              <a:gd name="connsiteX55" fmla="*/ 556217 w 1138598"/>
              <a:gd name="connsiteY55" fmla="*/ 0 h 467438"/>
              <a:gd name="connsiteX56" fmla="*/ 557994 w 1138598"/>
              <a:gd name="connsiteY56" fmla="*/ 0 h 467438"/>
              <a:gd name="connsiteX57" fmla="*/ 558003 w 1138598"/>
              <a:gd name="connsiteY57" fmla="*/ 0 h 467438"/>
              <a:gd name="connsiteX58" fmla="*/ 565318 w 1138598"/>
              <a:gd name="connsiteY58" fmla="*/ 0 h 467438"/>
              <a:gd name="connsiteX59" fmla="*/ 573280 w 1138598"/>
              <a:gd name="connsiteY59" fmla="*/ 0 h 467438"/>
              <a:gd name="connsiteX60" fmla="*/ 580595 w 1138598"/>
              <a:gd name="connsiteY60" fmla="*/ 0 h 467438"/>
              <a:gd name="connsiteX61" fmla="*/ 580605 w 1138598"/>
              <a:gd name="connsiteY61" fmla="*/ 0 h 467438"/>
              <a:gd name="connsiteX62" fmla="*/ 582382 w 1138598"/>
              <a:gd name="connsiteY62" fmla="*/ 0 h 467438"/>
              <a:gd name="connsiteX63" fmla="*/ 586642 w 1138598"/>
              <a:gd name="connsiteY63" fmla="*/ 0 h 467438"/>
              <a:gd name="connsiteX64" fmla="*/ 595524 w 1138598"/>
              <a:gd name="connsiteY64" fmla="*/ 0 h 467438"/>
              <a:gd name="connsiteX65" fmla="*/ 597658 w 1138598"/>
              <a:gd name="connsiteY65" fmla="*/ 0 h 467438"/>
              <a:gd name="connsiteX66" fmla="*/ 601571 w 1138598"/>
              <a:gd name="connsiteY66" fmla="*/ 0 h 467438"/>
              <a:gd name="connsiteX67" fmla="*/ 603706 w 1138598"/>
              <a:gd name="connsiteY67" fmla="*/ 0 h 467438"/>
              <a:gd name="connsiteX68" fmla="*/ 613553 w 1138598"/>
              <a:gd name="connsiteY68" fmla="*/ 0 h 467438"/>
              <a:gd name="connsiteX69" fmla="*/ 616848 w 1138598"/>
              <a:gd name="connsiteY69" fmla="*/ 0 h 467438"/>
              <a:gd name="connsiteX70" fmla="*/ 619600 w 1138598"/>
              <a:gd name="connsiteY70" fmla="*/ 0 h 467438"/>
              <a:gd name="connsiteX71" fmla="*/ 624172 w 1138598"/>
              <a:gd name="connsiteY71" fmla="*/ 0 h 467438"/>
              <a:gd name="connsiteX72" fmla="*/ 625950 w 1138598"/>
              <a:gd name="connsiteY72" fmla="*/ 0 h 467438"/>
              <a:gd name="connsiteX73" fmla="*/ 634877 w 1138598"/>
              <a:gd name="connsiteY73" fmla="*/ 0 h 467438"/>
              <a:gd name="connsiteX74" fmla="*/ 641226 w 1138598"/>
              <a:gd name="connsiteY74" fmla="*/ 0 h 467438"/>
              <a:gd name="connsiteX75" fmla="*/ 641235 w 1138598"/>
              <a:gd name="connsiteY75" fmla="*/ 0 h 467438"/>
              <a:gd name="connsiteX76" fmla="*/ 647274 w 1138598"/>
              <a:gd name="connsiteY76" fmla="*/ 0 h 467438"/>
              <a:gd name="connsiteX77" fmla="*/ 657120 w 1138598"/>
              <a:gd name="connsiteY77" fmla="*/ 0 h 467438"/>
              <a:gd name="connsiteX78" fmla="*/ 657130 w 1138598"/>
              <a:gd name="connsiteY78" fmla="*/ 0 h 467438"/>
              <a:gd name="connsiteX79" fmla="*/ 663167 w 1138598"/>
              <a:gd name="connsiteY79" fmla="*/ 0 h 467438"/>
              <a:gd name="connsiteX80" fmla="*/ 672406 w 1138598"/>
              <a:gd name="connsiteY80" fmla="*/ 0 h 467438"/>
              <a:gd name="connsiteX81" fmla="*/ 674183 w 1138598"/>
              <a:gd name="connsiteY81" fmla="*/ 0 h 467438"/>
              <a:gd name="connsiteX82" fmla="*/ 678444 w 1138598"/>
              <a:gd name="connsiteY82" fmla="*/ 0 h 467438"/>
              <a:gd name="connsiteX83" fmla="*/ 678454 w 1138598"/>
              <a:gd name="connsiteY83" fmla="*/ 0 h 467438"/>
              <a:gd name="connsiteX84" fmla="*/ 680230 w 1138598"/>
              <a:gd name="connsiteY84" fmla="*/ 0 h 467438"/>
              <a:gd name="connsiteX85" fmla="*/ 684803 w 1138598"/>
              <a:gd name="connsiteY85" fmla="*/ 0 h 467438"/>
              <a:gd name="connsiteX86" fmla="*/ 695507 w 1138598"/>
              <a:gd name="connsiteY86" fmla="*/ 0 h 467438"/>
              <a:gd name="connsiteX87" fmla="*/ 700697 w 1138598"/>
              <a:gd name="connsiteY87" fmla="*/ 0 h 467438"/>
              <a:gd name="connsiteX88" fmla="*/ 702832 w 1138598"/>
              <a:gd name="connsiteY88" fmla="*/ 0 h 467438"/>
              <a:gd name="connsiteX89" fmla="*/ 715974 w 1138598"/>
              <a:gd name="connsiteY89" fmla="*/ 0 h 467438"/>
              <a:gd name="connsiteX90" fmla="*/ 717751 w 1138598"/>
              <a:gd name="connsiteY90" fmla="*/ 0 h 467438"/>
              <a:gd name="connsiteX91" fmla="*/ 717760 w 1138598"/>
              <a:gd name="connsiteY91" fmla="*/ 0 h 467438"/>
              <a:gd name="connsiteX92" fmla="*/ 722021 w 1138598"/>
              <a:gd name="connsiteY92" fmla="*/ 0 h 467438"/>
              <a:gd name="connsiteX93" fmla="*/ 723798 w 1138598"/>
              <a:gd name="connsiteY93" fmla="*/ 0 h 467438"/>
              <a:gd name="connsiteX94" fmla="*/ 733037 w 1138598"/>
              <a:gd name="connsiteY94" fmla="*/ 0 h 467438"/>
              <a:gd name="connsiteX95" fmla="*/ 739075 w 1138598"/>
              <a:gd name="connsiteY95" fmla="*/ 0 h 467438"/>
              <a:gd name="connsiteX96" fmla="*/ 739084 w 1138598"/>
              <a:gd name="connsiteY96" fmla="*/ 0 h 467438"/>
              <a:gd name="connsiteX97" fmla="*/ 746399 w 1138598"/>
              <a:gd name="connsiteY97" fmla="*/ 0 h 467438"/>
              <a:gd name="connsiteX98" fmla="*/ 761328 w 1138598"/>
              <a:gd name="connsiteY98" fmla="*/ 0 h 467438"/>
              <a:gd name="connsiteX99" fmla="*/ 763463 w 1138598"/>
              <a:gd name="connsiteY99" fmla="*/ 0 h 467438"/>
              <a:gd name="connsiteX100" fmla="*/ 776605 w 1138598"/>
              <a:gd name="connsiteY100" fmla="*/ 0 h 467438"/>
              <a:gd name="connsiteX101" fmla="*/ 779357 w 1138598"/>
              <a:gd name="connsiteY101" fmla="*/ 0 h 467438"/>
              <a:gd name="connsiteX102" fmla="*/ 782652 w 1138598"/>
              <a:gd name="connsiteY102" fmla="*/ 0 h 467438"/>
              <a:gd name="connsiteX103" fmla="*/ 794634 w 1138598"/>
              <a:gd name="connsiteY103" fmla="*/ 0 h 467438"/>
              <a:gd name="connsiteX104" fmla="*/ 800681 w 1138598"/>
              <a:gd name="connsiteY104" fmla="*/ 0 h 467438"/>
              <a:gd name="connsiteX105" fmla="*/ 807031 w 1138598"/>
              <a:gd name="connsiteY105" fmla="*/ 0 h 467438"/>
              <a:gd name="connsiteX106" fmla="*/ 822924 w 1138598"/>
              <a:gd name="connsiteY106" fmla="*/ 0 h 467438"/>
              <a:gd name="connsiteX107" fmla="*/ 838201 w 1138598"/>
              <a:gd name="connsiteY107" fmla="*/ 0 h 467438"/>
              <a:gd name="connsiteX108" fmla="*/ 838211 w 1138598"/>
              <a:gd name="connsiteY108" fmla="*/ 0 h 467438"/>
              <a:gd name="connsiteX109" fmla="*/ 839987 w 1138598"/>
              <a:gd name="connsiteY109" fmla="*/ 0 h 467438"/>
              <a:gd name="connsiteX110" fmla="*/ 844248 w 1138598"/>
              <a:gd name="connsiteY110" fmla="*/ 0 h 467438"/>
              <a:gd name="connsiteX111" fmla="*/ 855264 w 1138598"/>
              <a:gd name="connsiteY111" fmla="*/ 0 h 467438"/>
              <a:gd name="connsiteX112" fmla="*/ 861311 w 1138598"/>
              <a:gd name="connsiteY112" fmla="*/ 0 h 467438"/>
              <a:gd name="connsiteX113" fmla="*/ 881778 w 1138598"/>
              <a:gd name="connsiteY113" fmla="*/ 0 h 467438"/>
              <a:gd name="connsiteX114" fmla="*/ 883555 w 1138598"/>
              <a:gd name="connsiteY114" fmla="*/ 0 h 467438"/>
              <a:gd name="connsiteX115" fmla="*/ 898832 w 1138598"/>
              <a:gd name="connsiteY115" fmla="*/ 0 h 467438"/>
              <a:gd name="connsiteX116" fmla="*/ 898841 w 1138598"/>
              <a:gd name="connsiteY116" fmla="*/ 0 h 467438"/>
              <a:gd name="connsiteX117" fmla="*/ 904879 w 1138598"/>
              <a:gd name="connsiteY117" fmla="*/ 0 h 467438"/>
              <a:gd name="connsiteX118" fmla="*/ 1138598 w 1138598"/>
              <a:gd name="connsiteY118" fmla="*/ 233720 h 467438"/>
              <a:gd name="connsiteX119" fmla="*/ 1138597 w 1138598"/>
              <a:gd name="connsiteY119" fmla="*/ 233720 h 467438"/>
              <a:gd name="connsiteX120" fmla="*/ 904879 w 1138598"/>
              <a:gd name="connsiteY120" fmla="*/ 467438 h 467438"/>
              <a:gd name="connsiteX121" fmla="*/ 898843 w 1138598"/>
              <a:gd name="connsiteY121" fmla="*/ 467438 h 467438"/>
              <a:gd name="connsiteX122" fmla="*/ 898840 w 1138598"/>
              <a:gd name="connsiteY122" fmla="*/ 467438 h 467438"/>
              <a:gd name="connsiteX123" fmla="*/ 898831 w 1138598"/>
              <a:gd name="connsiteY123" fmla="*/ 467438 h 467438"/>
              <a:gd name="connsiteX124" fmla="*/ 881778 w 1138598"/>
              <a:gd name="connsiteY124" fmla="*/ 467438 h 467438"/>
              <a:gd name="connsiteX125" fmla="*/ 881777 w 1138598"/>
              <a:gd name="connsiteY125" fmla="*/ 467438 h 467438"/>
              <a:gd name="connsiteX126" fmla="*/ 861313 w 1138598"/>
              <a:gd name="connsiteY126" fmla="*/ 467438 h 467438"/>
              <a:gd name="connsiteX127" fmla="*/ 861311 w 1138598"/>
              <a:gd name="connsiteY127" fmla="*/ 467438 h 467438"/>
              <a:gd name="connsiteX128" fmla="*/ 855266 w 1138598"/>
              <a:gd name="connsiteY128" fmla="*/ 467438 h 467438"/>
              <a:gd name="connsiteX129" fmla="*/ 855263 w 1138598"/>
              <a:gd name="connsiteY129" fmla="*/ 467438 h 467438"/>
              <a:gd name="connsiteX130" fmla="*/ 844248 w 1138598"/>
              <a:gd name="connsiteY130" fmla="*/ 467438 h 467438"/>
              <a:gd name="connsiteX131" fmla="*/ 844247 w 1138598"/>
              <a:gd name="connsiteY131" fmla="*/ 467438 h 467438"/>
              <a:gd name="connsiteX132" fmla="*/ 838212 w 1138598"/>
              <a:gd name="connsiteY132" fmla="*/ 467438 h 467438"/>
              <a:gd name="connsiteX133" fmla="*/ 838210 w 1138598"/>
              <a:gd name="connsiteY133" fmla="*/ 467438 h 467438"/>
              <a:gd name="connsiteX134" fmla="*/ 838201 w 1138598"/>
              <a:gd name="connsiteY134" fmla="*/ 467438 h 467438"/>
              <a:gd name="connsiteX135" fmla="*/ 838200 w 1138598"/>
              <a:gd name="connsiteY135" fmla="*/ 467438 h 467438"/>
              <a:gd name="connsiteX136" fmla="*/ 807030 w 1138598"/>
              <a:gd name="connsiteY136" fmla="*/ 467438 h 467438"/>
              <a:gd name="connsiteX137" fmla="*/ 800683 w 1138598"/>
              <a:gd name="connsiteY137" fmla="*/ 467438 h 467438"/>
              <a:gd name="connsiteX138" fmla="*/ 800680 w 1138598"/>
              <a:gd name="connsiteY138" fmla="*/ 467438 h 467438"/>
              <a:gd name="connsiteX139" fmla="*/ 794635 w 1138598"/>
              <a:gd name="connsiteY139" fmla="*/ 467438 h 467438"/>
              <a:gd name="connsiteX140" fmla="*/ 794633 w 1138598"/>
              <a:gd name="connsiteY140" fmla="*/ 467438 h 467438"/>
              <a:gd name="connsiteX141" fmla="*/ 782652 w 1138598"/>
              <a:gd name="connsiteY141" fmla="*/ 467438 h 467438"/>
              <a:gd name="connsiteX142" fmla="*/ 782651 w 1138598"/>
              <a:gd name="connsiteY142" fmla="*/ 467438 h 467438"/>
              <a:gd name="connsiteX143" fmla="*/ 776605 w 1138598"/>
              <a:gd name="connsiteY143" fmla="*/ 467438 h 467438"/>
              <a:gd name="connsiteX144" fmla="*/ 776604 w 1138598"/>
              <a:gd name="connsiteY144" fmla="*/ 467438 h 467438"/>
              <a:gd name="connsiteX145" fmla="*/ 763464 w 1138598"/>
              <a:gd name="connsiteY145" fmla="*/ 467438 h 467438"/>
              <a:gd name="connsiteX146" fmla="*/ 763462 w 1138598"/>
              <a:gd name="connsiteY146" fmla="*/ 467438 h 467438"/>
              <a:gd name="connsiteX147" fmla="*/ 746399 w 1138598"/>
              <a:gd name="connsiteY147" fmla="*/ 467438 h 467438"/>
              <a:gd name="connsiteX148" fmla="*/ 746399 w 1138598"/>
              <a:gd name="connsiteY148" fmla="*/ 467438 h 467438"/>
              <a:gd name="connsiteX149" fmla="*/ 739086 w 1138598"/>
              <a:gd name="connsiteY149" fmla="*/ 467438 h 467438"/>
              <a:gd name="connsiteX150" fmla="*/ 739083 w 1138598"/>
              <a:gd name="connsiteY150" fmla="*/ 467438 h 467438"/>
              <a:gd name="connsiteX151" fmla="*/ 739074 w 1138598"/>
              <a:gd name="connsiteY151" fmla="*/ 467438 h 467438"/>
              <a:gd name="connsiteX152" fmla="*/ 733038 w 1138598"/>
              <a:gd name="connsiteY152" fmla="*/ 467438 h 467438"/>
              <a:gd name="connsiteX153" fmla="*/ 733036 w 1138598"/>
              <a:gd name="connsiteY153" fmla="*/ 467438 h 467438"/>
              <a:gd name="connsiteX154" fmla="*/ 722021 w 1138598"/>
              <a:gd name="connsiteY154" fmla="*/ 467438 h 467438"/>
              <a:gd name="connsiteX155" fmla="*/ 722020 w 1138598"/>
              <a:gd name="connsiteY155" fmla="*/ 467438 h 467438"/>
              <a:gd name="connsiteX156" fmla="*/ 715974 w 1138598"/>
              <a:gd name="connsiteY156" fmla="*/ 467438 h 467438"/>
              <a:gd name="connsiteX157" fmla="*/ 715973 w 1138598"/>
              <a:gd name="connsiteY157" fmla="*/ 467438 h 467438"/>
              <a:gd name="connsiteX158" fmla="*/ 702834 w 1138598"/>
              <a:gd name="connsiteY158" fmla="*/ 467438 h 467438"/>
              <a:gd name="connsiteX159" fmla="*/ 702832 w 1138598"/>
              <a:gd name="connsiteY159" fmla="*/ 467438 h 467438"/>
              <a:gd name="connsiteX160" fmla="*/ 695509 w 1138598"/>
              <a:gd name="connsiteY160" fmla="*/ 467438 h 467438"/>
              <a:gd name="connsiteX161" fmla="*/ 695506 w 1138598"/>
              <a:gd name="connsiteY161" fmla="*/ 467438 h 467438"/>
              <a:gd name="connsiteX162" fmla="*/ 684803 w 1138598"/>
              <a:gd name="connsiteY162" fmla="*/ 467438 h 467438"/>
              <a:gd name="connsiteX163" fmla="*/ 684803 w 1138598"/>
              <a:gd name="connsiteY163" fmla="*/ 467438 h 467438"/>
              <a:gd name="connsiteX164" fmla="*/ 678455 w 1138598"/>
              <a:gd name="connsiteY164" fmla="*/ 467438 h 467438"/>
              <a:gd name="connsiteX165" fmla="*/ 678453 w 1138598"/>
              <a:gd name="connsiteY165" fmla="*/ 467438 h 467438"/>
              <a:gd name="connsiteX166" fmla="*/ 678444 w 1138598"/>
              <a:gd name="connsiteY166" fmla="*/ 467438 h 467438"/>
              <a:gd name="connsiteX167" fmla="*/ 678443 w 1138598"/>
              <a:gd name="connsiteY167" fmla="*/ 467438 h 467438"/>
              <a:gd name="connsiteX168" fmla="*/ 672407 w 1138598"/>
              <a:gd name="connsiteY168" fmla="*/ 467438 h 467438"/>
              <a:gd name="connsiteX169" fmla="*/ 672406 w 1138598"/>
              <a:gd name="connsiteY169" fmla="*/ 467438 h 467438"/>
              <a:gd name="connsiteX170" fmla="*/ 647273 w 1138598"/>
              <a:gd name="connsiteY170" fmla="*/ 467438 h 467438"/>
              <a:gd name="connsiteX171" fmla="*/ 641237 w 1138598"/>
              <a:gd name="connsiteY171" fmla="*/ 467438 h 467438"/>
              <a:gd name="connsiteX172" fmla="*/ 641235 w 1138598"/>
              <a:gd name="connsiteY172" fmla="*/ 467438 h 467438"/>
              <a:gd name="connsiteX173" fmla="*/ 641225 w 1138598"/>
              <a:gd name="connsiteY173" fmla="*/ 467438 h 467438"/>
              <a:gd name="connsiteX174" fmla="*/ 634878 w 1138598"/>
              <a:gd name="connsiteY174" fmla="*/ 467438 h 467438"/>
              <a:gd name="connsiteX175" fmla="*/ 634876 w 1138598"/>
              <a:gd name="connsiteY175" fmla="*/ 467438 h 467438"/>
              <a:gd name="connsiteX176" fmla="*/ 624172 w 1138598"/>
              <a:gd name="connsiteY176" fmla="*/ 467438 h 467438"/>
              <a:gd name="connsiteX177" fmla="*/ 624171 w 1138598"/>
              <a:gd name="connsiteY177" fmla="*/ 467438 h 467438"/>
              <a:gd name="connsiteX178" fmla="*/ 616848 w 1138598"/>
              <a:gd name="connsiteY178" fmla="*/ 467438 h 467438"/>
              <a:gd name="connsiteX179" fmla="*/ 616847 w 1138598"/>
              <a:gd name="connsiteY179" fmla="*/ 467438 h 467438"/>
              <a:gd name="connsiteX180" fmla="*/ 603707 w 1138598"/>
              <a:gd name="connsiteY180" fmla="*/ 467438 h 467438"/>
              <a:gd name="connsiteX181" fmla="*/ 603705 w 1138598"/>
              <a:gd name="connsiteY181" fmla="*/ 467438 h 467438"/>
              <a:gd name="connsiteX182" fmla="*/ 597660 w 1138598"/>
              <a:gd name="connsiteY182" fmla="*/ 467438 h 467438"/>
              <a:gd name="connsiteX183" fmla="*/ 597657 w 1138598"/>
              <a:gd name="connsiteY183" fmla="*/ 467438 h 467438"/>
              <a:gd name="connsiteX184" fmla="*/ 586642 w 1138598"/>
              <a:gd name="connsiteY184" fmla="*/ 467438 h 467438"/>
              <a:gd name="connsiteX185" fmla="*/ 586642 w 1138598"/>
              <a:gd name="connsiteY185" fmla="*/ 467438 h 467438"/>
              <a:gd name="connsiteX186" fmla="*/ 580606 w 1138598"/>
              <a:gd name="connsiteY186" fmla="*/ 467438 h 467438"/>
              <a:gd name="connsiteX187" fmla="*/ 580604 w 1138598"/>
              <a:gd name="connsiteY187" fmla="*/ 467438 h 467438"/>
              <a:gd name="connsiteX188" fmla="*/ 580595 w 1138598"/>
              <a:gd name="connsiteY188" fmla="*/ 467438 h 467438"/>
              <a:gd name="connsiteX189" fmla="*/ 580594 w 1138598"/>
              <a:gd name="connsiteY189" fmla="*/ 467438 h 467438"/>
              <a:gd name="connsiteX190" fmla="*/ 573281 w 1138598"/>
              <a:gd name="connsiteY190" fmla="*/ 467438 h 467438"/>
              <a:gd name="connsiteX191" fmla="*/ 573279 w 1138598"/>
              <a:gd name="connsiteY191" fmla="*/ 467438 h 467438"/>
              <a:gd name="connsiteX192" fmla="*/ 556217 w 1138598"/>
              <a:gd name="connsiteY192" fmla="*/ 467438 h 467438"/>
              <a:gd name="connsiteX193" fmla="*/ 556216 w 1138598"/>
              <a:gd name="connsiteY193" fmla="*/ 467438 h 467438"/>
              <a:gd name="connsiteX194" fmla="*/ 543077 w 1138598"/>
              <a:gd name="connsiteY194" fmla="*/ 467438 h 467438"/>
              <a:gd name="connsiteX195" fmla="*/ 543075 w 1138598"/>
              <a:gd name="connsiteY195" fmla="*/ 467438 h 467438"/>
              <a:gd name="connsiteX196" fmla="*/ 537030 w 1138598"/>
              <a:gd name="connsiteY196" fmla="*/ 467438 h 467438"/>
              <a:gd name="connsiteX197" fmla="*/ 537027 w 1138598"/>
              <a:gd name="connsiteY197" fmla="*/ 467438 h 467438"/>
              <a:gd name="connsiteX198" fmla="*/ 525046 w 1138598"/>
              <a:gd name="connsiteY198" fmla="*/ 467438 h 467438"/>
              <a:gd name="connsiteX199" fmla="*/ 525046 w 1138598"/>
              <a:gd name="connsiteY199" fmla="*/ 467438 h 467438"/>
              <a:gd name="connsiteX200" fmla="*/ 518999 w 1138598"/>
              <a:gd name="connsiteY200" fmla="*/ 467438 h 467438"/>
              <a:gd name="connsiteX201" fmla="*/ 518998 w 1138598"/>
              <a:gd name="connsiteY201" fmla="*/ 467438 h 467438"/>
              <a:gd name="connsiteX202" fmla="*/ 512650 w 1138598"/>
              <a:gd name="connsiteY202" fmla="*/ 467438 h 467438"/>
              <a:gd name="connsiteX203" fmla="*/ 512649 w 1138598"/>
              <a:gd name="connsiteY203" fmla="*/ 467438 h 467438"/>
              <a:gd name="connsiteX204" fmla="*/ 481480 w 1138598"/>
              <a:gd name="connsiteY204" fmla="*/ 467438 h 467438"/>
              <a:gd name="connsiteX205" fmla="*/ 481478 w 1138598"/>
              <a:gd name="connsiteY205" fmla="*/ 467438 h 467438"/>
              <a:gd name="connsiteX206" fmla="*/ 481468 w 1138598"/>
              <a:gd name="connsiteY206" fmla="*/ 467438 h 467438"/>
              <a:gd name="connsiteX207" fmla="*/ 475433 w 1138598"/>
              <a:gd name="connsiteY207" fmla="*/ 467438 h 467438"/>
              <a:gd name="connsiteX208" fmla="*/ 475430 w 1138598"/>
              <a:gd name="connsiteY208" fmla="*/ 467438 h 467438"/>
              <a:gd name="connsiteX209" fmla="*/ 464415 w 1138598"/>
              <a:gd name="connsiteY209" fmla="*/ 467438 h 467438"/>
              <a:gd name="connsiteX210" fmla="*/ 464414 w 1138598"/>
              <a:gd name="connsiteY210" fmla="*/ 467438 h 467438"/>
              <a:gd name="connsiteX211" fmla="*/ 458368 w 1138598"/>
              <a:gd name="connsiteY211" fmla="*/ 467438 h 467438"/>
              <a:gd name="connsiteX212" fmla="*/ 458367 w 1138598"/>
              <a:gd name="connsiteY212" fmla="*/ 467438 h 467438"/>
              <a:gd name="connsiteX213" fmla="*/ 437903 w 1138598"/>
              <a:gd name="connsiteY213" fmla="*/ 467438 h 467438"/>
              <a:gd name="connsiteX214" fmla="*/ 437900 w 1138598"/>
              <a:gd name="connsiteY214" fmla="*/ 467438 h 467438"/>
              <a:gd name="connsiteX215" fmla="*/ 420849 w 1138598"/>
              <a:gd name="connsiteY215" fmla="*/ 467438 h 467438"/>
              <a:gd name="connsiteX216" fmla="*/ 420847 w 1138598"/>
              <a:gd name="connsiteY216" fmla="*/ 467438 h 467438"/>
              <a:gd name="connsiteX217" fmla="*/ 420838 w 1138598"/>
              <a:gd name="connsiteY217" fmla="*/ 467438 h 467438"/>
              <a:gd name="connsiteX218" fmla="*/ 420837 w 1138598"/>
              <a:gd name="connsiteY218" fmla="*/ 467438 h 467438"/>
              <a:gd name="connsiteX219" fmla="*/ 414802 w 1138598"/>
              <a:gd name="connsiteY219" fmla="*/ 467438 h 467438"/>
              <a:gd name="connsiteX220" fmla="*/ 414800 w 1138598"/>
              <a:gd name="connsiteY220" fmla="*/ 467438 h 467438"/>
              <a:gd name="connsiteX221" fmla="*/ 233720 w 1138598"/>
              <a:gd name="connsiteY221" fmla="*/ 467437 h 467438"/>
              <a:gd name="connsiteX222" fmla="*/ 4748 w 1138598"/>
              <a:gd name="connsiteY222" fmla="*/ 280821 h 467438"/>
              <a:gd name="connsiteX223" fmla="*/ 0 w 1138598"/>
              <a:gd name="connsiteY223" fmla="*/ 233720 h 467438"/>
              <a:gd name="connsiteX224" fmla="*/ 4748 w 1138598"/>
              <a:gd name="connsiteY224" fmla="*/ 186617 h 467438"/>
              <a:gd name="connsiteX225" fmla="*/ 233720 w 1138598"/>
              <a:gd name="connsiteY225" fmla="*/ 0 h 46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</a:cxnLst>
            <a:rect l="l" t="t" r="r" b="b"/>
            <a:pathLst>
              <a:path w="1138598" h="467438">
                <a:moveTo>
                  <a:pt x="233720" y="0"/>
                </a:moveTo>
                <a:lnTo>
                  <a:pt x="239757" y="0"/>
                </a:lnTo>
                <a:lnTo>
                  <a:pt x="239767" y="0"/>
                </a:lnTo>
                <a:lnTo>
                  <a:pt x="255044" y="0"/>
                </a:lnTo>
                <a:lnTo>
                  <a:pt x="256820" y="0"/>
                </a:lnTo>
                <a:lnTo>
                  <a:pt x="277287" y="0"/>
                </a:lnTo>
                <a:lnTo>
                  <a:pt x="283334" y="0"/>
                </a:lnTo>
                <a:lnTo>
                  <a:pt x="294350" y="0"/>
                </a:lnTo>
                <a:lnTo>
                  <a:pt x="298611" y="0"/>
                </a:lnTo>
                <a:lnTo>
                  <a:pt x="300388" y="0"/>
                </a:lnTo>
                <a:lnTo>
                  <a:pt x="300397" y="0"/>
                </a:lnTo>
                <a:lnTo>
                  <a:pt x="315674" y="0"/>
                </a:lnTo>
                <a:lnTo>
                  <a:pt x="331568" y="0"/>
                </a:lnTo>
                <a:lnTo>
                  <a:pt x="337918" y="0"/>
                </a:lnTo>
                <a:lnTo>
                  <a:pt x="343965" y="0"/>
                </a:lnTo>
                <a:lnTo>
                  <a:pt x="355947" y="0"/>
                </a:lnTo>
                <a:lnTo>
                  <a:pt x="359242" y="0"/>
                </a:lnTo>
                <a:lnTo>
                  <a:pt x="361994" y="0"/>
                </a:lnTo>
                <a:lnTo>
                  <a:pt x="375135" y="0"/>
                </a:lnTo>
                <a:lnTo>
                  <a:pt x="377271" y="0"/>
                </a:lnTo>
                <a:lnTo>
                  <a:pt x="392199" y="0"/>
                </a:lnTo>
                <a:lnTo>
                  <a:pt x="399514" y="0"/>
                </a:lnTo>
                <a:lnTo>
                  <a:pt x="399524" y="0"/>
                </a:lnTo>
                <a:lnTo>
                  <a:pt x="405561" y="0"/>
                </a:lnTo>
                <a:lnTo>
                  <a:pt x="414801" y="0"/>
                </a:lnTo>
                <a:lnTo>
                  <a:pt x="416577" y="0"/>
                </a:lnTo>
                <a:lnTo>
                  <a:pt x="420838" y="0"/>
                </a:lnTo>
                <a:lnTo>
                  <a:pt x="420848" y="0"/>
                </a:lnTo>
                <a:lnTo>
                  <a:pt x="422625" y="0"/>
                </a:lnTo>
                <a:lnTo>
                  <a:pt x="435767" y="0"/>
                </a:lnTo>
                <a:lnTo>
                  <a:pt x="437901" y="0"/>
                </a:lnTo>
                <a:lnTo>
                  <a:pt x="443091" y="0"/>
                </a:lnTo>
                <a:lnTo>
                  <a:pt x="453796" y="0"/>
                </a:lnTo>
                <a:lnTo>
                  <a:pt x="458368" y="0"/>
                </a:lnTo>
                <a:lnTo>
                  <a:pt x="460145" y="0"/>
                </a:lnTo>
                <a:lnTo>
                  <a:pt x="460154" y="0"/>
                </a:lnTo>
                <a:lnTo>
                  <a:pt x="464415" y="0"/>
                </a:lnTo>
                <a:lnTo>
                  <a:pt x="466193" y="0"/>
                </a:lnTo>
                <a:lnTo>
                  <a:pt x="475431" y="0"/>
                </a:lnTo>
                <a:lnTo>
                  <a:pt x="481469" y="0"/>
                </a:lnTo>
                <a:lnTo>
                  <a:pt x="481478" y="0"/>
                </a:lnTo>
                <a:lnTo>
                  <a:pt x="491325" y="0"/>
                </a:lnTo>
                <a:lnTo>
                  <a:pt x="497363" y="0"/>
                </a:lnTo>
                <a:lnTo>
                  <a:pt x="497373" y="0"/>
                </a:lnTo>
                <a:lnTo>
                  <a:pt x="503722" y="0"/>
                </a:lnTo>
                <a:lnTo>
                  <a:pt x="512649" y="0"/>
                </a:lnTo>
                <a:lnTo>
                  <a:pt x="514426" y="0"/>
                </a:lnTo>
                <a:lnTo>
                  <a:pt x="518999" y="0"/>
                </a:lnTo>
                <a:lnTo>
                  <a:pt x="521751" y="0"/>
                </a:lnTo>
                <a:lnTo>
                  <a:pt x="525046" y="0"/>
                </a:lnTo>
                <a:lnTo>
                  <a:pt x="534892" y="0"/>
                </a:lnTo>
                <a:lnTo>
                  <a:pt x="537028" y="0"/>
                </a:lnTo>
                <a:lnTo>
                  <a:pt x="540940" y="0"/>
                </a:lnTo>
                <a:lnTo>
                  <a:pt x="543075" y="0"/>
                </a:lnTo>
                <a:lnTo>
                  <a:pt x="551956" y="0"/>
                </a:lnTo>
                <a:lnTo>
                  <a:pt x="556217" y="0"/>
                </a:lnTo>
                <a:lnTo>
                  <a:pt x="557994" y="0"/>
                </a:lnTo>
                <a:lnTo>
                  <a:pt x="558003" y="0"/>
                </a:lnTo>
                <a:lnTo>
                  <a:pt x="565318" y="0"/>
                </a:lnTo>
                <a:lnTo>
                  <a:pt x="573280" y="0"/>
                </a:lnTo>
                <a:lnTo>
                  <a:pt x="580595" y="0"/>
                </a:lnTo>
                <a:lnTo>
                  <a:pt x="580605" y="0"/>
                </a:lnTo>
                <a:lnTo>
                  <a:pt x="582382" y="0"/>
                </a:lnTo>
                <a:lnTo>
                  <a:pt x="586642" y="0"/>
                </a:lnTo>
                <a:lnTo>
                  <a:pt x="595524" y="0"/>
                </a:lnTo>
                <a:lnTo>
                  <a:pt x="597658" y="0"/>
                </a:lnTo>
                <a:lnTo>
                  <a:pt x="601571" y="0"/>
                </a:lnTo>
                <a:lnTo>
                  <a:pt x="603706" y="0"/>
                </a:lnTo>
                <a:lnTo>
                  <a:pt x="613553" y="0"/>
                </a:lnTo>
                <a:lnTo>
                  <a:pt x="616848" y="0"/>
                </a:lnTo>
                <a:lnTo>
                  <a:pt x="619600" y="0"/>
                </a:lnTo>
                <a:lnTo>
                  <a:pt x="624172" y="0"/>
                </a:lnTo>
                <a:lnTo>
                  <a:pt x="625950" y="0"/>
                </a:lnTo>
                <a:lnTo>
                  <a:pt x="634877" y="0"/>
                </a:lnTo>
                <a:lnTo>
                  <a:pt x="641226" y="0"/>
                </a:lnTo>
                <a:lnTo>
                  <a:pt x="641235" y="0"/>
                </a:lnTo>
                <a:lnTo>
                  <a:pt x="647274" y="0"/>
                </a:lnTo>
                <a:lnTo>
                  <a:pt x="657120" y="0"/>
                </a:lnTo>
                <a:lnTo>
                  <a:pt x="657130" y="0"/>
                </a:lnTo>
                <a:lnTo>
                  <a:pt x="663167" y="0"/>
                </a:lnTo>
                <a:lnTo>
                  <a:pt x="672406" y="0"/>
                </a:lnTo>
                <a:lnTo>
                  <a:pt x="674183" y="0"/>
                </a:lnTo>
                <a:lnTo>
                  <a:pt x="678444" y="0"/>
                </a:lnTo>
                <a:lnTo>
                  <a:pt x="678454" y="0"/>
                </a:lnTo>
                <a:lnTo>
                  <a:pt x="680230" y="0"/>
                </a:lnTo>
                <a:lnTo>
                  <a:pt x="684803" y="0"/>
                </a:lnTo>
                <a:lnTo>
                  <a:pt x="695507" y="0"/>
                </a:lnTo>
                <a:lnTo>
                  <a:pt x="700697" y="0"/>
                </a:lnTo>
                <a:lnTo>
                  <a:pt x="702832" y="0"/>
                </a:lnTo>
                <a:lnTo>
                  <a:pt x="715974" y="0"/>
                </a:lnTo>
                <a:lnTo>
                  <a:pt x="717751" y="0"/>
                </a:lnTo>
                <a:lnTo>
                  <a:pt x="717760" y="0"/>
                </a:lnTo>
                <a:lnTo>
                  <a:pt x="722021" y="0"/>
                </a:lnTo>
                <a:lnTo>
                  <a:pt x="723798" y="0"/>
                </a:lnTo>
                <a:lnTo>
                  <a:pt x="733037" y="0"/>
                </a:lnTo>
                <a:lnTo>
                  <a:pt x="739075" y="0"/>
                </a:lnTo>
                <a:lnTo>
                  <a:pt x="739084" y="0"/>
                </a:lnTo>
                <a:lnTo>
                  <a:pt x="746399" y="0"/>
                </a:lnTo>
                <a:lnTo>
                  <a:pt x="761328" y="0"/>
                </a:lnTo>
                <a:lnTo>
                  <a:pt x="763463" y="0"/>
                </a:lnTo>
                <a:lnTo>
                  <a:pt x="776605" y="0"/>
                </a:lnTo>
                <a:lnTo>
                  <a:pt x="779357" y="0"/>
                </a:lnTo>
                <a:lnTo>
                  <a:pt x="782652" y="0"/>
                </a:lnTo>
                <a:lnTo>
                  <a:pt x="794634" y="0"/>
                </a:lnTo>
                <a:lnTo>
                  <a:pt x="800681" y="0"/>
                </a:lnTo>
                <a:lnTo>
                  <a:pt x="807031" y="0"/>
                </a:lnTo>
                <a:lnTo>
                  <a:pt x="822924" y="0"/>
                </a:lnTo>
                <a:lnTo>
                  <a:pt x="838201" y="0"/>
                </a:lnTo>
                <a:lnTo>
                  <a:pt x="838211" y="0"/>
                </a:lnTo>
                <a:lnTo>
                  <a:pt x="839987" y="0"/>
                </a:lnTo>
                <a:lnTo>
                  <a:pt x="844248" y="0"/>
                </a:lnTo>
                <a:lnTo>
                  <a:pt x="855264" y="0"/>
                </a:lnTo>
                <a:lnTo>
                  <a:pt x="861311" y="0"/>
                </a:lnTo>
                <a:lnTo>
                  <a:pt x="881778" y="0"/>
                </a:lnTo>
                <a:lnTo>
                  <a:pt x="883555" y="0"/>
                </a:lnTo>
                <a:lnTo>
                  <a:pt x="898832" y="0"/>
                </a:lnTo>
                <a:lnTo>
                  <a:pt x="898841" y="0"/>
                </a:lnTo>
                <a:lnTo>
                  <a:pt x="904879" y="0"/>
                </a:lnTo>
                <a:cubicBezTo>
                  <a:pt x="1033959" y="0"/>
                  <a:pt x="1138598" y="104640"/>
                  <a:pt x="1138598" y="233720"/>
                </a:cubicBezTo>
                <a:lnTo>
                  <a:pt x="1138597" y="233720"/>
                </a:lnTo>
                <a:cubicBezTo>
                  <a:pt x="1138597" y="362799"/>
                  <a:pt x="1033958" y="467438"/>
                  <a:pt x="904879" y="467438"/>
                </a:cubicBezTo>
                <a:lnTo>
                  <a:pt x="898843" y="467438"/>
                </a:lnTo>
                <a:lnTo>
                  <a:pt x="898840" y="467438"/>
                </a:lnTo>
                <a:lnTo>
                  <a:pt x="898831" y="467438"/>
                </a:lnTo>
                <a:lnTo>
                  <a:pt x="881778" y="467438"/>
                </a:lnTo>
                <a:lnTo>
                  <a:pt x="881777" y="467438"/>
                </a:lnTo>
                <a:lnTo>
                  <a:pt x="861313" y="467438"/>
                </a:lnTo>
                <a:lnTo>
                  <a:pt x="861311" y="467438"/>
                </a:lnTo>
                <a:lnTo>
                  <a:pt x="855266" y="467438"/>
                </a:lnTo>
                <a:lnTo>
                  <a:pt x="855263" y="467438"/>
                </a:lnTo>
                <a:lnTo>
                  <a:pt x="844248" y="467438"/>
                </a:lnTo>
                <a:lnTo>
                  <a:pt x="844247" y="467438"/>
                </a:lnTo>
                <a:lnTo>
                  <a:pt x="838212" y="467438"/>
                </a:lnTo>
                <a:lnTo>
                  <a:pt x="838210" y="467438"/>
                </a:lnTo>
                <a:lnTo>
                  <a:pt x="838201" y="467438"/>
                </a:lnTo>
                <a:lnTo>
                  <a:pt x="838200" y="467438"/>
                </a:lnTo>
                <a:lnTo>
                  <a:pt x="807030" y="467438"/>
                </a:lnTo>
                <a:lnTo>
                  <a:pt x="800683" y="467438"/>
                </a:lnTo>
                <a:lnTo>
                  <a:pt x="800680" y="467438"/>
                </a:lnTo>
                <a:lnTo>
                  <a:pt x="794635" y="467438"/>
                </a:lnTo>
                <a:lnTo>
                  <a:pt x="794633" y="467438"/>
                </a:lnTo>
                <a:lnTo>
                  <a:pt x="782652" y="467438"/>
                </a:lnTo>
                <a:lnTo>
                  <a:pt x="782651" y="467438"/>
                </a:lnTo>
                <a:lnTo>
                  <a:pt x="776605" y="467438"/>
                </a:lnTo>
                <a:lnTo>
                  <a:pt x="776604" y="467438"/>
                </a:lnTo>
                <a:lnTo>
                  <a:pt x="763464" y="467438"/>
                </a:lnTo>
                <a:lnTo>
                  <a:pt x="763462" y="467438"/>
                </a:lnTo>
                <a:lnTo>
                  <a:pt x="746399" y="467438"/>
                </a:lnTo>
                <a:lnTo>
                  <a:pt x="746399" y="467438"/>
                </a:lnTo>
                <a:lnTo>
                  <a:pt x="739086" y="467438"/>
                </a:lnTo>
                <a:lnTo>
                  <a:pt x="739083" y="467438"/>
                </a:lnTo>
                <a:lnTo>
                  <a:pt x="739074" y="467438"/>
                </a:lnTo>
                <a:lnTo>
                  <a:pt x="733038" y="467438"/>
                </a:lnTo>
                <a:lnTo>
                  <a:pt x="733036" y="467438"/>
                </a:lnTo>
                <a:lnTo>
                  <a:pt x="722021" y="467438"/>
                </a:lnTo>
                <a:lnTo>
                  <a:pt x="722020" y="467438"/>
                </a:lnTo>
                <a:lnTo>
                  <a:pt x="715974" y="467438"/>
                </a:lnTo>
                <a:lnTo>
                  <a:pt x="715973" y="467438"/>
                </a:lnTo>
                <a:lnTo>
                  <a:pt x="702834" y="467438"/>
                </a:lnTo>
                <a:lnTo>
                  <a:pt x="702832" y="467438"/>
                </a:lnTo>
                <a:lnTo>
                  <a:pt x="695509" y="467438"/>
                </a:lnTo>
                <a:lnTo>
                  <a:pt x="695506" y="467438"/>
                </a:lnTo>
                <a:lnTo>
                  <a:pt x="684803" y="467438"/>
                </a:lnTo>
                <a:lnTo>
                  <a:pt x="684803" y="467438"/>
                </a:lnTo>
                <a:lnTo>
                  <a:pt x="678455" y="467438"/>
                </a:lnTo>
                <a:lnTo>
                  <a:pt x="678453" y="467438"/>
                </a:lnTo>
                <a:lnTo>
                  <a:pt x="678444" y="467438"/>
                </a:lnTo>
                <a:lnTo>
                  <a:pt x="678443" y="467438"/>
                </a:lnTo>
                <a:lnTo>
                  <a:pt x="672407" y="467438"/>
                </a:lnTo>
                <a:lnTo>
                  <a:pt x="672406" y="467438"/>
                </a:lnTo>
                <a:lnTo>
                  <a:pt x="647273" y="467438"/>
                </a:lnTo>
                <a:lnTo>
                  <a:pt x="641237" y="467438"/>
                </a:lnTo>
                <a:lnTo>
                  <a:pt x="641235" y="467438"/>
                </a:lnTo>
                <a:lnTo>
                  <a:pt x="641225" y="467438"/>
                </a:lnTo>
                <a:lnTo>
                  <a:pt x="634878" y="467438"/>
                </a:lnTo>
                <a:lnTo>
                  <a:pt x="634876" y="467438"/>
                </a:lnTo>
                <a:lnTo>
                  <a:pt x="624172" y="467438"/>
                </a:lnTo>
                <a:lnTo>
                  <a:pt x="624171" y="467438"/>
                </a:lnTo>
                <a:lnTo>
                  <a:pt x="616848" y="467438"/>
                </a:lnTo>
                <a:lnTo>
                  <a:pt x="616847" y="467438"/>
                </a:lnTo>
                <a:lnTo>
                  <a:pt x="603707" y="467438"/>
                </a:lnTo>
                <a:lnTo>
                  <a:pt x="603705" y="467438"/>
                </a:lnTo>
                <a:lnTo>
                  <a:pt x="597660" y="467438"/>
                </a:lnTo>
                <a:lnTo>
                  <a:pt x="597657" y="467438"/>
                </a:lnTo>
                <a:lnTo>
                  <a:pt x="586642" y="467438"/>
                </a:lnTo>
                <a:lnTo>
                  <a:pt x="586642" y="467438"/>
                </a:lnTo>
                <a:lnTo>
                  <a:pt x="580606" y="467438"/>
                </a:lnTo>
                <a:lnTo>
                  <a:pt x="580604" y="467438"/>
                </a:lnTo>
                <a:lnTo>
                  <a:pt x="580595" y="467438"/>
                </a:lnTo>
                <a:lnTo>
                  <a:pt x="580594" y="467438"/>
                </a:lnTo>
                <a:lnTo>
                  <a:pt x="573281" y="467438"/>
                </a:lnTo>
                <a:lnTo>
                  <a:pt x="573279" y="467438"/>
                </a:lnTo>
                <a:lnTo>
                  <a:pt x="556217" y="467438"/>
                </a:lnTo>
                <a:lnTo>
                  <a:pt x="556216" y="467438"/>
                </a:lnTo>
                <a:lnTo>
                  <a:pt x="543077" y="467438"/>
                </a:lnTo>
                <a:lnTo>
                  <a:pt x="543075" y="467438"/>
                </a:lnTo>
                <a:lnTo>
                  <a:pt x="537030" y="467438"/>
                </a:lnTo>
                <a:lnTo>
                  <a:pt x="537027" y="467438"/>
                </a:lnTo>
                <a:lnTo>
                  <a:pt x="525046" y="467438"/>
                </a:lnTo>
                <a:lnTo>
                  <a:pt x="525046" y="467438"/>
                </a:lnTo>
                <a:lnTo>
                  <a:pt x="518999" y="467438"/>
                </a:lnTo>
                <a:lnTo>
                  <a:pt x="518998" y="467438"/>
                </a:lnTo>
                <a:lnTo>
                  <a:pt x="512650" y="467438"/>
                </a:lnTo>
                <a:lnTo>
                  <a:pt x="512649" y="467438"/>
                </a:lnTo>
                <a:lnTo>
                  <a:pt x="481480" y="467438"/>
                </a:lnTo>
                <a:lnTo>
                  <a:pt x="481478" y="467438"/>
                </a:lnTo>
                <a:lnTo>
                  <a:pt x="481468" y="467438"/>
                </a:lnTo>
                <a:lnTo>
                  <a:pt x="475433" y="467438"/>
                </a:lnTo>
                <a:lnTo>
                  <a:pt x="475430" y="467438"/>
                </a:lnTo>
                <a:lnTo>
                  <a:pt x="464415" y="467438"/>
                </a:lnTo>
                <a:lnTo>
                  <a:pt x="464414" y="467438"/>
                </a:lnTo>
                <a:lnTo>
                  <a:pt x="458368" y="467438"/>
                </a:lnTo>
                <a:lnTo>
                  <a:pt x="458367" y="467438"/>
                </a:lnTo>
                <a:lnTo>
                  <a:pt x="437903" y="467438"/>
                </a:lnTo>
                <a:lnTo>
                  <a:pt x="437900" y="467438"/>
                </a:lnTo>
                <a:lnTo>
                  <a:pt x="420849" y="467438"/>
                </a:lnTo>
                <a:lnTo>
                  <a:pt x="420847" y="467438"/>
                </a:lnTo>
                <a:lnTo>
                  <a:pt x="420838" y="467438"/>
                </a:lnTo>
                <a:lnTo>
                  <a:pt x="420837" y="467438"/>
                </a:lnTo>
                <a:lnTo>
                  <a:pt x="414802" y="467438"/>
                </a:lnTo>
                <a:lnTo>
                  <a:pt x="414800" y="467438"/>
                </a:lnTo>
                <a:lnTo>
                  <a:pt x="233720" y="467437"/>
                </a:lnTo>
                <a:cubicBezTo>
                  <a:pt x="120774" y="467437"/>
                  <a:pt x="26542" y="387323"/>
                  <a:pt x="4748" y="280821"/>
                </a:cubicBezTo>
                <a:lnTo>
                  <a:pt x="0" y="233720"/>
                </a:lnTo>
                <a:lnTo>
                  <a:pt x="4748" y="186617"/>
                </a:lnTo>
                <a:cubicBezTo>
                  <a:pt x="26542" y="80115"/>
                  <a:pt x="120774" y="0"/>
                  <a:pt x="233720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5" name="Полилиния 54"/>
          <p:cNvSpPr/>
          <p:nvPr/>
        </p:nvSpPr>
        <p:spPr>
          <a:xfrm>
            <a:off x="6987022" y="3039017"/>
            <a:ext cx="1376735" cy="388075"/>
          </a:xfrm>
          <a:custGeom>
            <a:avLst/>
            <a:gdLst>
              <a:gd name="connsiteX0" fmla="*/ 233720 w 1636453"/>
              <a:gd name="connsiteY0" fmla="*/ 0 h 467438"/>
              <a:gd name="connsiteX1" fmla="*/ 233973 w 1636453"/>
              <a:gd name="connsiteY1" fmla="*/ 0 h 467438"/>
              <a:gd name="connsiteX2" fmla="*/ 235750 w 1636453"/>
              <a:gd name="connsiteY2" fmla="*/ 0 h 467438"/>
              <a:gd name="connsiteX3" fmla="*/ 235759 w 1636453"/>
              <a:gd name="connsiteY3" fmla="*/ 0 h 467438"/>
              <a:gd name="connsiteX4" fmla="*/ 239757 w 1636453"/>
              <a:gd name="connsiteY4" fmla="*/ 0 h 467438"/>
              <a:gd name="connsiteX5" fmla="*/ 239767 w 1636453"/>
              <a:gd name="connsiteY5" fmla="*/ 0 h 467438"/>
              <a:gd name="connsiteX6" fmla="*/ 251036 w 1636453"/>
              <a:gd name="connsiteY6" fmla="*/ 0 h 467438"/>
              <a:gd name="connsiteX7" fmla="*/ 255044 w 1636453"/>
              <a:gd name="connsiteY7" fmla="*/ 0 h 467438"/>
              <a:gd name="connsiteX8" fmla="*/ 256820 w 1636453"/>
              <a:gd name="connsiteY8" fmla="*/ 0 h 467438"/>
              <a:gd name="connsiteX9" fmla="*/ 266930 w 1636453"/>
              <a:gd name="connsiteY9" fmla="*/ 0 h 467438"/>
              <a:gd name="connsiteX10" fmla="*/ 273280 w 1636453"/>
              <a:gd name="connsiteY10" fmla="*/ 0 h 467438"/>
              <a:gd name="connsiteX11" fmla="*/ 277287 w 1636453"/>
              <a:gd name="connsiteY11" fmla="*/ 0 h 467438"/>
              <a:gd name="connsiteX12" fmla="*/ 279327 w 1636453"/>
              <a:gd name="connsiteY12" fmla="*/ 0 h 467438"/>
              <a:gd name="connsiteX13" fmla="*/ 283334 w 1636453"/>
              <a:gd name="connsiteY13" fmla="*/ 0 h 467438"/>
              <a:gd name="connsiteX14" fmla="*/ 291309 w 1636453"/>
              <a:gd name="connsiteY14" fmla="*/ 0 h 467438"/>
              <a:gd name="connsiteX15" fmla="*/ 294350 w 1636453"/>
              <a:gd name="connsiteY15" fmla="*/ 0 h 467438"/>
              <a:gd name="connsiteX16" fmla="*/ 294604 w 1636453"/>
              <a:gd name="connsiteY16" fmla="*/ 0 h 467438"/>
              <a:gd name="connsiteX17" fmla="*/ 297356 w 1636453"/>
              <a:gd name="connsiteY17" fmla="*/ 0 h 467438"/>
              <a:gd name="connsiteX18" fmla="*/ 298611 w 1636453"/>
              <a:gd name="connsiteY18" fmla="*/ 0 h 467438"/>
              <a:gd name="connsiteX19" fmla="*/ 300388 w 1636453"/>
              <a:gd name="connsiteY19" fmla="*/ 0 h 467438"/>
              <a:gd name="connsiteX20" fmla="*/ 300397 w 1636453"/>
              <a:gd name="connsiteY20" fmla="*/ 0 h 467438"/>
              <a:gd name="connsiteX21" fmla="*/ 310497 w 1636453"/>
              <a:gd name="connsiteY21" fmla="*/ 0 h 467438"/>
              <a:gd name="connsiteX22" fmla="*/ 312633 w 1636453"/>
              <a:gd name="connsiteY22" fmla="*/ 0 h 467438"/>
              <a:gd name="connsiteX23" fmla="*/ 315674 w 1636453"/>
              <a:gd name="connsiteY23" fmla="*/ 0 h 467438"/>
              <a:gd name="connsiteX24" fmla="*/ 327561 w 1636453"/>
              <a:gd name="connsiteY24" fmla="*/ 0 h 467438"/>
              <a:gd name="connsiteX25" fmla="*/ 331568 w 1636453"/>
              <a:gd name="connsiteY25" fmla="*/ 0 h 467438"/>
              <a:gd name="connsiteX26" fmla="*/ 334876 w 1636453"/>
              <a:gd name="connsiteY26" fmla="*/ 0 h 467438"/>
              <a:gd name="connsiteX27" fmla="*/ 334886 w 1636453"/>
              <a:gd name="connsiteY27" fmla="*/ 0 h 467438"/>
              <a:gd name="connsiteX28" fmla="*/ 337918 w 1636453"/>
              <a:gd name="connsiteY28" fmla="*/ 0 h 467438"/>
              <a:gd name="connsiteX29" fmla="*/ 340923 w 1636453"/>
              <a:gd name="connsiteY29" fmla="*/ 0 h 467438"/>
              <a:gd name="connsiteX30" fmla="*/ 343965 w 1636453"/>
              <a:gd name="connsiteY30" fmla="*/ 0 h 467438"/>
              <a:gd name="connsiteX31" fmla="*/ 350163 w 1636453"/>
              <a:gd name="connsiteY31" fmla="*/ 0 h 467438"/>
              <a:gd name="connsiteX32" fmla="*/ 351939 w 1636453"/>
              <a:gd name="connsiteY32" fmla="*/ 0 h 467438"/>
              <a:gd name="connsiteX33" fmla="*/ 355947 w 1636453"/>
              <a:gd name="connsiteY33" fmla="*/ 0 h 467438"/>
              <a:gd name="connsiteX34" fmla="*/ 356200 w 1636453"/>
              <a:gd name="connsiteY34" fmla="*/ 0 h 467438"/>
              <a:gd name="connsiteX35" fmla="*/ 356210 w 1636453"/>
              <a:gd name="connsiteY35" fmla="*/ 0 h 467438"/>
              <a:gd name="connsiteX36" fmla="*/ 357987 w 1636453"/>
              <a:gd name="connsiteY36" fmla="*/ 0 h 467438"/>
              <a:gd name="connsiteX37" fmla="*/ 359242 w 1636453"/>
              <a:gd name="connsiteY37" fmla="*/ 0 h 467438"/>
              <a:gd name="connsiteX38" fmla="*/ 361994 w 1636453"/>
              <a:gd name="connsiteY38" fmla="*/ 0 h 467438"/>
              <a:gd name="connsiteX39" fmla="*/ 371129 w 1636453"/>
              <a:gd name="connsiteY39" fmla="*/ 0 h 467438"/>
              <a:gd name="connsiteX40" fmla="*/ 373263 w 1636453"/>
              <a:gd name="connsiteY40" fmla="*/ 0 h 467438"/>
              <a:gd name="connsiteX41" fmla="*/ 375135 w 1636453"/>
              <a:gd name="connsiteY41" fmla="*/ 0 h 467438"/>
              <a:gd name="connsiteX42" fmla="*/ 377271 w 1636453"/>
              <a:gd name="connsiteY42" fmla="*/ 0 h 467438"/>
              <a:gd name="connsiteX43" fmla="*/ 378453 w 1636453"/>
              <a:gd name="connsiteY43" fmla="*/ 0 h 467438"/>
              <a:gd name="connsiteX44" fmla="*/ 389158 w 1636453"/>
              <a:gd name="connsiteY44" fmla="*/ 0 h 467438"/>
              <a:gd name="connsiteX45" fmla="*/ 392199 w 1636453"/>
              <a:gd name="connsiteY45" fmla="*/ 0 h 467438"/>
              <a:gd name="connsiteX46" fmla="*/ 393730 w 1636453"/>
              <a:gd name="connsiteY46" fmla="*/ 0 h 467438"/>
              <a:gd name="connsiteX47" fmla="*/ 395507 w 1636453"/>
              <a:gd name="connsiteY47" fmla="*/ 0 h 467438"/>
              <a:gd name="connsiteX48" fmla="*/ 395516 w 1636453"/>
              <a:gd name="connsiteY48" fmla="*/ 0 h 467438"/>
              <a:gd name="connsiteX49" fmla="*/ 399514 w 1636453"/>
              <a:gd name="connsiteY49" fmla="*/ 0 h 467438"/>
              <a:gd name="connsiteX50" fmla="*/ 399524 w 1636453"/>
              <a:gd name="connsiteY50" fmla="*/ 0 h 467438"/>
              <a:gd name="connsiteX51" fmla="*/ 399777 w 1636453"/>
              <a:gd name="connsiteY51" fmla="*/ 0 h 467438"/>
              <a:gd name="connsiteX52" fmla="*/ 401555 w 1636453"/>
              <a:gd name="connsiteY52" fmla="*/ 0 h 467438"/>
              <a:gd name="connsiteX53" fmla="*/ 405561 w 1636453"/>
              <a:gd name="connsiteY53" fmla="*/ 0 h 467438"/>
              <a:gd name="connsiteX54" fmla="*/ 410793 w 1636453"/>
              <a:gd name="connsiteY54" fmla="*/ 0 h 467438"/>
              <a:gd name="connsiteX55" fmla="*/ 414801 w 1636453"/>
              <a:gd name="connsiteY55" fmla="*/ 0 h 467438"/>
              <a:gd name="connsiteX56" fmla="*/ 416577 w 1636453"/>
              <a:gd name="connsiteY56" fmla="*/ 0 h 467438"/>
              <a:gd name="connsiteX57" fmla="*/ 416831 w 1636453"/>
              <a:gd name="connsiteY57" fmla="*/ 0 h 467438"/>
              <a:gd name="connsiteX58" fmla="*/ 416840 w 1636453"/>
              <a:gd name="connsiteY58" fmla="*/ 0 h 467438"/>
              <a:gd name="connsiteX59" fmla="*/ 420838 w 1636453"/>
              <a:gd name="connsiteY59" fmla="*/ 0 h 467438"/>
              <a:gd name="connsiteX60" fmla="*/ 420848 w 1636453"/>
              <a:gd name="connsiteY60" fmla="*/ 0 h 467438"/>
              <a:gd name="connsiteX61" fmla="*/ 422625 w 1636453"/>
              <a:gd name="connsiteY61" fmla="*/ 0 h 467438"/>
              <a:gd name="connsiteX62" fmla="*/ 426687 w 1636453"/>
              <a:gd name="connsiteY62" fmla="*/ 0 h 467438"/>
              <a:gd name="connsiteX63" fmla="*/ 432725 w 1636453"/>
              <a:gd name="connsiteY63" fmla="*/ 0 h 467438"/>
              <a:gd name="connsiteX64" fmla="*/ 432735 w 1636453"/>
              <a:gd name="connsiteY64" fmla="*/ 0 h 467438"/>
              <a:gd name="connsiteX65" fmla="*/ 435767 w 1636453"/>
              <a:gd name="connsiteY65" fmla="*/ 0 h 467438"/>
              <a:gd name="connsiteX66" fmla="*/ 437901 w 1636453"/>
              <a:gd name="connsiteY66" fmla="*/ 0 h 467438"/>
              <a:gd name="connsiteX67" fmla="*/ 439084 w 1636453"/>
              <a:gd name="connsiteY67" fmla="*/ 0 h 467438"/>
              <a:gd name="connsiteX68" fmla="*/ 443091 w 1636453"/>
              <a:gd name="connsiteY68" fmla="*/ 0 h 467438"/>
              <a:gd name="connsiteX69" fmla="*/ 448011 w 1636453"/>
              <a:gd name="connsiteY69" fmla="*/ 0 h 467438"/>
              <a:gd name="connsiteX70" fmla="*/ 449788 w 1636453"/>
              <a:gd name="connsiteY70" fmla="*/ 0 h 467438"/>
              <a:gd name="connsiteX71" fmla="*/ 453796 w 1636453"/>
              <a:gd name="connsiteY71" fmla="*/ 0 h 467438"/>
              <a:gd name="connsiteX72" fmla="*/ 454361 w 1636453"/>
              <a:gd name="connsiteY72" fmla="*/ 0 h 467438"/>
              <a:gd name="connsiteX73" fmla="*/ 457113 w 1636453"/>
              <a:gd name="connsiteY73" fmla="*/ 0 h 467438"/>
              <a:gd name="connsiteX74" fmla="*/ 458368 w 1636453"/>
              <a:gd name="connsiteY74" fmla="*/ 0 h 467438"/>
              <a:gd name="connsiteX75" fmla="*/ 460145 w 1636453"/>
              <a:gd name="connsiteY75" fmla="*/ 0 h 467438"/>
              <a:gd name="connsiteX76" fmla="*/ 460154 w 1636453"/>
              <a:gd name="connsiteY76" fmla="*/ 0 h 467438"/>
              <a:gd name="connsiteX77" fmla="*/ 460408 w 1636453"/>
              <a:gd name="connsiteY77" fmla="*/ 0 h 467438"/>
              <a:gd name="connsiteX78" fmla="*/ 464415 w 1636453"/>
              <a:gd name="connsiteY78" fmla="*/ 0 h 467438"/>
              <a:gd name="connsiteX79" fmla="*/ 466193 w 1636453"/>
              <a:gd name="connsiteY79" fmla="*/ 0 h 467438"/>
              <a:gd name="connsiteX80" fmla="*/ 470254 w 1636453"/>
              <a:gd name="connsiteY80" fmla="*/ 0 h 467438"/>
              <a:gd name="connsiteX81" fmla="*/ 472390 w 1636453"/>
              <a:gd name="connsiteY81" fmla="*/ 0 h 467438"/>
              <a:gd name="connsiteX82" fmla="*/ 475431 w 1636453"/>
              <a:gd name="connsiteY82" fmla="*/ 0 h 467438"/>
              <a:gd name="connsiteX83" fmla="*/ 476302 w 1636453"/>
              <a:gd name="connsiteY83" fmla="*/ 0 h 467438"/>
              <a:gd name="connsiteX84" fmla="*/ 478437 w 1636453"/>
              <a:gd name="connsiteY84" fmla="*/ 0 h 467438"/>
              <a:gd name="connsiteX85" fmla="*/ 481469 w 1636453"/>
              <a:gd name="connsiteY85" fmla="*/ 0 h 467438"/>
              <a:gd name="connsiteX86" fmla="*/ 481478 w 1636453"/>
              <a:gd name="connsiteY86" fmla="*/ 0 h 467438"/>
              <a:gd name="connsiteX87" fmla="*/ 487318 w 1636453"/>
              <a:gd name="connsiteY87" fmla="*/ 0 h 467438"/>
              <a:gd name="connsiteX88" fmla="*/ 491325 w 1636453"/>
              <a:gd name="connsiteY88" fmla="*/ 0 h 467438"/>
              <a:gd name="connsiteX89" fmla="*/ 491579 w 1636453"/>
              <a:gd name="connsiteY89" fmla="*/ 0 h 467438"/>
              <a:gd name="connsiteX90" fmla="*/ 493356 w 1636453"/>
              <a:gd name="connsiteY90" fmla="*/ 0 h 467438"/>
              <a:gd name="connsiteX91" fmla="*/ 493365 w 1636453"/>
              <a:gd name="connsiteY91" fmla="*/ 0 h 467438"/>
              <a:gd name="connsiteX92" fmla="*/ 497363 w 1636453"/>
              <a:gd name="connsiteY92" fmla="*/ 0 h 467438"/>
              <a:gd name="connsiteX93" fmla="*/ 497373 w 1636453"/>
              <a:gd name="connsiteY93" fmla="*/ 0 h 467438"/>
              <a:gd name="connsiteX94" fmla="*/ 500680 w 1636453"/>
              <a:gd name="connsiteY94" fmla="*/ 0 h 467438"/>
              <a:gd name="connsiteX95" fmla="*/ 503722 w 1636453"/>
              <a:gd name="connsiteY95" fmla="*/ 0 h 467438"/>
              <a:gd name="connsiteX96" fmla="*/ 508642 w 1636453"/>
              <a:gd name="connsiteY96" fmla="*/ 0 h 467438"/>
              <a:gd name="connsiteX97" fmla="*/ 512649 w 1636453"/>
              <a:gd name="connsiteY97" fmla="*/ 0 h 467438"/>
              <a:gd name="connsiteX98" fmla="*/ 514426 w 1636453"/>
              <a:gd name="connsiteY98" fmla="*/ 0 h 467438"/>
              <a:gd name="connsiteX99" fmla="*/ 515957 w 1636453"/>
              <a:gd name="connsiteY99" fmla="*/ 0 h 467438"/>
              <a:gd name="connsiteX100" fmla="*/ 515967 w 1636453"/>
              <a:gd name="connsiteY100" fmla="*/ 0 h 467438"/>
              <a:gd name="connsiteX101" fmla="*/ 517744 w 1636453"/>
              <a:gd name="connsiteY101" fmla="*/ 0 h 467438"/>
              <a:gd name="connsiteX102" fmla="*/ 518999 w 1636453"/>
              <a:gd name="connsiteY102" fmla="*/ 0 h 467438"/>
              <a:gd name="connsiteX103" fmla="*/ 521751 w 1636453"/>
              <a:gd name="connsiteY103" fmla="*/ 0 h 467438"/>
              <a:gd name="connsiteX104" fmla="*/ 522004 w 1636453"/>
              <a:gd name="connsiteY104" fmla="*/ 0 h 467438"/>
              <a:gd name="connsiteX105" fmla="*/ 525046 w 1636453"/>
              <a:gd name="connsiteY105" fmla="*/ 0 h 467438"/>
              <a:gd name="connsiteX106" fmla="*/ 530886 w 1636453"/>
              <a:gd name="connsiteY106" fmla="*/ 0 h 467438"/>
              <a:gd name="connsiteX107" fmla="*/ 533020 w 1636453"/>
              <a:gd name="connsiteY107" fmla="*/ 0 h 467438"/>
              <a:gd name="connsiteX108" fmla="*/ 534892 w 1636453"/>
              <a:gd name="connsiteY108" fmla="*/ 0 h 467438"/>
              <a:gd name="connsiteX109" fmla="*/ 536933 w 1636453"/>
              <a:gd name="connsiteY109" fmla="*/ 0 h 467438"/>
              <a:gd name="connsiteX110" fmla="*/ 537028 w 1636453"/>
              <a:gd name="connsiteY110" fmla="*/ 0 h 467438"/>
              <a:gd name="connsiteX111" fmla="*/ 539068 w 1636453"/>
              <a:gd name="connsiteY111" fmla="*/ 0 h 467438"/>
              <a:gd name="connsiteX112" fmla="*/ 540940 w 1636453"/>
              <a:gd name="connsiteY112" fmla="*/ 0 h 467438"/>
              <a:gd name="connsiteX113" fmla="*/ 543075 w 1636453"/>
              <a:gd name="connsiteY113" fmla="*/ 0 h 467438"/>
              <a:gd name="connsiteX114" fmla="*/ 548915 w 1636453"/>
              <a:gd name="connsiteY114" fmla="*/ 0 h 467438"/>
              <a:gd name="connsiteX115" fmla="*/ 551956 w 1636453"/>
              <a:gd name="connsiteY115" fmla="*/ 0 h 467438"/>
              <a:gd name="connsiteX116" fmla="*/ 552210 w 1636453"/>
              <a:gd name="connsiteY116" fmla="*/ 0 h 467438"/>
              <a:gd name="connsiteX117" fmla="*/ 554962 w 1636453"/>
              <a:gd name="connsiteY117" fmla="*/ 0 h 467438"/>
              <a:gd name="connsiteX118" fmla="*/ 556217 w 1636453"/>
              <a:gd name="connsiteY118" fmla="*/ 0 h 467438"/>
              <a:gd name="connsiteX119" fmla="*/ 557994 w 1636453"/>
              <a:gd name="connsiteY119" fmla="*/ 0 h 467438"/>
              <a:gd name="connsiteX120" fmla="*/ 558003 w 1636453"/>
              <a:gd name="connsiteY120" fmla="*/ 0 h 467438"/>
              <a:gd name="connsiteX121" fmla="*/ 559534 w 1636453"/>
              <a:gd name="connsiteY121" fmla="*/ 0 h 467438"/>
              <a:gd name="connsiteX122" fmla="*/ 561312 w 1636453"/>
              <a:gd name="connsiteY122" fmla="*/ 0 h 467438"/>
              <a:gd name="connsiteX123" fmla="*/ 565318 w 1636453"/>
              <a:gd name="connsiteY123" fmla="*/ 0 h 467438"/>
              <a:gd name="connsiteX124" fmla="*/ 570239 w 1636453"/>
              <a:gd name="connsiteY124" fmla="*/ 0 h 467438"/>
              <a:gd name="connsiteX125" fmla="*/ 573280 w 1636453"/>
              <a:gd name="connsiteY125" fmla="*/ 0 h 467438"/>
              <a:gd name="connsiteX126" fmla="*/ 576588 w 1636453"/>
              <a:gd name="connsiteY126" fmla="*/ 0 h 467438"/>
              <a:gd name="connsiteX127" fmla="*/ 576597 w 1636453"/>
              <a:gd name="connsiteY127" fmla="*/ 0 h 467438"/>
              <a:gd name="connsiteX128" fmla="*/ 580595 w 1636453"/>
              <a:gd name="connsiteY128" fmla="*/ 0 h 467438"/>
              <a:gd name="connsiteX129" fmla="*/ 580605 w 1636453"/>
              <a:gd name="connsiteY129" fmla="*/ 0 h 467438"/>
              <a:gd name="connsiteX130" fmla="*/ 582382 w 1636453"/>
              <a:gd name="connsiteY130" fmla="*/ 0 h 467438"/>
              <a:gd name="connsiteX131" fmla="*/ 582636 w 1636453"/>
              <a:gd name="connsiteY131" fmla="*/ 0 h 467438"/>
              <a:gd name="connsiteX132" fmla="*/ 586642 w 1636453"/>
              <a:gd name="connsiteY132" fmla="*/ 0 h 467438"/>
              <a:gd name="connsiteX133" fmla="*/ 592482 w 1636453"/>
              <a:gd name="connsiteY133" fmla="*/ 0 h 467438"/>
              <a:gd name="connsiteX134" fmla="*/ 592492 w 1636453"/>
              <a:gd name="connsiteY134" fmla="*/ 0 h 467438"/>
              <a:gd name="connsiteX135" fmla="*/ 595524 w 1636453"/>
              <a:gd name="connsiteY135" fmla="*/ 0 h 467438"/>
              <a:gd name="connsiteX136" fmla="*/ 597658 w 1636453"/>
              <a:gd name="connsiteY136" fmla="*/ 0 h 467438"/>
              <a:gd name="connsiteX137" fmla="*/ 598529 w 1636453"/>
              <a:gd name="connsiteY137" fmla="*/ 0 h 467438"/>
              <a:gd name="connsiteX138" fmla="*/ 601571 w 1636453"/>
              <a:gd name="connsiteY138" fmla="*/ 0 h 467438"/>
              <a:gd name="connsiteX139" fmla="*/ 603706 w 1636453"/>
              <a:gd name="connsiteY139" fmla="*/ 0 h 467438"/>
              <a:gd name="connsiteX140" fmla="*/ 607768 w 1636453"/>
              <a:gd name="connsiteY140" fmla="*/ 0 h 467438"/>
              <a:gd name="connsiteX141" fmla="*/ 609545 w 1636453"/>
              <a:gd name="connsiteY141" fmla="*/ 0 h 467438"/>
              <a:gd name="connsiteX142" fmla="*/ 613553 w 1636453"/>
              <a:gd name="connsiteY142" fmla="*/ 0 h 467438"/>
              <a:gd name="connsiteX143" fmla="*/ 613806 w 1636453"/>
              <a:gd name="connsiteY143" fmla="*/ 0 h 467438"/>
              <a:gd name="connsiteX144" fmla="*/ 613816 w 1636453"/>
              <a:gd name="connsiteY144" fmla="*/ 0 h 467438"/>
              <a:gd name="connsiteX145" fmla="*/ 615592 w 1636453"/>
              <a:gd name="connsiteY145" fmla="*/ 0 h 467438"/>
              <a:gd name="connsiteX146" fmla="*/ 616848 w 1636453"/>
              <a:gd name="connsiteY146" fmla="*/ 0 h 467438"/>
              <a:gd name="connsiteX147" fmla="*/ 619600 w 1636453"/>
              <a:gd name="connsiteY147" fmla="*/ 0 h 467438"/>
              <a:gd name="connsiteX148" fmla="*/ 620165 w 1636453"/>
              <a:gd name="connsiteY148" fmla="*/ 0 h 467438"/>
              <a:gd name="connsiteX149" fmla="*/ 624172 w 1636453"/>
              <a:gd name="connsiteY149" fmla="*/ 0 h 467438"/>
              <a:gd name="connsiteX150" fmla="*/ 625950 w 1636453"/>
              <a:gd name="connsiteY150" fmla="*/ 0 h 467438"/>
              <a:gd name="connsiteX151" fmla="*/ 630869 w 1636453"/>
              <a:gd name="connsiteY151" fmla="*/ 0 h 467438"/>
              <a:gd name="connsiteX152" fmla="*/ 634877 w 1636453"/>
              <a:gd name="connsiteY152" fmla="*/ 0 h 467438"/>
              <a:gd name="connsiteX153" fmla="*/ 636059 w 1636453"/>
              <a:gd name="connsiteY153" fmla="*/ 0 h 467438"/>
              <a:gd name="connsiteX154" fmla="*/ 638194 w 1636453"/>
              <a:gd name="connsiteY154" fmla="*/ 0 h 467438"/>
              <a:gd name="connsiteX155" fmla="*/ 641226 w 1636453"/>
              <a:gd name="connsiteY155" fmla="*/ 0 h 467438"/>
              <a:gd name="connsiteX156" fmla="*/ 641235 w 1636453"/>
              <a:gd name="connsiteY156" fmla="*/ 0 h 467438"/>
              <a:gd name="connsiteX157" fmla="*/ 647274 w 1636453"/>
              <a:gd name="connsiteY157" fmla="*/ 0 h 467438"/>
              <a:gd name="connsiteX158" fmla="*/ 651336 w 1636453"/>
              <a:gd name="connsiteY158" fmla="*/ 0 h 467438"/>
              <a:gd name="connsiteX159" fmla="*/ 653113 w 1636453"/>
              <a:gd name="connsiteY159" fmla="*/ 0 h 467438"/>
              <a:gd name="connsiteX160" fmla="*/ 653122 w 1636453"/>
              <a:gd name="connsiteY160" fmla="*/ 0 h 467438"/>
              <a:gd name="connsiteX161" fmla="*/ 657120 w 1636453"/>
              <a:gd name="connsiteY161" fmla="*/ 0 h 467438"/>
              <a:gd name="connsiteX162" fmla="*/ 657130 w 1636453"/>
              <a:gd name="connsiteY162" fmla="*/ 0 h 467438"/>
              <a:gd name="connsiteX163" fmla="*/ 657383 w 1636453"/>
              <a:gd name="connsiteY163" fmla="*/ 0 h 467438"/>
              <a:gd name="connsiteX164" fmla="*/ 659160 w 1636453"/>
              <a:gd name="connsiteY164" fmla="*/ 0 h 467438"/>
              <a:gd name="connsiteX165" fmla="*/ 663167 w 1636453"/>
              <a:gd name="connsiteY165" fmla="*/ 0 h 467438"/>
              <a:gd name="connsiteX166" fmla="*/ 668399 w 1636453"/>
              <a:gd name="connsiteY166" fmla="*/ 0 h 467438"/>
              <a:gd name="connsiteX167" fmla="*/ 672406 w 1636453"/>
              <a:gd name="connsiteY167" fmla="*/ 0 h 467438"/>
              <a:gd name="connsiteX168" fmla="*/ 674183 w 1636453"/>
              <a:gd name="connsiteY168" fmla="*/ 0 h 467438"/>
              <a:gd name="connsiteX169" fmla="*/ 674437 w 1636453"/>
              <a:gd name="connsiteY169" fmla="*/ 0 h 467438"/>
              <a:gd name="connsiteX170" fmla="*/ 674446 w 1636453"/>
              <a:gd name="connsiteY170" fmla="*/ 0 h 467438"/>
              <a:gd name="connsiteX171" fmla="*/ 678444 w 1636453"/>
              <a:gd name="connsiteY171" fmla="*/ 0 h 467438"/>
              <a:gd name="connsiteX172" fmla="*/ 678454 w 1636453"/>
              <a:gd name="connsiteY172" fmla="*/ 0 h 467438"/>
              <a:gd name="connsiteX173" fmla="*/ 680230 w 1636453"/>
              <a:gd name="connsiteY173" fmla="*/ 0 h 467438"/>
              <a:gd name="connsiteX174" fmla="*/ 681761 w 1636453"/>
              <a:gd name="connsiteY174" fmla="*/ 0 h 467438"/>
              <a:gd name="connsiteX175" fmla="*/ 684803 w 1636453"/>
              <a:gd name="connsiteY175" fmla="*/ 0 h 467438"/>
              <a:gd name="connsiteX176" fmla="*/ 695507 w 1636453"/>
              <a:gd name="connsiteY176" fmla="*/ 0 h 467438"/>
              <a:gd name="connsiteX177" fmla="*/ 696690 w 1636453"/>
              <a:gd name="connsiteY177" fmla="*/ 0 h 467438"/>
              <a:gd name="connsiteX178" fmla="*/ 698825 w 1636453"/>
              <a:gd name="connsiteY178" fmla="*/ 0 h 467438"/>
              <a:gd name="connsiteX179" fmla="*/ 700697 w 1636453"/>
              <a:gd name="connsiteY179" fmla="*/ 0 h 467438"/>
              <a:gd name="connsiteX180" fmla="*/ 702832 w 1636453"/>
              <a:gd name="connsiteY180" fmla="*/ 0 h 467438"/>
              <a:gd name="connsiteX181" fmla="*/ 711967 w 1636453"/>
              <a:gd name="connsiteY181" fmla="*/ 0 h 467438"/>
              <a:gd name="connsiteX182" fmla="*/ 714719 w 1636453"/>
              <a:gd name="connsiteY182" fmla="*/ 0 h 467438"/>
              <a:gd name="connsiteX183" fmla="*/ 715974 w 1636453"/>
              <a:gd name="connsiteY183" fmla="*/ 0 h 467438"/>
              <a:gd name="connsiteX184" fmla="*/ 717751 w 1636453"/>
              <a:gd name="connsiteY184" fmla="*/ 0 h 467438"/>
              <a:gd name="connsiteX185" fmla="*/ 717760 w 1636453"/>
              <a:gd name="connsiteY185" fmla="*/ 0 h 467438"/>
              <a:gd name="connsiteX186" fmla="*/ 718014 w 1636453"/>
              <a:gd name="connsiteY186" fmla="*/ 0 h 467438"/>
              <a:gd name="connsiteX187" fmla="*/ 722021 w 1636453"/>
              <a:gd name="connsiteY187" fmla="*/ 0 h 467438"/>
              <a:gd name="connsiteX188" fmla="*/ 723798 w 1636453"/>
              <a:gd name="connsiteY188" fmla="*/ 0 h 467438"/>
              <a:gd name="connsiteX189" fmla="*/ 729996 w 1636453"/>
              <a:gd name="connsiteY189" fmla="*/ 0 h 467438"/>
              <a:gd name="connsiteX190" fmla="*/ 733037 w 1636453"/>
              <a:gd name="connsiteY190" fmla="*/ 0 h 467438"/>
              <a:gd name="connsiteX191" fmla="*/ 736043 w 1636453"/>
              <a:gd name="connsiteY191" fmla="*/ 0 h 467438"/>
              <a:gd name="connsiteX192" fmla="*/ 739075 w 1636453"/>
              <a:gd name="connsiteY192" fmla="*/ 0 h 467438"/>
              <a:gd name="connsiteX193" fmla="*/ 739084 w 1636453"/>
              <a:gd name="connsiteY193" fmla="*/ 0 h 467438"/>
              <a:gd name="connsiteX194" fmla="*/ 742393 w 1636453"/>
              <a:gd name="connsiteY194" fmla="*/ 0 h 467438"/>
              <a:gd name="connsiteX195" fmla="*/ 746399 w 1636453"/>
              <a:gd name="connsiteY195" fmla="*/ 0 h 467438"/>
              <a:gd name="connsiteX196" fmla="*/ 758286 w 1636453"/>
              <a:gd name="connsiteY196" fmla="*/ 0 h 467438"/>
              <a:gd name="connsiteX197" fmla="*/ 761328 w 1636453"/>
              <a:gd name="connsiteY197" fmla="*/ 0 h 467438"/>
              <a:gd name="connsiteX198" fmla="*/ 763463 w 1636453"/>
              <a:gd name="connsiteY198" fmla="*/ 0 h 467438"/>
              <a:gd name="connsiteX199" fmla="*/ 773563 w 1636453"/>
              <a:gd name="connsiteY199" fmla="*/ 0 h 467438"/>
              <a:gd name="connsiteX200" fmla="*/ 773573 w 1636453"/>
              <a:gd name="connsiteY200" fmla="*/ 0 h 467438"/>
              <a:gd name="connsiteX201" fmla="*/ 775349 w 1636453"/>
              <a:gd name="connsiteY201" fmla="*/ 0 h 467438"/>
              <a:gd name="connsiteX202" fmla="*/ 776605 w 1636453"/>
              <a:gd name="connsiteY202" fmla="*/ 0 h 467438"/>
              <a:gd name="connsiteX203" fmla="*/ 779357 w 1636453"/>
              <a:gd name="connsiteY203" fmla="*/ 0 h 467438"/>
              <a:gd name="connsiteX204" fmla="*/ 779610 w 1636453"/>
              <a:gd name="connsiteY204" fmla="*/ 0 h 467438"/>
              <a:gd name="connsiteX205" fmla="*/ 782652 w 1636453"/>
              <a:gd name="connsiteY205" fmla="*/ 0 h 467438"/>
              <a:gd name="connsiteX206" fmla="*/ 790626 w 1636453"/>
              <a:gd name="connsiteY206" fmla="*/ 0 h 467438"/>
              <a:gd name="connsiteX207" fmla="*/ 794634 w 1636453"/>
              <a:gd name="connsiteY207" fmla="*/ 0 h 467438"/>
              <a:gd name="connsiteX208" fmla="*/ 796213 w 1636453"/>
              <a:gd name="connsiteY208" fmla="*/ 0 h 467438"/>
              <a:gd name="connsiteX209" fmla="*/ 796466 w 1636453"/>
              <a:gd name="connsiteY209" fmla="*/ 0 h 467438"/>
              <a:gd name="connsiteX210" fmla="*/ 796673 w 1636453"/>
              <a:gd name="connsiteY210" fmla="*/ 0 h 467438"/>
              <a:gd name="connsiteX211" fmla="*/ 798243 w 1636453"/>
              <a:gd name="connsiteY211" fmla="*/ 0 h 467438"/>
              <a:gd name="connsiteX212" fmla="*/ 798252 w 1636453"/>
              <a:gd name="connsiteY212" fmla="*/ 0 h 467438"/>
              <a:gd name="connsiteX213" fmla="*/ 800681 w 1636453"/>
              <a:gd name="connsiteY213" fmla="*/ 0 h 467438"/>
              <a:gd name="connsiteX214" fmla="*/ 802250 w 1636453"/>
              <a:gd name="connsiteY214" fmla="*/ 0 h 467438"/>
              <a:gd name="connsiteX215" fmla="*/ 802260 w 1636453"/>
              <a:gd name="connsiteY215" fmla="*/ 0 h 467438"/>
              <a:gd name="connsiteX216" fmla="*/ 807031 w 1636453"/>
              <a:gd name="connsiteY216" fmla="*/ 0 h 467438"/>
              <a:gd name="connsiteX217" fmla="*/ 813529 w 1636453"/>
              <a:gd name="connsiteY217" fmla="*/ 0 h 467438"/>
              <a:gd name="connsiteX218" fmla="*/ 817140 w 1636453"/>
              <a:gd name="connsiteY218" fmla="*/ 0 h 467438"/>
              <a:gd name="connsiteX219" fmla="*/ 817537 w 1636453"/>
              <a:gd name="connsiteY219" fmla="*/ 0 h 467438"/>
              <a:gd name="connsiteX220" fmla="*/ 818917 w 1636453"/>
              <a:gd name="connsiteY220" fmla="*/ 0 h 467438"/>
              <a:gd name="connsiteX221" fmla="*/ 819313 w 1636453"/>
              <a:gd name="connsiteY221" fmla="*/ 0 h 467438"/>
              <a:gd name="connsiteX222" fmla="*/ 822924 w 1636453"/>
              <a:gd name="connsiteY222" fmla="*/ 0 h 467438"/>
              <a:gd name="connsiteX223" fmla="*/ 829423 w 1636453"/>
              <a:gd name="connsiteY223" fmla="*/ 0 h 467438"/>
              <a:gd name="connsiteX224" fmla="*/ 834194 w 1636453"/>
              <a:gd name="connsiteY224" fmla="*/ 0 h 467438"/>
              <a:gd name="connsiteX225" fmla="*/ 834203 w 1636453"/>
              <a:gd name="connsiteY225" fmla="*/ 0 h 467438"/>
              <a:gd name="connsiteX226" fmla="*/ 835773 w 1636453"/>
              <a:gd name="connsiteY226" fmla="*/ 0 h 467438"/>
              <a:gd name="connsiteX227" fmla="*/ 838201 w 1636453"/>
              <a:gd name="connsiteY227" fmla="*/ 0 h 467438"/>
              <a:gd name="connsiteX228" fmla="*/ 838211 w 1636453"/>
              <a:gd name="connsiteY228" fmla="*/ 0 h 467438"/>
              <a:gd name="connsiteX229" fmla="*/ 839780 w 1636453"/>
              <a:gd name="connsiteY229" fmla="*/ 0 h 467438"/>
              <a:gd name="connsiteX230" fmla="*/ 839987 w 1636453"/>
              <a:gd name="connsiteY230" fmla="*/ 0 h 467438"/>
              <a:gd name="connsiteX231" fmla="*/ 840241 w 1636453"/>
              <a:gd name="connsiteY231" fmla="*/ 0 h 467438"/>
              <a:gd name="connsiteX232" fmla="*/ 841820 w 1636453"/>
              <a:gd name="connsiteY232" fmla="*/ 0 h 467438"/>
              <a:gd name="connsiteX233" fmla="*/ 845827 w 1636453"/>
              <a:gd name="connsiteY233" fmla="*/ 0 h 467438"/>
              <a:gd name="connsiteX234" fmla="*/ 853802 w 1636453"/>
              <a:gd name="connsiteY234" fmla="*/ 0 h 467438"/>
              <a:gd name="connsiteX235" fmla="*/ 856843 w 1636453"/>
              <a:gd name="connsiteY235" fmla="*/ 0 h 467438"/>
              <a:gd name="connsiteX236" fmla="*/ 857097 w 1636453"/>
              <a:gd name="connsiteY236" fmla="*/ 0 h 467438"/>
              <a:gd name="connsiteX237" fmla="*/ 859849 w 1636453"/>
              <a:gd name="connsiteY237" fmla="*/ 0 h 467438"/>
              <a:gd name="connsiteX238" fmla="*/ 861104 w 1636453"/>
              <a:gd name="connsiteY238" fmla="*/ 0 h 467438"/>
              <a:gd name="connsiteX239" fmla="*/ 862881 w 1636453"/>
              <a:gd name="connsiteY239" fmla="*/ 0 h 467438"/>
              <a:gd name="connsiteX240" fmla="*/ 862890 w 1636453"/>
              <a:gd name="connsiteY240" fmla="*/ 0 h 467438"/>
              <a:gd name="connsiteX241" fmla="*/ 872990 w 1636453"/>
              <a:gd name="connsiteY241" fmla="*/ 0 h 467438"/>
              <a:gd name="connsiteX242" fmla="*/ 875126 w 1636453"/>
              <a:gd name="connsiteY242" fmla="*/ 0 h 467438"/>
              <a:gd name="connsiteX243" fmla="*/ 878167 w 1636453"/>
              <a:gd name="connsiteY243" fmla="*/ 0 h 467438"/>
              <a:gd name="connsiteX244" fmla="*/ 890054 w 1636453"/>
              <a:gd name="connsiteY244" fmla="*/ 0 h 467438"/>
              <a:gd name="connsiteX245" fmla="*/ 894061 w 1636453"/>
              <a:gd name="connsiteY245" fmla="*/ 0 h 467438"/>
              <a:gd name="connsiteX246" fmla="*/ 897369 w 1636453"/>
              <a:gd name="connsiteY246" fmla="*/ 0 h 467438"/>
              <a:gd name="connsiteX247" fmla="*/ 897379 w 1636453"/>
              <a:gd name="connsiteY247" fmla="*/ 0 h 467438"/>
              <a:gd name="connsiteX248" fmla="*/ 900411 w 1636453"/>
              <a:gd name="connsiteY248" fmla="*/ 0 h 467438"/>
              <a:gd name="connsiteX249" fmla="*/ 903416 w 1636453"/>
              <a:gd name="connsiteY249" fmla="*/ 0 h 467438"/>
              <a:gd name="connsiteX250" fmla="*/ 906458 w 1636453"/>
              <a:gd name="connsiteY250" fmla="*/ 0 h 467438"/>
              <a:gd name="connsiteX251" fmla="*/ 912656 w 1636453"/>
              <a:gd name="connsiteY251" fmla="*/ 0 h 467438"/>
              <a:gd name="connsiteX252" fmla="*/ 914432 w 1636453"/>
              <a:gd name="connsiteY252" fmla="*/ 0 h 467438"/>
              <a:gd name="connsiteX253" fmla="*/ 918440 w 1636453"/>
              <a:gd name="connsiteY253" fmla="*/ 0 h 467438"/>
              <a:gd name="connsiteX254" fmla="*/ 918693 w 1636453"/>
              <a:gd name="connsiteY254" fmla="*/ 0 h 467438"/>
              <a:gd name="connsiteX255" fmla="*/ 918703 w 1636453"/>
              <a:gd name="connsiteY255" fmla="*/ 0 h 467438"/>
              <a:gd name="connsiteX256" fmla="*/ 920480 w 1636453"/>
              <a:gd name="connsiteY256" fmla="*/ 0 h 467438"/>
              <a:gd name="connsiteX257" fmla="*/ 921735 w 1636453"/>
              <a:gd name="connsiteY257" fmla="*/ 0 h 467438"/>
              <a:gd name="connsiteX258" fmla="*/ 924487 w 1636453"/>
              <a:gd name="connsiteY258" fmla="*/ 0 h 467438"/>
              <a:gd name="connsiteX259" fmla="*/ 933622 w 1636453"/>
              <a:gd name="connsiteY259" fmla="*/ 0 h 467438"/>
              <a:gd name="connsiteX260" fmla="*/ 935756 w 1636453"/>
              <a:gd name="connsiteY260" fmla="*/ 0 h 467438"/>
              <a:gd name="connsiteX261" fmla="*/ 937628 w 1636453"/>
              <a:gd name="connsiteY261" fmla="*/ 0 h 467438"/>
              <a:gd name="connsiteX262" fmla="*/ 939764 w 1636453"/>
              <a:gd name="connsiteY262" fmla="*/ 0 h 467438"/>
              <a:gd name="connsiteX263" fmla="*/ 940946 w 1636453"/>
              <a:gd name="connsiteY263" fmla="*/ 0 h 467438"/>
              <a:gd name="connsiteX264" fmla="*/ 951651 w 1636453"/>
              <a:gd name="connsiteY264" fmla="*/ 0 h 467438"/>
              <a:gd name="connsiteX265" fmla="*/ 954692 w 1636453"/>
              <a:gd name="connsiteY265" fmla="*/ 0 h 467438"/>
              <a:gd name="connsiteX266" fmla="*/ 956223 w 1636453"/>
              <a:gd name="connsiteY266" fmla="*/ 0 h 467438"/>
              <a:gd name="connsiteX267" fmla="*/ 958000 w 1636453"/>
              <a:gd name="connsiteY267" fmla="*/ 0 h 467438"/>
              <a:gd name="connsiteX268" fmla="*/ 958009 w 1636453"/>
              <a:gd name="connsiteY268" fmla="*/ 0 h 467438"/>
              <a:gd name="connsiteX269" fmla="*/ 962007 w 1636453"/>
              <a:gd name="connsiteY269" fmla="*/ 0 h 467438"/>
              <a:gd name="connsiteX270" fmla="*/ 962017 w 1636453"/>
              <a:gd name="connsiteY270" fmla="*/ 0 h 467438"/>
              <a:gd name="connsiteX271" fmla="*/ 962270 w 1636453"/>
              <a:gd name="connsiteY271" fmla="*/ 0 h 467438"/>
              <a:gd name="connsiteX272" fmla="*/ 964048 w 1636453"/>
              <a:gd name="connsiteY272" fmla="*/ 0 h 467438"/>
              <a:gd name="connsiteX273" fmla="*/ 968054 w 1636453"/>
              <a:gd name="connsiteY273" fmla="*/ 0 h 467438"/>
              <a:gd name="connsiteX274" fmla="*/ 973286 w 1636453"/>
              <a:gd name="connsiteY274" fmla="*/ 0 h 467438"/>
              <a:gd name="connsiteX275" fmla="*/ 977294 w 1636453"/>
              <a:gd name="connsiteY275" fmla="*/ 0 h 467438"/>
              <a:gd name="connsiteX276" fmla="*/ 979070 w 1636453"/>
              <a:gd name="connsiteY276" fmla="*/ 0 h 467438"/>
              <a:gd name="connsiteX277" fmla="*/ 979324 w 1636453"/>
              <a:gd name="connsiteY277" fmla="*/ 0 h 467438"/>
              <a:gd name="connsiteX278" fmla="*/ 979333 w 1636453"/>
              <a:gd name="connsiteY278" fmla="*/ 0 h 467438"/>
              <a:gd name="connsiteX279" fmla="*/ 983331 w 1636453"/>
              <a:gd name="connsiteY279" fmla="*/ 0 h 467438"/>
              <a:gd name="connsiteX280" fmla="*/ 983341 w 1636453"/>
              <a:gd name="connsiteY280" fmla="*/ 0 h 467438"/>
              <a:gd name="connsiteX281" fmla="*/ 985118 w 1636453"/>
              <a:gd name="connsiteY281" fmla="*/ 0 h 467438"/>
              <a:gd name="connsiteX282" fmla="*/ 989180 w 1636453"/>
              <a:gd name="connsiteY282" fmla="*/ 0 h 467438"/>
              <a:gd name="connsiteX283" fmla="*/ 995218 w 1636453"/>
              <a:gd name="connsiteY283" fmla="*/ 0 h 467438"/>
              <a:gd name="connsiteX284" fmla="*/ 995228 w 1636453"/>
              <a:gd name="connsiteY284" fmla="*/ 0 h 467438"/>
              <a:gd name="connsiteX285" fmla="*/ 998260 w 1636453"/>
              <a:gd name="connsiteY285" fmla="*/ 0 h 467438"/>
              <a:gd name="connsiteX286" fmla="*/ 1000394 w 1636453"/>
              <a:gd name="connsiteY286" fmla="*/ 0 h 467438"/>
              <a:gd name="connsiteX287" fmla="*/ 1001577 w 1636453"/>
              <a:gd name="connsiteY287" fmla="*/ 0 h 467438"/>
              <a:gd name="connsiteX288" fmla="*/ 1005584 w 1636453"/>
              <a:gd name="connsiteY288" fmla="*/ 0 h 467438"/>
              <a:gd name="connsiteX289" fmla="*/ 1010504 w 1636453"/>
              <a:gd name="connsiteY289" fmla="*/ 0 h 467438"/>
              <a:gd name="connsiteX290" fmla="*/ 1012281 w 1636453"/>
              <a:gd name="connsiteY290" fmla="*/ 0 h 467438"/>
              <a:gd name="connsiteX291" fmla="*/ 1016289 w 1636453"/>
              <a:gd name="connsiteY291" fmla="*/ 0 h 467438"/>
              <a:gd name="connsiteX292" fmla="*/ 1016854 w 1636453"/>
              <a:gd name="connsiteY292" fmla="*/ 0 h 467438"/>
              <a:gd name="connsiteX293" fmla="*/ 1019606 w 1636453"/>
              <a:gd name="connsiteY293" fmla="*/ 0 h 467438"/>
              <a:gd name="connsiteX294" fmla="*/ 1020861 w 1636453"/>
              <a:gd name="connsiteY294" fmla="*/ 0 h 467438"/>
              <a:gd name="connsiteX295" fmla="*/ 1022638 w 1636453"/>
              <a:gd name="connsiteY295" fmla="*/ 0 h 467438"/>
              <a:gd name="connsiteX296" fmla="*/ 1022647 w 1636453"/>
              <a:gd name="connsiteY296" fmla="*/ 0 h 467438"/>
              <a:gd name="connsiteX297" fmla="*/ 1022901 w 1636453"/>
              <a:gd name="connsiteY297" fmla="*/ 0 h 467438"/>
              <a:gd name="connsiteX298" fmla="*/ 1026908 w 1636453"/>
              <a:gd name="connsiteY298" fmla="*/ 0 h 467438"/>
              <a:gd name="connsiteX299" fmla="*/ 1028686 w 1636453"/>
              <a:gd name="connsiteY299" fmla="*/ 0 h 467438"/>
              <a:gd name="connsiteX300" fmla="*/ 1032747 w 1636453"/>
              <a:gd name="connsiteY300" fmla="*/ 0 h 467438"/>
              <a:gd name="connsiteX301" fmla="*/ 1034883 w 1636453"/>
              <a:gd name="connsiteY301" fmla="*/ 0 h 467438"/>
              <a:gd name="connsiteX302" fmla="*/ 1037924 w 1636453"/>
              <a:gd name="connsiteY302" fmla="*/ 0 h 467438"/>
              <a:gd name="connsiteX303" fmla="*/ 1038795 w 1636453"/>
              <a:gd name="connsiteY303" fmla="*/ 0 h 467438"/>
              <a:gd name="connsiteX304" fmla="*/ 1040930 w 1636453"/>
              <a:gd name="connsiteY304" fmla="*/ 0 h 467438"/>
              <a:gd name="connsiteX305" fmla="*/ 1043962 w 1636453"/>
              <a:gd name="connsiteY305" fmla="*/ 0 h 467438"/>
              <a:gd name="connsiteX306" fmla="*/ 1043971 w 1636453"/>
              <a:gd name="connsiteY306" fmla="*/ 0 h 467438"/>
              <a:gd name="connsiteX307" fmla="*/ 1049811 w 1636453"/>
              <a:gd name="connsiteY307" fmla="*/ 0 h 467438"/>
              <a:gd name="connsiteX308" fmla="*/ 1053818 w 1636453"/>
              <a:gd name="connsiteY308" fmla="*/ 0 h 467438"/>
              <a:gd name="connsiteX309" fmla="*/ 1054072 w 1636453"/>
              <a:gd name="connsiteY309" fmla="*/ 0 h 467438"/>
              <a:gd name="connsiteX310" fmla="*/ 1055849 w 1636453"/>
              <a:gd name="connsiteY310" fmla="*/ 0 h 467438"/>
              <a:gd name="connsiteX311" fmla="*/ 1055858 w 1636453"/>
              <a:gd name="connsiteY311" fmla="*/ 0 h 467438"/>
              <a:gd name="connsiteX312" fmla="*/ 1059856 w 1636453"/>
              <a:gd name="connsiteY312" fmla="*/ 0 h 467438"/>
              <a:gd name="connsiteX313" fmla="*/ 1059866 w 1636453"/>
              <a:gd name="connsiteY313" fmla="*/ 0 h 467438"/>
              <a:gd name="connsiteX314" fmla="*/ 1063173 w 1636453"/>
              <a:gd name="connsiteY314" fmla="*/ 0 h 467438"/>
              <a:gd name="connsiteX315" fmla="*/ 1066215 w 1636453"/>
              <a:gd name="connsiteY315" fmla="*/ 0 h 467438"/>
              <a:gd name="connsiteX316" fmla="*/ 1071135 w 1636453"/>
              <a:gd name="connsiteY316" fmla="*/ 0 h 467438"/>
              <a:gd name="connsiteX317" fmla="*/ 1075142 w 1636453"/>
              <a:gd name="connsiteY317" fmla="*/ 0 h 467438"/>
              <a:gd name="connsiteX318" fmla="*/ 1076919 w 1636453"/>
              <a:gd name="connsiteY318" fmla="*/ 0 h 467438"/>
              <a:gd name="connsiteX319" fmla="*/ 1078450 w 1636453"/>
              <a:gd name="connsiteY319" fmla="*/ 0 h 467438"/>
              <a:gd name="connsiteX320" fmla="*/ 1078460 w 1636453"/>
              <a:gd name="connsiteY320" fmla="*/ 0 h 467438"/>
              <a:gd name="connsiteX321" fmla="*/ 1080237 w 1636453"/>
              <a:gd name="connsiteY321" fmla="*/ 0 h 467438"/>
              <a:gd name="connsiteX322" fmla="*/ 1081492 w 1636453"/>
              <a:gd name="connsiteY322" fmla="*/ 0 h 467438"/>
              <a:gd name="connsiteX323" fmla="*/ 1084244 w 1636453"/>
              <a:gd name="connsiteY323" fmla="*/ 0 h 467438"/>
              <a:gd name="connsiteX324" fmla="*/ 1084497 w 1636453"/>
              <a:gd name="connsiteY324" fmla="*/ 0 h 467438"/>
              <a:gd name="connsiteX325" fmla="*/ 1087539 w 1636453"/>
              <a:gd name="connsiteY325" fmla="*/ 0 h 467438"/>
              <a:gd name="connsiteX326" fmla="*/ 1093379 w 1636453"/>
              <a:gd name="connsiteY326" fmla="*/ 0 h 467438"/>
              <a:gd name="connsiteX327" fmla="*/ 1095513 w 1636453"/>
              <a:gd name="connsiteY327" fmla="*/ 0 h 467438"/>
              <a:gd name="connsiteX328" fmla="*/ 1097385 w 1636453"/>
              <a:gd name="connsiteY328" fmla="*/ 0 h 467438"/>
              <a:gd name="connsiteX329" fmla="*/ 1099426 w 1636453"/>
              <a:gd name="connsiteY329" fmla="*/ 0 h 467438"/>
              <a:gd name="connsiteX330" fmla="*/ 1099521 w 1636453"/>
              <a:gd name="connsiteY330" fmla="*/ 0 h 467438"/>
              <a:gd name="connsiteX331" fmla="*/ 1101561 w 1636453"/>
              <a:gd name="connsiteY331" fmla="*/ 0 h 467438"/>
              <a:gd name="connsiteX332" fmla="*/ 1103433 w 1636453"/>
              <a:gd name="connsiteY332" fmla="*/ 0 h 467438"/>
              <a:gd name="connsiteX333" fmla="*/ 1105568 w 1636453"/>
              <a:gd name="connsiteY333" fmla="*/ 0 h 467438"/>
              <a:gd name="connsiteX334" fmla="*/ 1111408 w 1636453"/>
              <a:gd name="connsiteY334" fmla="*/ 0 h 467438"/>
              <a:gd name="connsiteX335" fmla="*/ 1114449 w 1636453"/>
              <a:gd name="connsiteY335" fmla="*/ 0 h 467438"/>
              <a:gd name="connsiteX336" fmla="*/ 1114703 w 1636453"/>
              <a:gd name="connsiteY336" fmla="*/ 0 h 467438"/>
              <a:gd name="connsiteX337" fmla="*/ 1117455 w 1636453"/>
              <a:gd name="connsiteY337" fmla="*/ 0 h 467438"/>
              <a:gd name="connsiteX338" fmla="*/ 1118710 w 1636453"/>
              <a:gd name="connsiteY338" fmla="*/ 0 h 467438"/>
              <a:gd name="connsiteX339" fmla="*/ 1120487 w 1636453"/>
              <a:gd name="connsiteY339" fmla="*/ 0 h 467438"/>
              <a:gd name="connsiteX340" fmla="*/ 1120496 w 1636453"/>
              <a:gd name="connsiteY340" fmla="*/ 0 h 467438"/>
              <a:gd name="connsiteX341" fmla="*/ 1122027 w 1636453"/>
              <a:gd name="connsiteY341" fmla="*/ 0 h 467438"/>
              <a:gd name="connsiteX342" fmla="*/ 1123805 w 1636453"/>
              <a:gd name="connsiteY342" fmla="*/ 0 h 467438"/>
              <a:gd name="connsiteX343" fmla="*/ 1127811 w 1636453"/>
              <a:gd name="connsiteY343" fmla="*/ 0 h 467438"/>
              <a:gd name="connsiteX344" fmla="*/ 1132732 w 1636453"/>
              <a:gd name="connsiteY344" fmla="*/ 0 h 467438"/>
              <a:gd name="connsiteX345" fmla="*/ 1135773 w 1636453"/>
              <a:gd name="connsiteY345" fmla="*/ 0 h 467438"/>
              <a:gd name="connsiteX346" fmla="*/ 1139081 w 1636453"/>
              <a:gd name="connsiteY346" fmla="*/ 0 h 467438"/>
              <a:gd name="connsiteX347" fmla="*/ 1139090 w 1636453"/>
              <a:gd name="connsiteY347" fmla="*/ 0 h 467438"/>
              <a:gd name="connsiteX348" fmla="*/ 1143088 w 1636453"/>
              <a:gd name="connsiteY348" fmla="*/ 0 h 467438"/>
              <a:gd name="connsiteX349" fmla="*/ 1143098 w 1636453"/>
              <a:gd name="connsiteY349" fmla="*/ 0 h 467438"/>
              <a:gd name="connsiteX350" fmla="*/ 1144875 w 1636453"/>
              <a:gd name="connsiteY350" fmla="*/ 0 h 467438"/>
              <a:gd name="connsiteX351" fmla="*/ 1145129 w 1636453"/>
              <a:gd name="connsiteY351" fmla="*/ 0 h 467438"/>
              <a:gd name="connsiteX352" fmla="*/ 1149135 w 1636453"/>
              <a:gd name="connsiteY352" fmla="*/ 0 h 467438"/>
              <a:gd name="connsiteX353" fmla="*/ 1154975 w 1636453"/>
              <a:gd name="connsiteY353" fmla="*/ 0 h 467438"/>
              <a:gd name="connsiteX354" fmla="*/ 1154985 w 1636453"/>
              <a:gd name="connsiteY354" fmla="*/ 0 h 467438"/>
              <a:gd name="connsiteX355" fmla="*/ 1158017 w 1636453"/>
              <a:gd name="connsiteY355" fmla="*/ 0 h 467438"/>
              <a:gd name="connsiteX356" fmla="*/ 1160151 w 1636453"/>
              <a:gd name="connsiteY356" fmla="*/ 0 h 467438"/>
              <a:gd name="connsiteX357" fmla="*/ 1161022 w 1636453"/>
              <a:gd name="connsiteY357" fmla="*/ 0 h 467438"/>
              <a:gd name="connsiteX358" fmla="*/ 1164064 w 1636453"/>
              <a:gd name="connsiteY358" fmla="*/ 0 h 467438"/>
              <a:gd name="connsiteX359" fmla="*/ 1166199 w 1636453"/>
              <a:gd name="connsiteY359" fmla="*/ 0 h 467438"/>
              <a:gd name="connsiteX360" fmla="*/ 1170261 w 1636453"/>
              <a:gd name="connsiteY360" fmla="*/ 0 h 467438"/>
              <a:gd name="connsiteX361" fmla="*/ 1172038 w 1636453"/>
              <a:gd name="connsiteY361" fmla="*/ 0 h 467438"/>
              <a:gd name="connsiteX362" fmla="*/ 1176046 w 1636453"/>
              <a:gd name="connsiteY362" fmla="*/ 0 h 467438"/>
              <a:gd name="connsiteX363" fmla="*/ 1176299 w 1636453"/>
              <a:gd name="connsiteY363" fmla="*/ 0 h 467438"/>
              <a:gd name="connsiteX364" fmla="*/ 1176309 w 1636453"/>
              <a:gd name="connsiteY364" fmla="*/ 0 h 467438"/>
              <a:gd name="connsiteX365" fmla="*/ 1178085 w 1636453"/>
              <a:gd name="connsiteY365" fmla="*/ 0 h 467438"/>
              <a:gd name="connsiteX366" fmla="*/ 1179341 w 1636453"/>
              <a:gd name="connsiteY366" fmla="*/ 0 h 467438"/>
              <a:gd name="connsiteX367" fmla="*/ 1182093 w 1636453"/>
              <a:gd name="connsiteY367" fmla="*/ 0 h 467438"/>
              <a:gd name="connsiteX368" fmla="*/ 1182658 w 1636453"/>
              <a:gd name="connsiteY368" fmla="*/ 0 h 467438"/>
              <a:gd name="connsiteX369" fmla="*/ 1186665 w 1636453"/>
              <a:gd name="connsiteY369" fmla="*/ 0 h 467438"/>
              <a:gd name="connsiteX370" fmla="*/ 1188443 w 1636453"/>
              <a:gd name="connsiteY370" fmla="*/ 0 h 467438"/>
              <a:gd name="connsiteX371" fmla="*/ 1193362 w 1636453"/>
              <a:gd name="connsiteY371" fmla="*/ 0 h 467438"/>
              <a:gd name="connsiteX372" fmla="*/ 1197370 w 1636453"/>
              <a:gd name="connsiteY372" fmla="*/ 0 h 467438"/>
              <a:gd name="connsiteX373" fmla="*/ 1198552 w 1636453"/>
              <a:gd name="connsiteY373" fmla="*/ 0 h 467438"/>
              <a:gd name="connsiteX374" fmla="*/ 1200687 w 1636453"/>
              <a:gd name="connsiteY374" fmla="*/ 0 h 467438"/>
              <a:gd name="connsiteX375" fmla="*/ 1203719 w 1636453"/>
              <a:gd name="connsiteY375" fmla="*/ 0 h 467438"/>
              <a:gd name="connsiteX376" fmla="*/ 1203728 w 1636453"/>
              <a:gd name="connsiteY376" fmla="*/ 0 h 467438"/>
              <a:gd name="connsiteX377" fmla="*/ 1209767 w 1636453"/>
              <a:gd name="connsiteY377" fmla="*/ 0 h 467438"/>
              <a:gd name="connsiteX378" fmla="*/ 1213829 w 1636453"/>
              <a:gd name="connsiteY378" fmla="*/ 0 h 467438"/>
              <a:gd name="connsiteX379" fmla="*/ 1215606 w 1636453"/>
              <a:gd name="connsiteY379" fmla="*/ 0 h 467438"/>
              <a:gd name="connsiteX380" fmla="*/ 1215615 w 1636453"/>
              <a:gd name="connsiteY380" fmla="*/ 0 h 467438"/>
              <a:gd name="connsiteX381" fmla="*/ 1219613 w 1636453"/>
              <a:gd name="connsiteY381" fmla="*/ 0 h 467438"/>
              <a:gd name="connsiteX382" fmla="*/ 1219623 w 1636453"/>
              <a:gd name="connsiteY382" fmla="*/ 0 h 467438"/>
              <a:gd name="connsiteX383" fmla="*/ 1219876 w 1636453"/>
              <a:gd name="connsiteY383" fmla="*/ 0 h 467438"/>
              <a:gd name="connsiteX384" fmla="*/ 1221653 w 1636453"/>
              <a:gd name="connsiteY384" fmla="*/ 0 h 467438"/>
              <a:gd name="connsiteX385" fmla="*/ 1225660 w 1636453"/>
              <a:gd name="connsiteY385" fmla="*/ 0 h 467438"/>
              <a:gd name="connsiteX386" fmla="*/ 1230892 w 1636453"/>
              <a:gd name="connsiteY386" fmla="*/ 0 h 467438"/>
              <a:gd name="connsiteX387" fmla="*/ 1234899 w 1636453"/>
              <a:gd name="connsiteY387" fmla="*/ 0 h 467438"/>
              <a:gd name="connsiteX388" fmla="*/ 1236676 w 1636453"/>
              <a:gd name="connsiteY388" fmla="*/ 0 h 467438"/>
              <a:gd name="connsiteX389" fmla="*/ 1236930 w 1636453"/>
              <a:gd name="connsiteY389" fmla="*/ 0 h 467438"/>
              <a:gd name="connsiteX390" fmla="*/ 1236939 w 1636453"/>
              <a:gd name="connsiteY390" fmla="*/ 0 h 467438"/>
              <a:gd name="connsiteX391" fmla="*/ 1240937 w 1636453"/>
              <a:gd name="connsiteY391" fmla="*/ 0 h 467438"/>
              <a:gd name="connsiteX392" fmla="*/ 1240947 w 1636453"/>
              <a:gd name="connsiteY392" fmla="*/ 0 h 467438"/>
              <a:gd name="connsiteX393" fmla="*/ 1242723 w 1636453"/>
              <a:gd name="connsiteY393" fmla="*/ 0 h 467438"/>
              <a:gd name="connsiteX394" fmla="*/ 1244254 w 1636453"/>
              <a:gd name="connsiteY394" fmla="*/ 0 h 467438"/>
              <a:gd name="connsiteX395" fmla="*/ 1247296 w 1636453"/>
              <a:gd name="connsiteY395" fmla="*/ 0 h 467438"/>
              <a:gd name="connsiteX396" fmla="*/ 1258000 w 1636453"/>
              <a:gd name="connsiteY396" fmla="*/ 0 h 467438"/>
              <a:gd name="connsiteX397" fmla="*/ 1259183 w 1636453"/>
              <a:gd name="connsiteY397" fmla="*/ 0 h 467438"/>
              <a:gd name="connsiteX398" fmla="*/ 1261318 w 1636453"/>
              <a:gd name="connsiteY398" fmla="*/ 0 h 467438"/>
              <a:gd name="connsiteX399" fmla="*/ 1263190 w 1636453"/>
              <a:gd name="connsiteY399" fmla="*/ 0 h 467438"/>
              <a:gd name="connsiteX400" fmla="*/ 1265325 w 1636453"/>
              <a:gd name="connsiteY400" fmla="*/ 0 h 467438"/>
              <a:gd name="connsiteX401" fmla="*/ 1274460 w 1636453"/>
              <a:gd name="connsiteY401" fmla="*/ 0 h 467438"/>
              <a:gd name="connsiteX402" fmla="*/ 1277212 w 1636453"/>
              <a:gd name="connsiteY402" fmla="*/ 0 h 467438"/>
              <a:gd name="connsiteX403" fmla="*/ 1278467 w 1636453"/>
              <a:gd name="connsiteY403" fmla="*/ 0 h 467438"/>
              <a:gd name="connsiteX404" fmla="*/ 1280244 w 1636453"/>
              <a:gd name="connsiteY404" fmla="*/ 0 h 467438"/>
              <a:gd name="connsiteX405" fmla="*/ 1280253 w 1636453"/>
              <a:gd name="connsiteY405" fmla="*/ 0 h 467438"/>
              <a:gd name="connsiteX406" fmla="*/ 1280507 w 1636453"/>
              <a:gd name="connsiteY406" fmla="*/ 0 h 467438"/>
              <a:gd name="connsiteX407" fmla="*/ 1284514 w 1636453"/>
              <a:gd name="connsiteY407" fmla="*/ 0 h 467438"/>
              <a:gd name="connsiteX408" fmla="*/ 1286291 w 1636453"/>
              <a:gd name="connsiteY408" fmla="*/ 0 h 467438"/>
              <a:gd name="connsiteX409" fmla="*/ 1292489 w 1636453"/>
              <a:gd name="connsiteY409" fmla="*/ 0 h 467438"/>
              <a:gd name="connsiteX410" fmla="*/ 1295530 w 1636453"/>
              <a:gd name="connsiteY410" fmla="*/ 0 h 467438"/>
              <a:gd name="connsiteX411" fmla="*/ 1298536 w 1636453"/>
              <a:gd name="connsiteY411" fmla="*/ 0 h 467438"/>
              <a:gd name="connsiteX412" fmla="*/ 1301568 w 1636453"/>
              <a:gd name="connsiteY412" fmla="*/ 0 h 467438"/>
              <a:gd name="connsiteX413" fmla="*/ 1301577 w 1636453"/>
              <a:gd name="connsiteY413" fmla="*/ 0 h 467438"/>
              <a:gd name="connsiteX414" fmla="*/ 1304886 w 1636453"/>
              <a:gd name="connsiteY414" fmla="*/ 0 h 467438"/>
              <a:gd name="connsiteX415" fmla="*/ 1308892 w 1636453"/>
              <a:gd name="connsiteY415" fmla="*/ 0 h 467438"/>
              <a:gd name="connsiteX416" fmla="*/ 1320779 w 1636453"/>
              <a:gd name="connsiteY416" fmla="*/ 0 h 467438"/>
              <a:gd name="connsiteX417" fmla="*/ 1323821 w 1636453"/>
              <a:gd name="connsiteY417" fmla="*/ 0 h 467438"/>
              <a:gd name="connsiteX418" fmla="*/ 1325956 w 1636453"/>
              <a:gd name="connsiteY418" fmla="*/ 0 h 467438"/>
              <a:gd name="connsiteX419" fmla="*/ 1336056 w 1636453"/>
              <a:gd name="connsiteY419" fmla="*/ 0 h 467438"/>
              <a:gd name="connsiteX420" fmla="*/ 1336066 w 1636453"/>
              <a:gd name="connsiteY420" fmla="*/ 0 h 467438"/>
              <a:gd name="connsiteX421" fmla="*/ 1337842 w 1636453"/>
              <a:gd name="connsiteY421" fmla="*/ 0 h 467438"/>
              <a:gd name="connsiteX422" fmla="*/ 1339098 w 1636453"/>
              <a:gd name="connsiteY422" fmla="*/ 0 h 467438"/>
              <a:gd name="connsiteX423" fmla="*/ 1341850 w 1636453"/>
              <a:gd name="connsiteY423" fmla="*/ 0 h 467438"/>
              <a:gd name="connsiteX424" fmla="*/ 1342103 w 1636453"/>
              <a:gd name="connsiteY424" fmla="*/ 0 h 467438"/>
              <a:gd name="connsiteX425" fmla="*/ 1345145 w 1636453"/>
              <a:gd name="connsiteY425" fmla="*/ 0 h 467438"/>
              <a:gd name="connsiteX426" fmla="*/ 1353119 w 1636453"/>
              <a:gd name="connsiteY426" fmla="*/ 0 h 467438"/>
              <a:gd name="connsiteX427" fmla="*/ 1357127 w 1636453"/>
              <a:gd name="connsiteY427" fmla="*/ 0 h 467438"/>
              <a:gd name="connsiteX428" fmla="*/ 1359166 w 1636453"/>
              <a:gd name="connsiteY428" fmla="*/ 0 h 467438"/>
              <a:gd name="connsiteX429" fmla="*/ 1363174 w 1636453"/>
              <a:gd name="connsiteY429" fmla="*/ 0 h 467438"/>
              <a:gd name="connsiteX430" fmla="*/ 1369524 w 1636453"/>
              <a:gd name="connsiteY430" fmla="*/ 0 h 467438"/>
              <a:gd name="connsiteX431" fmla="*/ 1379633 w 1636453"/>
              <a:gd name="connsiteY431" fmla="*/ 0 h 467438"/>
              <a:gd name="connsiteX432" fmla="*/ 1381410 w 1636453"/>
              <a:gd name="connsiteY432" fmla="*/ 0 h 467438"/>
              <a:gd name="connsiteX433" fmla="*/ 1385417 w 1636453"/>
              <a:gd name="connsiteY433" fmla="*/ 0 h 467438"/>
              <a:gd name="connsiteX434" fmla="*/ 1396687 w 1636453"/>
              <a:gd name="connsiteY434" fmla="*/ 0 h 467438"/>
              <a:gd name="connsiteX435" fmla="*/ 1396696 w 1636453"/>
              <a:gd name="connsiteY435" fmla="*/ 0 h 467438"/>
              <a:gd name="connsiteX436" fmla="*/ 1400694 w 1636453"/>
              <a:gd name="connsiteY436" fmla="*/ 0 h 467438"/>
              <a:gd name="connsiteX437" fmla="*/ 1400704 w 1636453"/>
              <a:gd name="connsiteY437" fmla="*/ 0 h 467438"/>
              <a:gd name="connsiteX438" fmla="*/ 1402480 w 1636453"/>
              <a:gd name="connsiteY438" fmla="*/ 0 h 467438"/>
              <a:gd name="connsiteX439" fmla="*/ 1402734 w 1636453"/>
              <a:gd name="connsiteY439" fmla="*/ 0 h 467438"/>
              <a:gd name="connsiteX440" fmla="*/ 1636453 w 1636453"/>
              <a:gd name="connsiteY440" fmla="*/ 233720 h 467438"/>
              <a:gd name="connsiteX441" fmla="*/ 1636452 w 1636453"/>
              <a:gd name="connsiteY441" fmla="*/ 233720 h 467438"/>
              <a:gd name="connsiteX442" fmla="*/ 1402734 w 1636453"/>
              <a:gd name="connsiteY442" fmla="*/ 467438 h 467438"/>
              <a:gd name="connsiteX443" fmla="*/ 1400705 w 1636453"/>
              <a:gd name="connsiteY443" fmla="*/ 467438 h 467438"/>
              <a:gd name="connsiteX444" fmla="*/ 1400703 w 1636453"/>
              <a:gd name="connsiteY444" fmla="*/ 467438 h 467438"/>
              <a:gd name="connsiteX445" fmla="*/ 1400694 w 1636453"/>
              <a:gd name="connsiteY445" fmla="*/ 467438 h 467438"/>
              <a:gd name="connsiteX446" fmla="*/ 1400693 w 1636453"/>
              <a:gd name="connsiteY446" fmla="*/ 467438 h 467438"/>
              <a:gd name="connsiteX447" fmla="*/ 1396698 w 1636453"/>
              <a:gd name="connsiteY447" fmla="*/ 467438 h 467438"/>
              <a:gd name="connsiteX448" fmla="*/ 1396695 w 1636453"/>
              <a:gd name="connsiteY448" fmla="*/ 467438 h 467438"/>
              <a:gd name="connsiteX449" fmla="*/ 1396686 w 1636453"/>
              <a:gd name="connsiteY449" fmla="*/ 467438 h 467438"/>
              <a:gd name="connsiteX450" fmla="*/ 1379633 w 1636453"/>
              <a:gd name="connsiteY450" fmla="*/ 467438 h 467438"/>
              <a:gd name="connsiteX451" fmla="*/ 1379632 w 1636453"/>
              <a:gd name="connsiteY451" fmla="*/ 467438 h 467438"/>
              <a:gd name="connsiteX452" fmla="*/ 1369523 w 1636453"/>
              <a:gd name="connsiteY452" fmla="*/ 467438 h 467438"/>
              <a:gd name="connsiteX453" fmla="*/ 1363176 w 1636453"/>
              <a:gd name="connsiteY453" fmla="*/ 467438 h 467438"/>
              <a:gd name="connsiteX454" fmla="*/ 1363173 w 1636453"/>
              <a:gd name="connsiteY454" fmla="*/ 467438 h 467438"/>
              <a:gd name="connsiteX455" fmla="*/ 1359168 w 1636453"/>
              <a:gd name="connsiteY455" fmla="*/ 467438 h 467438"/>
              <a:gd name="connsiteX456" fmla="*/ 1359166 w 1636453"/>
              <a:gd name="connsiteY456" fmla="*/ 467438 h 467438"/>
              <a:gd name="connsiteX457" fmla="*/ 1357128 w 1636453"/>
              <a:gd name="connsiteY457" fmla="*/ 467438 h 467438"/>
              <a:gd name="connsiteX458" fmla="*/ 1357126 w 1636453"/>
              <a:gd name="connsiteY458" fmla="*/ 467438 h 467438"/>
              <a:gd name="connsiteX459" fmla="*/ 1353121 w 1636453"/>
              <a:gd name="connsiteY459" fmla="*/ 467438 h 467438"/>
              <a:gd name="connsiteX460" fmla="*/ 1353118 w 1636453"/>
              <a:gd name="connsiteY460" fmla="*/ 467438 h 467438"/>
              <a:gd name="connsiteX461" fmla="*/ 1345145 w 1636453"/>
              <a:gd name="connsiteY461" fmla="*/ 467438 h 467438"/>
              <a:gd name="connsiteX462" fmla="*/ 1345144 w 1636453"/>
              <a:gd name="connsiteY462" fmla="*/ 467438 h 467438"/>
              <a:gd name="connsiteX463" fmla="*/ 1342103 w 1636453"/>
              <a:gd name="connsiteY463" fmla="*/ 467438 h 467438"/>
              <a:gd name="connsiteX464" fmla="*/ 1342102 w 1636453"/>
              <a:gd name="connsiteY464" fmla="*/ 467438 h 467438"/>
              <a:gd name="connsiteX465" fmla="*/ 1339098 w 1636453"/>
              <a:gd name="connsiteY465" fmla="*/ 467438 h 467438"/>
              <a:gd name="connsiteX466" fmla="*/ 1339097 w 1636453"/>
              <a:gd name="connsiteY466" fmla="*/ 467438 h 467438"/>
              <a:gd name="connsiteX467" fmla="*/ 1336067 w 1636453"/>
              <a:gd name="connsiteY467" fmla="*/ 467438 h 467438"/>
              <a:gd name="connsiteX468" fmla="*/ 1336065 w 1636453"/>
              <a:gd name="connsiteY468" fmla="*/ 467438 h 467438"/>
              <a:gd name="connsiteX469" fmla="*/ 1336056 w 1636453"/>
              <a:gd name="connsiteY469" fmla="*/ 467438 h 467438"/>
              <a:gd name="connsiteX470" fmla="*/ 1336055 w 1636453"/>
              <a:gd name="connsiteY470" fmla="*/ 467438 h 467438"/>
              <a:gd name="connsiteX471" fmla="*/ 1325957 w 1636453"/>
              <a:gd name="connsiteY471" fmla="*/ 467438 h 467438"/>
              <a:gd name="connsiteX472" fmla="*/ 1325955 w 1636453"/>
              <a:gd name="connsiteY472" fmla="*/ 467438 h 467438"/>
              <a:gd name="connsiteX473" fmla="*/ 1308892 w 1636453"/>
              <a:gd name="connsiteY473" fmla="*/ 467438 h 467438"/>
              <a:gd name="connsiteX474" fmla="*/ 1304885 w 1636453"/>
              <a:gd name="connsiteY474" fmla="*/ 467438 h 467438"/>
              <a:gd name="connsiteX475" fmla="*/ 1301579 w 1636453"/>
              <a:gd name="connsiteY475" fmla="*/ 467438 h 467438"/>
              <a:gd name="connsiteX476" fmla="*/ 1301576 w 1636453"/>
              <a:gd name="connsiteY476" fmla="*/ 467438 h 467438"/>
              <a:gd name="connsiteX477" fmla="*/ 1301567 w 1636453"/>
              <a:gd name="connsiteY477" fmla="*/ 467438 h 467438"/>
              <a:gd name="connsiteX478" fmla="*/ 1298538 w 1636453"/>
              <a:gd name="connsiteY478" fmla="*/ 467438 h 467438"/>
              <a:gd name="connsiteX479" fmla="*/ 1298535 w 1636453"/>
              <a:gd name="connsiteY479" fmla="*/ 467438 h 467438"/>
              <a:gd name="connsiteX480" fmla="*/ 1295531 w 1636453"/>
              <a:gd name="connsiteY480" fmla="*/ 467438 h 467438"/>
              <a:gd name="connsiteX481" fmla="*/ 1295529 w 1636453"/>
              <a:gd name="connsiteY481" fmla="*/ 467438 h 467438"/>
              <a:gd name="connsiteX482" fmla="*/ 1292490 w 1636453"/>
              <a:gd name="connsiteY482" fmla="*/ 467438 h 467438"/>
              <a:gd name="connsiteX483" fmla="*/ 1292488 w 1636453"/>
              <a:gd name="connsiteY483" fmla="*/ 467438 h 467438"/>
              <a:gd name="connsiteX484" fmla="*/ 1284514 w 1636453"/>
              <a:gd name="connsiteY484" fmla="*/ 467438 h 467438"/>
              <a:gd name="connsiteX485" fmla="*/ 1284513 w 1636453"/>
              <a:gd name="connsiteY485" fmla="*/ 467438 h 467438"/>
              <a:gd name="connsiteX486" fmla="*/ 1280507 w 1636453"/>
              <a:gd name="connsiteY486" fmla="*/ 467438 h 467438"/>
              <a:gd name="connsiteX487" fmla="*/ 1280506 w 1636453"/>
              <a:gd name="connsiteY487" fmla="*/ 467438 h 467438"/>
              <a:gd name="connsiteX488" fmla="*/ 1278467 w 1636453"/>
              <a:gd name="connsiteY488" fmla="*/ 467438 h 467438"/>
              <a:gd name="connsiteX489" fmla="*/ 1278466 w 1636453"/>
              <a:gd name="connsiteY489" fmla="*/ 467438 h 467438"/>
              <a:gd name="connsiteX490" fmla="*/ 1274460 w 1636453"/>
              <a:gd name="connsiteY490" fmla="*/ 467438 h 467438"/>
              <a:gd name="connsiteX491" fmla="*/ 1274459 w 1636453"/>
              <a:gd name="connsiteY491" fmla="*/ 467438 h 467438"/>
              <a:gd name="connsiteX492" fmla="*/ 1265327 w 1636453"/>
              <a:gd name="connsiteY492" fmla="*/ 467438 h 467438"/>
              <a:gd name="connsiteX493" fmla="*/ 1265325 w 1636453"/>
              <a:gd name="connsiteY493" fmla="*/ 467438 h 467438"/>
              <a:gd name="connsiteX494" fmla="*/ 1261319 w 1636453"/>
              <a:gd name="connsiteY494" fmla="*/ 467438 h 467438"/>
              <a:gd name="connsiteX495" fmla="*/ 1261317 w 1636453"/>
              <a:gd name="connsiteY495" fmla="*/ 467438 h 467438"/>
              <a:gd name="connsiteX496" fmla="*/ 1258002 w 1636453"/>
              <a:gd name="connsiteY496" fmla="*/ 467438 h 467438"/>
              <a:gd name="connsiteX497" fmla="*/ 1257999 w 1636453"/>
              <a:gd name="connsiteY497" fmla="*/ 467438 h 467438"/>
              <a:gd name="connsiteX498" fmla="*/ 1247296 w 1636453"/>
              <a:gd name="connsiteY498" fmla="*/ 467438 h 467438"/>
              <a:gd name="connsiteX499" fmla="*/ 1244254 w 1636453"/>
              <a:gd name="connsiteY499" fmla="*/ 467438 h 467438"/>
              <a:gd name="connsiteX500" fmla="*/ 1240948 w 1636453"/>
              <a:gd name="connsiteY500" fmla="*/ 467438 h 467438"/>
              <a:gd name="connsiteX501" fmla="*/ 1240946 w 1636453"/>
              <a:gd name="connsiteY501" fmla="*/ 467438 h 467438"/>
              <a:gd name="connsiteX502" fmla="*/ 1240937 w 1636453"/>
              <a:gd name="connsiteY502" fmla="*/ 467438 h 467438"/>
              <a:gd name="connsiteX503" fmla="*/ 1240936 w 1636453"/>
              <a:gd name="connsiteY503" fmla="*/ 467438 h 467438"/>
              <a:gd name="connsiteX504" fmla="*/ 1236941 w 1636453"/>
              <a:gd name="connsiteY504" fmla="*/ 467438 h 467438"/>
              <a:gd name="connsiteX505" fmla="*/ 1236938 w 1636453"/>
              <a:gd name="connsiteY505" fmla="*/ 467438 h 467438"/>
              <a:gd name="connsiteX506" fmla="*/ 1236929 w 1636453"/>
              <a:gd name="connsiteY506" fmla="*/ 467438 h 467438"/>
              <a:gd name="connsiteX507" fmla="*/ 1234900 w 1636453"/>
              <a:gd name="connsiteY507" fmla="*/ 467438 h 467438"/>
              <a:gd name="connsiteX508" fmla="*/ 1234899 w 1636453"/>
              <a:gd name="connsiteY508" fmla="*/ 467438 h 467438"/>
              <a:gd name="connsiteX509" fmla="*/ 1230893 w 1636453"/>
              <a:gd name="connsiteY509" fmla="*/ 467438 h 467438"/>
              <a:gd name="connsiteX510" fmla="*/ 1230891 w 1636453"/>
              <a:gd name="connsiteY510" fmla="*/ 467438 h 467438"/>
              <a:gd name="connsiteX511" fmla="*/ 1219876 w 1636453"/>
              <a:gd name="connsiteY511" fmla="*/ 467438 h 467438"/>
              <a:gd name="connsiteX512" fmla="*/ 1219875 w 1636453"/>
              <a:gd name="connsiteY512" fmla="*/ 467438 h 467438"/>
              <a:gd name="connsiteX513" fmla="*/ 1213829 w 1636453"/>
              <a:gd name="connsiteY513" fmla="*/ 467438 h 467438"/>
              <a:gd name="connsiteX514" fmla="*/ 1213828 w 1636453"/>
              <a:gd name="connsiteY514" fmla="*/ 467438 h 467438"/>
              <a:gd name="connsiteX515" fmla="*/ 1209766 w 1636453"/>
              <a:gd name="connsiteY515" fmla="*/ 467438 h 467438"/>
              <a:gd name="connsiteX516" fmla="*/ 1203730 w 1636453"/>
              <a:gd name="connsiteY516" fmla="*/ 467438 h 467438"/>
              <a:gd name="connsiteX517" fmla="*/ 1203728 w 1636453"/>
              <a:gd name="connsiteY517" fmla="*/ 467438 h 467438"/>
              <a:gd name="connsiteX518" fmla="*/ 1203718 w 1636453"/>
              <a:gd name="connsiteY518" fmla="*/ 467438 h 467438"/>
              <a:gd name="connsiteX519" fmla="*/ 1200689 w 1636453"/>
              <a:gd name="connsiteY519" fmla="*/ 467438 h 467438"/>
              <a:gd name="connsiteX520" fmla="*/ 1200687 w 1636453"/>
              <a:gd name="connsiteY520" fmla="*/ 467438 h 467438"/>
              <a:gd name="connsiteX521" fmla="*/ 1197371 w 1636453"/>
              <a:gd name="connsiteY521" fmla="*/ 467438 h 467438"/>
              <a:gd name="connsiteX522" fmla="*/ 1197369 w 1636453"/>
              <a:gd name="connsiteY522" fmla="*/ 467438 h 467438"/>
              <a:gd name="connsiteX523" fmla="*/ 1193364 w 1636453"/>
              <a:gd name="connsiteY523" fmla="*/ 467438 h 467438"/>
              <a:gd name="connsiteX524" fmla="*/ 1193361 w 1636453"/>
              <a:gd name="connsiteY524" fmla="*/ 467438 h 467438"/>
              <a:gd name="connsiteX525" fmla="*/ 1186665 w 1636453"/>
              <a:gd name="connsiteY525" fmla="*/ 467438 h 467438"/>
              <a:gd name="connsiteX526" fmla="*/ 1186664 w 1636453"/>
              <a:gd name="connsiteY526" fmla="*/ 467438 h 467438"/>
              <a:gd name="connsiteX527" fmla="*/ 1182658 w 1636453"/>
              <a:gd name="connsiteY527" fmla="*/ 467438 h 467438"/>
              <a:gd name="connsiteX528" fmla="*/ 1179341 w 1636453"/>
              <a:gd name="connsiteY528" fmla="*/ 467438 h 467438"/>
              <a:gd name="connsiteX529" fmla="*/ 1179340 w 1636453"/>
              <a:gd name="connsiteY529" fmla="*/ 467438 h 467438"/>
              <a:gd name="connsiteX530" fmla="*/ 1176310 w 1636453"/>
              <a:gd name="connsiteY530" fmla="*/ 467438 h 467438"/>
              <a:gd name="connsiteX531" fmla="*/ 1176308 w 1636453"/>
              <a:gd name="connsiteY531" fmla="*/ 467438 h 467438"/>
              <a:gd name="connsiteX532" fmla="*/ 1176299 w 1636453"/>
              <a:gd name="connsiteY532" fmla="*/ 467438 h 467438"/>
              <a:gd name="connsiteX533" fmla="*/ 1176298 w 1636453"/>
              <a:gd name="connsiteY533" fmla="*/ 467438 h 467438"/>
              <a:gd name="connsiteX534" fmla="*/ 1170262 w 1636453"/>
              <a:gd name="connsiteY534" fmla="*/ 467438 h 467438"/>
              <a:gd name="connsiteX535" fmla="*/ 1170261 w 1636453"/>
              <a:gd name="connsiteY535" fmla="*/ 467438 h 467438"/>
              <a:gd name="connsiteX536" fmla="*/ 1166200 w 1636453"/>
              <a:gd name="connsiteY536" fmla="*/ 467438 h 467438"/>
              <a:gd name="connsiteX537" fmla="*/ 1166198 w 1636453"/>
              <a:gd name="connsiteY537" fmla="*/ 467438 h 467438"/>
              <a:gd name="connsiteX538" fmla="*/ 1160153 w 1636453"/>
              <a:gd name="connsiteY538" fmla="*/ 467438 h 467438"/>
              <a:gd name="connsiteX539" fmla="*/ 1160150 w 1636453"/>
              <a:gd name="connsiteY539" fmla="*/ 467438 h 467438"/>
              <a:gd name="connsiteX540" fmla="*/ 1149135 w 1636453"/>
              <a:gd name="connsiteY540" fmla="*/ 467438 h 467438"/>
              <a:gd name="connsiteX541" fmla="*/ 1145128 w 1636453"/>
              <a:gd name="connsiteY541" fmla="*/ 467438 h 467438"/>
              <a:gd name="connsiteX542" fmla="*/ 1143099 w 1636453"/>
              <a:gd name="connsiteY542" fmla="*/ 467438 h 467438"/>
              <a:gd name="connsiteX543" fmla="*/ 1143097 w 1636453"/>
              <a:gd name="connsiteY543" fmla="*/ 467438 h 467438"/>
              <a:gd name="connsiteX544" fmla="*/ 1143088 w 1636453"/>
              <a:gd name="connsiteY544" fmla="*/ 467438 h 467438"/>
              <a:gd name="connsiteX545" fmla="*/ 1143087 w 1636453"/>
              <a:gd name="connsiteY545" fmla="*/ 467438 h 467438"/>
              <a:gd name="connsiteX546" fmla="*/ 1139092 w 1636453"/>
              <a:gd name="connsiteY546" fmla="*/ 467438 h 467438"/>
              <a:gd name="connsiteX547" fmla="*/ 1139090 w 1636453"/>
              <a:gd name="connsiteY547" fmla="*/ 467438 h 467438"/>
              <a:gd name="connsiteX548" fmla="*/ 1139080 w 1636453"/>
              <a:gd name="connsiteY548" fmla="*/ 467438 h 467438"/>
              <a:gd name="connsiteX549" fmla="*/ 1135774 w 1636453"/>
              <a:gd name="connsiteY549" fmla="*/ 467438 h 467438"/>
              <a:gd name="connsiteX550" fmla="*/ 1135772 w 1636453"/>
              <a:gd name="connsiteY550" fmla="*/ 467438 h 467438"/>
              <a:gd name="connsiteX551" fmla="*/ 1132733 w 1636453"/>
              <a:gd name="connsiteY551" fmla="*/ 467438 h 467438"/>
              <a:gd name="connsiteX552" fmla="*/ 1132731 w 1636453"/>
              <a:gd name="connsiteY552" fmla="*/ 467438 h 467438"/>
              <a:gd name="connsiteX553" fmla="*/ 1122027 w 1636453"/>
              <a:gd name="connsiteY553" fmla="*/ 467438 h 467438"/>
              <a:gd name="connsiteX554" fmla="*/ 1122026 w 1636453"/>
              <a:gd name="connsiteY554" fmla="*/ 467438 h 467438"/>
              <a:gd name="connsiteX555" fmla="*/ 1118710 w 1636453"/>
              <a:gd name="connsiteY555" fmla="*/ 467438 h 467438"/>
              <a:gd name="connsiteX556" fmla="*/ 1118709 w 1636453"/>
              <a:gd name="connsiteY556" fmla="*/ 467438 h 467438"/>
              <a:gd name="connsiteX557" fmla="*/ 1114703 w 1636453"/>
              <a:gd name="connsiteY557" fmla="*/ 467438 h 467438"/>
              <a:gd name="connsiteX558" fmla="*/ 1114702 w 1636453"/>
              <a:gd name="connsiteY558" fmla="*/ 467438 h 467438"/>
              <a:gd name="connsiteX559" fmla="*/ 1105570 w 1636453"/>
              <a:gd name="connsiteY559" fmla="*/ 467438 h 467438"/>
              <a:gd name="connsiteX560" fmla="*/ 1105568 w 1636453"/>
              <a:gd name="connsiteY560" fmla="*/ 467438 h 467438"/>
              <a:gd name="connsiteX561" fmla="*/ 1101562 w 1636453"/>
              <a:gd name="connsiteY561" fmla="*/ 467438 h 467438"/>
              <a:gd name="connsiteX562" fmla="*/ 1101560 w 1636453"/>
              <a:gd name="connsiteY562" fmla="*/ 467438 h 467438"/>
              <a:gd name="connsiteX563" fmla="*/ 1099523 w 1636453"/>
              <a:gd name="connsiteY563" fmla="*/ 467438 h 467438"/>
              <a:gd name="connsiteX564" fmla="*/ 1099520 w 1636453"/>
              <a:gd name="connsiteY564" fmla="*/ 467438 h 467438"/>
              <a:gd name="connsiteX565" fmla="*/ 1095515 w 1636453"/>
              <a:gd name="connsiteY565" fmla="*/ 467438 h 467438"/>
              <a:gd name="connsiteX566" fmla="*/ 1095512 w 1636453"/>
              <a:gd name="connsiteY566" fmla="*/ 467438 h 467438"/>
              <a:gd name="connsiteX567" fmla="*/ 1087539 w 1636453"/>
              <a:gd name="connsiteY567" fmla="*/ 467438 h 467438"/>
              <a:gd name="connsiteX568" fmla="*/ 1084497 w 1636453"/>
              <a:gd name="connsiteY568" fmla="*/ 467438 h 467438"/>
              <a:gd name="connsiteX569" fmla="*/ 1081492 w 1636453"/>
              <a:gd name="connsiteY569" fmla="*/ 467438 h 467438"/>
              <a:gd name="connsiteX570" fmla="*/ 1081491 w 1636453"/>
              <a:gd name="connsiteY570" fmla="*/ 467438 h 467438"/>
              <a:gd name="connsiteX571" fmla="*/ 1078461 w 1636453"/>
              <a:gd name="connsiteY571" fmla="*/ 467438 h 467438"/>
              <a:gd name="connsiteX572" fmla="*/ 1078459 w 1636453"/>
              <a:gd name="connsiteY572" fmla="*/ 467438 h 467438"/>
              <a:gd name="connsiteX573" fmla="*/ 1078450 w 1636453"/>
              <a:gd name="connsiteY573" fmla="*/ 467438 h 467438"/>
              <a:gd name="connsiteX574" fmla="*/ 1078449 w 1636453"/>
              <a:gd name="connsiteY574" fmla="*/ 467438 h 467438"/>
              <a:gd name="connsiteX575" fmla="*/ 1075143 w 1636453"/>
              <a:gd name="connsiteY575" fmla="*/ 467438 h 467438"/>
              <a:gd name="connsiteX576" fmla="*/ 1075142 w 1636453"/>
              <a:gd name="connsiteY576" fmla="*/ 467438 h 467438"/>
              <a:gd name="connsiteX577" fmla="*/ 1071136 w 1636453"/>
              <a:gd name="connsiteY577" fmla="*/ 467438 h 467438"/>
              <a:gd name="connsiteX578" fmla="*/ 1071134 w 1636453"/>
              <a:gd name="connsiteY578" fmla="*/ 467438 h 467438"/>
              <a:gd name="connsiteX579" fmla="*/ 1054072 w 1636453"/>
              <a:gd name="connsiteY579" fmla="*/ 467438 h 467438"/>
              <a:gd name="connsiteX580" fmla="*/ 1054071 w 1636453"/>
              <a:gd name="connsiteY580" fmla="*/ 467438 h 467438"/>
              <a:gd name="connsiteX581" fmla="*/ 1043973 w 1636453"/>
              <a:gd name="connsiteY581" fmla="*/ 467438 h 467438"/>
              <a:gd name="connsiteX582" fmla="*/ 1043971 w 1636453"/>
              <a:gd name="connsiteY582" fmla="*/ 467438 h 467438"/>
              <a:gd name="connsiteX583" fmla="*/ 1043961 w 1636453"/>
              <a:gd name="connsiteY583" fmla="*/ 467438 h 467438"/>
              <a:gd name="connsiteX584" fmla="*/ 1040932 w 1636453"/>
              <a:gd name="connsiteY584" fmla="*/ 467438 h 467438"/>
              <a:gd name="connsiteX585" fmla="*/ 1040930 w 1636453"/>
              <a:gd name="connsiteY585" fmla="*/ 467438 h 467438"/>
              <a:gd name="connsiteX586" fmla="*/ 1037926 w 1636453"/>
              <a:gd name="connsiteY586" fmla="*/ 467438 h 467438"/>
              <a:gd name="connsiteX587" fmla="*/ 1037923 w 1636453"/>
              <a:gd name="connsiteY587" fmla="*/ 467438 h 467438"/>
              <a:gd name="connsiteX588" fmla="*/ 1034885 w 1636453"/>
              <a:gd name="connsiteY588" fmla="*/ 467438 h 467438"/>
              <a:gd name="connsiteX589" fmla="*/ 1034882 w 1636453"/>
              <a:gd name="connsiteY589" fmla="*/ 467438 h 467438"/>
              <a:gd name="connsiteX590" fmla="*/ 1026908 w 1636453"/>
              <a:gd name="connsiteY590" fmla="*/ 467438 h 467438"/>
              <a:gd name="connsiteX591" fmla="*/ 1026907 w 1636453"/>
              <a:gd name="connsiteY591" fmla="*/ 467438 h 467438"/>
              <a:gd name="connsiteX592" fmla="*/ 1022901 w 1636453"/>
              <a:gd name="connsiteY592" fmla="*/ 467438 h 467438"/>
              <a:gd name="connsiteX593" fmla="*/ 1020861 w 1636453"/>
              <a:gd name="connsiteY593" fmla="*/ 467438 h 467438"/>
              <a:gd name="connsiteX594" fmla="*/ 1020860 w 1636453"/>
              <a:gd name="connsiteY594" fmla="*/ 467438 h 467438"/>
              <a:gd name="connsiteX595" fmla="*/ 1016854 w 1636453"/>
              <a:gd name="connsiteY595" fmla="*/ 467438 h 467438"/>
              <a:gd name="connsiteX596" fmla="*/ 1016853 w 1636453"/>
              <a:gd name="connsiteY596" fmla="*/ 467438 h 467438"/>
              <a:gd name="connsiteX597" fmla="*/ 1010505 w 1636453"/>
              <a:gd name="connsiteY597" fmla="*/ 467438 h 467438"/>
              <a:gd name="connsiteX598" fmla="*/ 1010504 w 1636453"/>
              <a:gd name="connsiteY598" fmla="*/ 467438 h 467438"/>
              <a:gd name="connsiteX599" fmla="*/ 1000396 w 1636453"/>
              <a:gd name="connsiteY599" fmla="*/ 467438 h 467438"/>
              <a:gd name="connsiteX600" fmla="*/ 1000393 w 1636453"/>
              <a:gd name="connsiteY600" fmla="*/ 467438 h 467438"/>
              <a:gd name="connsiteX601" fmla="*/ 983342 w 1636453"/>
              <a:gd name="connsiteY601" fmla="*/ 467438 h 467438"/>
              <a:gd name="connsiteX602" fmla="*/ 983340 w 1636453"/>
              <a:gd name="connsiteY602" fmla="*/ 467438 h 467438"/>
              <a:gd name="connsiteX603" fmla="*/ 983331 w 1636453"/>
              <a:gd name="connsiteY603" fmla="*/ 467438 h 467438"/>
              <a:gd name="connsiteX604" fmla="*/ 983330 w 1636453"/>
              <a:gd name="connsiteY604" fmla="*/ 467438 h 467438"/>
              <a:gd name="connsiteX605" fmla="*/ 979335 w 1636453"/>
              <a:gd name="connsiteY605" fmla="*/ 467438 h 467438"/>
              <a:gd name="connsiteX606" fmla="*/ 979333 w 1636453"/>
              <a:gd name="connsiteY606" fmla="*/ 467438 h 467438"/>
              <a:gd name="connsiteX607" fmla="*/ 979323 w 1636453"/>
              <a:gd name="connsiteY607" fmla="*/ 467438 h 467438"/>
              <a:gd name="connsiteX608" fmla="*/ 977295 w 1636453"/>
              <a:gd name="connsiteY608" fmla="*/ 467438 h 467438"/>
              <a:gd name="connsiteX609" fmla="*/ 977293 w 1636453"/>
              <a:gd name="connsiteY609" fmla="*/ 467438 h 467438"/>
              <a:gd name="connsiteX610" fmla="*/ 840249 w 1636453"/>
              <a:gd name="connsiteY610" fmla="*/ 467437 h 467438"/>
              <a:gd name="connsiteX611" fmla="*/ 840241 w 1636453"/>
              <a:gd name="connsiteY611" fmla="*/ 467438 h 467438"/>
              <a:gd name="connsiteX612" fmla="*/ 838212 w 1636453"/>
              <a:gd name="connsiteY612" fmla="*/ 467438 h 467438"/>
              <a:gd name="connsiteX613" fmla="*/ 838210 w 1636453"/>
              <a:gd name="connsiteY613" fmla="*/ 467438 h 467438"/>
              <a:gd name="connsiteX614" fmla="*/ 838201 w 1636453"/>
              <a:gd name="connsiteY614" fmla="*/ 467438 h 467438"/>
              <a:gd name="connsiteX615" fmla="*/ 838200 w 1636453"/>
              <a:gd name="connsiteY615" fmla="*/ 467438 h 467438"/>
              <a:gd name="connsiteX616" fmla="*/ 834205 w 1636453"/>
              <a:gd name="connsiteY616" fmla="*/ 467438 h 467438"/>
              <a:gd name="connsiteX617" fmla="*/ 834202 w 1636453"/>
              <a:gd name="connsiteY617" fmla="*/ 467438 h 467438"/>
              <a:gd name="connsiteX618" fmla="*/ 834193 w 1636453"/>
              <a:gd name="connsiteY618" fmla="*/ 467438 h 467438"/>
              <a:gd name="connsiteX619" fmla="*/ 817140 w 1636453"/>
              <a:gd name="connsiteY619" fmla="*/ 467438 h 467438"/>
              <a:gd name="connsiteX620" fmla="*/ 817139 w 1636453"/>
              <a:gd name="connsiteY620" fmla="*/ 467438 h 467438"/>
              <a:gd name="connsiteX621" fmla="*/ 807030 w 1636453"/>
              <a:gd name="connsiteY621" fmla="*/ 467438 h 467438"/>
              <a:gd name="connsiteX622" fmla="*/ 800683 w 1636453"/>
              <a:gd name="connsiteY622" fmla="*/ 467438 h 467438"/>
              <a:gd name="connsiteX623" fmla="*/ 800680 w 1636453"/>
              <a:gd name="connsiteY623" fmla="*/ 467438 h 467438"/>
              <a:gd name="connsiteX624" fmla="*/ 796675 w 1636453"/>
              <a:gd name="connsiteY624" fmla="*/ 467438 h 467438"/>
              <a:gd name="connsiteX625" fmla="*/ 796673 w 1636453"/>
              <a:gd name="connsiteY625" fmla="*/ 467438 h 467438"/>
              <a:gd name="connsiteX626" fmla="*/ 794635 w 1636453"/>
              <a:gd name="connsiteY626" fmla="*/ 467438 h 467438"/>
              <a:gd name="connsiteX627" fmla="*/ 794633 w 1636453"/>
              <a:gd name="connsiteY627" fmla="*/ 467438 h 467438"/>
              <a:gd name="connsiteX628" fmla="*/ 790628 w 1636453"/>
              <a:gd name="connsiteY628" fmla="*/ 467438 h 467438"/>
              <a:gd name="connsiteX629" fmla="*/ 790625 w 1636453"/>
              <a:gd name="connsiteY629" fmla="*/ 467438 h 467438"/>
              <a:gd name="connsiteX630" fmla="*/ 782652 w 1636453"/>
              <a:gd name="connsiteY630" fmla="*/ 467438 h 467438"/>
              <a:gd name="connsiteX631" fmla="*/ 782651 w 1636453"/>
              <a:gd name="connsiteY631" fmla="*/ 467438 h 467438"/>
              <a:gd name="connsiteX632" fmla="*/ 779610 w 1636453"/>
              <a:gd name="connsiteY632" fmla="*/ 467438 h 467438"/>
              <a:gd name="connsiteX633" fmla="*/ 779609 w 1636453"/>
              <a:gd name="connsiteY633" fmla="*/ 467438 h 467438"/>
              <a:gd name="connsiteX634" fmla="*/ 776605 w 1636453"/>
              <a:gd name="connsiteY634" fmla="*/ 467438 h 467438"/>
              <a:gd name="connsiteX635" fmla="*/ 776604 w 1636453"/>
              <a:gd name="connsiteY635" fmla="*/ 467438 h 467438"/>
              <a:gd name="connsiteX636" fmla="*/ 773574 w 1636453"/>
              <a:gd name="connsiteY636" fmla="*/ 467438 h 467438"/>
              <a:gd name="connsiteX637" fmla="*/ 773572 w 1636453"/>
              <a:gd name="connsiteY637" fmla="*/ 467438 h 467438"/>
              <a:gd name="connsiteX638" fmla="*/ 773563 w 1636453"/>
              <a:gd name="connsiteY638" fmla="*/ 467438 h 467438"/>
              <a:gd name="connsiteX639" fmla="*/ 773562 w 1636453"/>
              <a:gd name="connsiteY639" fmla="*/ 467438 h 467438"/>
              <a:gd name="connsiteX640" fmla="*/ 763464 w 1636453"/>
              <a:gd name="connsiteY640" fmla="*/ 467438 h 467438"/>
              <a:gd name="connsiteX641" fmla="*/ 763462 w 1636453"/>
              <a:gd name="connsiteY641" fmla="*/ 467438 h 467438"/>
              <a:gd name="connsiteX642" fmla="*/ 746399 w 1636453"/>
              <a:gd name="connsiteY642" fmla="*/ 467438 h 467438"/>
              <a:gd name="connsiteX643" fmla="*/ 742392 w 1636453"/>
              <a:gd name="connsiteY643" fmla="*/ 467438 h 467438"/>
              <a:gd name="connsiteX644" fmla="*/ 739086 w 1636453"/>
              <a:gd name="connsiteY644" fmla="*/ 467438 h 467438"/>
              <a:gd name="connsiteX645" fmla="*/ 739083 w 1636453"/>
              <a:gd name="connsiteY645" fmla="*/ 467438 h 467438"/>
              <a:gd name="connsiteX646" fmla="*/ 739074 w 1636453"/>
              <a:gd name="connsiteY646" fmla="*/ 467438 h 467438"/>
              <a:gd name="connsiteX647" fmla="*/ 736045 w 1636453"/>
              <a:gd name="connsiteY647" fmla="*/ 467438 h 467438"/>
              <a:gd name="connsiteX648" fmla="*/ 736042 w 1636453"/>
              <a:gd name="connsiteY648" fmla="*/ 467438 h 467438"/>
              <a:gd name="connsiteX649" fmla="*/ 733038 w 1636453"/>
              <a:gd name="connsiteY649" fmla="*/ 467438 h 467438"/>
              <a:gd name="connsiteX650" fmla="*/ 733036 w 1636453"/>
              <a:gd name="connsiteY650" fmla="*/ 467438 h 467438"/>
              <a:gd name="connsiteX651" fmla="*/ 729997 w 1636453"/>
              <a:gd name="connsiteY651" fmla="*/ 467438 h 467438"/>
              <a:gd name="connsiteX652" fmla="*/ 729995 w 1636453"/>
              <a:gd name="connsiteY652" fmla="*/ 467438 h 467438"/>
              <a:gd name="connsiteX653" fmla="*/ 722021 w 1636453"/>
              <a:gd name="connsiteY653" fmla="*/ 467438 h 467438"/>
              <a:gd name="connsiteX654" fmla="*/ 722020 w 1636453"/>
              <a:gd name="connsiteY654" fmla="*/ 467438 h 467438"/>
              <a:gd name="connsiteX655" fmla="*/ 718014 w 1636453"/>
              <a:gd name="connsiteY655" fmla="*/ 467438 h 467438"/>
              <a:gd name="connsiteX656" fmla="*/ 718013 w 1636453"/>
              <a:gd name="connsiteY656" fmla="*/ 467438 h 467438"/>
              <a:gd name="connsiteX657" fmla="*/ 715974 w 1636453"/>
              <a:gd name="connsiteY657" fmla="*/ 467438 h 467438"/>
              <a:gd name="connsiteX658" fmla="*/ 715973 w 1636453"/>
              <a:gd name="connsiteY658" fmla="*/ 467438 h 467438"/>
              <a:gd name="connsiteX659" fmla="*/ 711967 w 1636453"/>
              <a:gd name="connsiteY659" fmla="*/ 467438 h 467438"/>
              <a:gd name="connsiteX660" fmla="*/ 711966 w 1636453"/>
              <a:gd name="connsiteY660" fmla="*/ 467438 h 467438"/>
              <a:gd name="connsiteX661" fmla="*/ 702834 w 1636453"/>
              <a:gd name="connsiteY661" fmla="*/ 467438 h 467438"/>
              <a:gd name="connsiteX662" fmla="*/ 702832 w 1636453"/>
              <a:gd name="connsiteY662" fmla="*/ 467438 h 467438"/>
              <a:gd name="connsiteX663" fmla="*/ 698826 w 1636453"/>
              <a:gd name="connsiteY663" fmla="*/ 467438 h 467438"/>
              <a:gd name="connsiteX664" fmla="*/ 698824 w 1636453"/>
              <a:gd name="connsiteY664" fmla="*/ 467438 h 467438"/>
              <a:gd name="connsiteX665" fmla="*/ 695509 w 1636453"/>
              <a:gd name="connsiteY665" fmla="*/ 467438 h 467438"/>
              <a:gd name="connsiteX666" fmla="*/ 695506 w 1636453"/>
              <a:gd name="connsiteY666" fmla="*/ 467438 h 467438"/>
              <a:gd name="connsiteX667" fmla="*/ 684803 w 1636453"/>
              <a:gd name="connsiteY667" fmla="*/ 467438 h 467438"/>
              <a:gd name="connsiteX668" fmla="*/ 681761 w 1636453"/>
              <a:gd name="connsiteY668" fmla="*/ 467438 h 467438"/>
              <a:gd name="connsiteX669" fmla="*/ 678455 w 1636453"/>
              <a:gd name="connsiteY669" fmla="*/ 467438 h 467438"/>
              <a:gd name="connsiteX670" fmla="*/ 678453 w 1636453"/>
              <a:gd name="connsiteY670" fmla="*/ 467438 h 467438"/>
              <a:gd name="connsiteX671" fmla="*/ 678444 w 1636453"/>
              <a:gd name="connsiteY671" fmla="*/ 467438 h 467438"/>
              <a:gd name="connsiteX672" fmla="*/ 678443 w 1636453"/>
              <a:gd name="connsiteY672" fmla="*/ 467438 h 467438"/>
              <a:gd name="connsiteX673" fmla="*/ 674448 w 1636453"/>
              <a:gd name="connsiteY673" fmla="*/ 467438 h 467438"/>
              <a:gd name="connsiteX674" fmla="*/ 674445 w 1636453"/>
              <a:gd name="connsiteY674" fmla="*/ 467438 h 467438"/>
              <a:gd name="connsiteX675" fmla="*/ 674436 w 1636453"/>
              <a:gd name="connsiteY675" fmla="*/ 467438 h 467438"/>
              <a:gd name="connsiteX676" fmla="*/ 672407 w 1636453"/>
              <a:gd name="connsiteY676" fmla="*/ 467438 h 467438"/>
              <a:gd name="connsiteX677" fmla="*/ 672406 w 1636453"/>
              <a:gd name="connsiteY677" fmla="*/ 467438 h 467438"/>
              <a:gd name="connsiteX678" fmla="*/ 668400 w 1636453"/>
              <a:gd name="connsiteY678" fmla="*/ 467438 h 467438"/>
              <a:gd name="connsiteX679" fmla="*/ 668398 w 1636453"/>
              <a:gd name="connsiteY679" fmla="*/ 467438 h 467438"/>
              <a:gd name="connsiteX680" fmla="*/ 657383 w 1636453"/>
              <a:gd name="connsiteY680" fmla="*/ 467438 h 467438"/>
              <a:gd name="connsiteX681" fmla="*/ 657382 w 1636453"/>
              <a:gd name="connsiteY681" fmla="*/ 467438 h 467438"/>
              <a:gd name="connsiteX682" fmla="*/ 651336 w 1636453"/>
              <a:gd name="connsiteY682" fmla="*/ 467438 h 467438"/>
              <a:gd name="connsiteX683" fmla="*/ 651335 w 1636453"/>
              <a:gd name="connsiteY683" fmla="*/ 467438 h 467438"/>
              <a:gd name="connsiteX684" fmla="*/ 647273 w 1636453"/>
              <a:gd name="connsiteY684" fmla="*/ 467438 h 467438"/>
              <a:gd name="connsiteX685" fmla="*/ 641237 w 1636453"/>
              <a:gd name="connsiteY685" fmla="*/ 467438 h 467438"/>
              <a:gd name="connsiteX686" fmla="*/ 641235 w 1636453"/>
              <a:gd name="connsiteY686" fmla="*/ 467438 h 467438"/>
              <a:gd name="connsiteX687" fmla="*/ 641225 w 1636453"/>
              <a:gd name="connsiteY687" fmla="*/ 467438 h 467438"/>
              <a:gd name="connsiteX688" fmla="*/ 638196 w 1636453"/>
              <a:gd name="connsiteY688" fmla="*/ 467438 h 467438"/>
              <a:gd name="connsiteX689" fmla="*/ 638194 w 1636453"/>
              <a:gd name="connsiteY689" fmla="*/ 467438 h 467438"/>
              <a:gd name="connsiteX690" fmla="*/ 634878 w 1636453"/>
              <a:gd name="connsiteY690" fmla="*/ 467438 h 467438"/>
              <a:gd name="connsiteX691" fmla="*/ 634876 w 1636453"/>
              <a:gd name="connsiteY691" fmla="*/ 467438 h 467438"/>
              <a:gd name="connsiteX692" fmla="*/ 630871 w 1636453"/>
              <a:gd name="connsiteY692" fmla="*/ 467438 h 467438"/>
              <a:gd name="connsiteX693" fmla="*/ 630868 w 1636453"/>
              <a:gd name="connsiteY693" fmla="*/ 467438 h 467438"/>
              <a:gd name="connsiteX694" fmla="*/ 624172 w 1636453"/>
              <a:gd name="connsiteY694" fmla="*/ 467438 h 467438"/>
              <a:gd name="connsiteX695" fmla="*/ 624171 w 1636453"/>
              <a:gd name="connsiteY695" fmla="*/ 467438 h 467438"/>
              <a:gd name="connsiteX696" fmla="*/ 620165 w 1636453"/>
              <a:gd name="connsiteY696" fmla="*/ 467438 h 467438"/>
              <a:gd name="connsiteX697" fmla="*/ 616848 w 1636453"/>
              <a:gd name="connsiteY697" fmla="*/ 467438 h 467438"/>
              <a:gd name="connsiteX698" fmla="*/ 616847 w 1636453"/>
              <a:gd name="connsiteY698" fmla="*/ 467438 h 467438"/>
              <a:gd name="connsiteX699" fmla="*/ 613817 w 1636453"/>
              <a:gd name="connsiteY699" fmla="*/ 467438 h 467438"/>
              <a:gd name="connsiteX700" fmla="*/ 613815 w 1636453"/>
              <a:gd name="connsiteY700" fmla="*/ 467438 h 467438"/>
              <a:gd name="connsiteX701" fmla="*/ 613806 w 1636453"/>
              <a:gd name="connsiteY701" fmla="*/ 467438 h 467438"/>
              <a:gd name="connsiteX702" fmla="*/ 613805 w 1636453"/>
              <a:gd name="connsiteY702" fmla="*/ 467438 h 467438"/>
              <a:gd name="connsiteX703" fmla="*/ 607769 w 1636453"/>
              <a:gd name="connsiteY703" fmla="*/ 467438 h 467438"/>
              <a:gd name="connsiteX704" fmla="*/ 607768 w 1636453"/>
              <a:gd name="connsiteY704" fmla="*/ 467438 h 467438"/>
              <a:gd name="connsiteX705" fmla="*/ 603707 w 1636453"/>
              <a:gd name="connsiteY705" fmla="*/ 467438 h 467438"/>
              <a:gd name="connsiteX706" fmla="*/ 603705 w 1636453"/>
              <a:gd name="connsiteY706" fmla="*/ 467438 h 467438"/>
              <a:gd name="connsiteX707" fmla="*/ 597660 w 1636453"/>
              <a:gd name="connsiteY707" fmla="*/ 467438 h 467438"/>
              <a:gd name="connsiteX708" fmla="*/ 597657 w 1636453"/>
              <a:gd name="connsiteY708" fmla="*/ 467438 h 467438"/>
              <a:gd name="connsiteX709" fmla="*/ 586642 w 1636453"/>
              <a:gd name="connsiteY709" fmla="*/ 467438 h 467438"/>
              <a:gd name="connsiteX710" fmla="*/ 582635 w 1636453"/>
              <a:gd name="connsiteY710" fmla="*/ 467438 h 467438"/>
              <a:gd name="connsiteX711" fmla="*/ 580606 w 1636453"/>
              <a:gd name="connsiteY711" fmla="*/ 467438 h 467438"/>
              <a:gd name="connsiteX712" fmla="*/ 580604 w 1636453"/>
              <a:gd name="connsiteY712" fmla="*/ 467438 h 467438"/>
              <a:gd name="connsiteX713" fmla="*/ 580595 w 1636453"/>
              <a:gd name="connsiteY713" fmla="*/ 467438 h 467438"/>
              <a:gd name="connsiteX714" fmla="*/ 580594 w 1636453"/>
              <a:gd name="connsiteY714" fmla="*/ 467438 h 467438"/>
              <a:gd name="connsiteX715" fmla="*/ 576599 w 1636453"/>
              <a:gd name="connsiteY715" fmla="*/ 467438 h 467438"/>
              <a:gd name="connsiteX716" fmla="*/ 576597 w 1636453"/>
              <a:gd name="connsiteY716" fmla="*/ 467438 h 467438"/>
              <a:gd name="connsiteX717" fmla="*/ 576587 w 1636453"/>
              <a:gd name="connsiteY717" fmla="*/ 467438 h 467438"/>
              <a:gd name="connsiteX718" fmla="*/ 573281 w 1636453"/>
              <a:gd name="connsiteY718" fmla="*/ 467438 h 467438"/>
              <a:gd name="connsiteX719" fmla="*/ 573279 w 1636453"/>
              <a:gd name="connsiteY719" fmla="*/ 467438 h 467438"/>
              <a:gd name="connsiteX720" fmla="*/ 570240 w 1636453"/>
              <a:gd name="connsiteY720" fmla="*/ 467438 h 467438"/>
              <a:gd name="connsiteX721" fmla="*/ 570238 w 1636453"/>
              <a:gd name="connsiteY721" fmla="*/ 467438 h 467438"/>
              <a:gd name="connsiteX722" fmla="*/ 559534 w 1636453"/>
              <a:gd name="connsiteY722" fmla="*/ 467438 h 467438"/>
              <a:gd name="connsiteX723" fmla="*/ 559533 w 1636453"/>
              <a:gd name="connsiteY723" fmla="*/ 467438 h 467438"/>
              <a:gd name="connsiteX724" fmla="*/ 556217 w 1636453"/>
              <a:gd name="connsiteY724" fmla="*/ 467438 h 467438"/>
              <a:gd name="connsiteX725" fmla="*/ 556216 w 1636453"/>
              <a:gd name="connsiteY725" fmla="*/ 467438 h 467438"/>
              <a:gd name="connsiteX726" fmla="*/ 552210 w 1636453"/>
              <a:gd name="connsiteY726" fmla="*/ 467438 h 467438"/>
              <a:gd name="connsiteX727" fmla="*/ 552209 w 1636453"/>
              <a:gd name="connsiteY727" fmla="*/ 467438 h 467438"/>
              <a:gd name="connsiteX728" fmla="*/ 543077 w 1636453"/>
              <a:gd name="connsiteY728" fmla="*/ 467438 h 467438"/>
              <a:gd name="connsiteX729" fmla="*/ 543075 w 1636453"/>
              <a:gd name="connsiteY729" fmla="*/ 467438 h 467438"/>
              <a:gd name="connsiteX730" fmla="*/ 539069 w 1636453"/>
              <a:gd name="connsiteY730" fmla="*/ 467438 h 467438"/>
              <a:gd name="connsiteX731" fmla="*/ 539067 w 1636453"/>
              <a:gd name="connsiteY731" fmla="*/ 467438 h 467438"/>
              <a:gd name="connsiteX732" fmla="*/ 537030 w 1636453"/>
              <a:gd name="connsiteY732" fmla="*/ 467438 h 467438"/>
              <a:gd name="connsiteX733" fmla="*/ 537027 w 1636453"/>
              <a:gd name="connsiteY733" fmla="*/ 467438 h 467438"/>
              <a:gd name="connsiteX734" fmla="*/ 533022 w 1636453"/>
              <a:gd name="connsiteY734" fmla="*/ 467438 h 467438"/>
              <a:gd name="connsiteX735" fmla="*/ 533019 w 1636453"/>
              <a:gd name="connsiteY735" fmla="*/ 467438 h 467438"/>
              <a:gd name="connsiteX736" fmla="*/ 525046 w 1636453"/>
              <a:gd name="connsiteY736" fmla="*/ 467438 h 467438"/>
              <a:gd name="connsiteX737" fmla="*/ 522004 w 1636453"/>
              <a:gd name="connsiteY737" fmla="*/ 467438 h 467438"/>
              <a:gd name="connsiteX738" fmla="*/ 518999 w 1636453"/>
              <a:gd name="connsiteY738" fmla="*/ 467438 h 467438"/>
              <a:gd name="connsiteX739" fmla="*/ 518998 w 1636453"/>
              <a:gd name="connsiteY739" fmla="*/ 467438 h 467438"/>
              <a:gd name="connsiteX740" fmla="*/ 515968 w 1636453"/>
              <a:gd name="connsiteY740" fmla="*/ 467438 h 467438"/>
              <a:gd name="connsiteX741" fmla="*/ 515966 w 1636453"/>
              <a:gd name="connsiteY741" fmla="*/ 467438 h 467438"/>
              <a:gd name="connsiteX742" fmla="*/ 515957 w 1636453"/>
              <a:gd name="connsiteY742" fmla="*/ 467438 h 467438"/>
              <a:gd name="connsiteX743" fmla="*/ 515956 w 1636453"/>
              <a:gd name="connsiteY743" fmla="*/ 467438 h 467438"/>
              <a:gd name="connsiteX744" fmla="*/ 512650 w 1636453"/>
              <a:gd name="connsiteY744" fmla="*/ 467438 h 467438"/>
              <a:gd name="connsiteX745" fmla="*/ 512649 w 1636453"/>
              <a:gd name="connsiteY745" fmla="*/ 467438 h 467438"/>
              <a:gd name="connsiteX746" fmla="*/ 508643 w 1636453"/>
              <a:gd name="connsiteY746" fmla="*/ 467438 h 467438"/>
              <a:gd name="connsiteX747" fmla="*/ 508641 w 1636453"/>
              <a:gd name="connsiteY747" fmla="*/ 467438 h 467438"/>
              <a:gd name="connsiteX748" fmla="*/ 491579 w 1636453"/>
              <a:gd name="connsiteY748" fmla="*/ 467438 h 467438"/>
              <a:gd name="connsiteX749" fmla="*/ 491578 w 1636453"/>
              <a:gd name="connsiteY749" fmla="*/ 467438 h 467438"/>
              <a:gd name="connsiteX750" fmla="*/ 481480 w 1636453"/>
              <a:gd name="connsiteY750" fmla="*/ 467438 h 467438"/>
              <a:gd name="connsiteX751" fmla="*/ 481478 w 1636453"/>
              <a:gd name="connsiteY751" fmla="*/ 467438 h 467438"/>
              <a:gd name="connsiteX752" fmla="*/ 481468 w 1636453"/>
              <a:gd name="connsiteY752" fmla="*/ 467438 h 467438"/>
              <a:gd name="connsiteX753" fmla="*/ 478439 w 1636453"/>
              <a:gd name="connsiteY753" fmla="*/ 467438 h 467438"/>
              <a:gd name="connsiteX754" fmla="*/ 478437 w 1636453"/>
              <a:gd name="connsiteY754" fmla="*/ 467438 h 467438"/>
              <a:gd name="connsiteX755" fmla="*/ 475433 w 1636453"/>
              <a:gd name="connsiteY755" fmla="*/ 467438 h 467438"/>
              <a:gd name="connsiteX756" fmla="*/ 475430 w 1636453"/>
              <a:gd name="connsiteY756" fmla="*/ 467438 h 467438"/>
              <a:gd name="connsiteX757" fmla="*/ 472392 w 1636453"/>
              <a:gd name="connsiteY757" fmla="*/ 467438 h 467438"/>
              <a:gd name="connsiteX758" fmla="*/ 472389 w 1636453"/>
              <a:gd name="connsiteY758" fmla="*/ 467438 h 467438"/>
              <a:gd name="connsiteX759" fmla="*/ 464415 w 1636453"/>
              <a:gd name="connsiteY759" fmla="*/ 467438 h 467438"/>
              <a:gd name="connsiteX760" fmla="*/ 464414 w 1636453"/>
              <a:gd name="connsiteY760" fmla="*/ 467438 h 467438"/>
              <a:gd name="connsiteX761" fmla="*/ 460408 w 1636453"/>
              <a:gd name="connsiteY761" fmla="*/ 467438 h 467438"/>
              <a:gd name="connsiteX762" fmla="*/ 458368 w 1636453"/>
              <a:gd name="connsiteY762" fmla="*/ 467438 h 467438"/>
              <a:gd name="connsiteX763" fmla="*/ 458367 w 1636453"/>
              <a:gd name="connsiteY763" fmla="*/ 467438 h 467438"/>
              <a:gd name="connsiteX764" fmla="*/ 454361 w 1636453"/>
              <a:gd name="connsiteY764" fmla="*/ 467438 h 467438"/>
              <a:gd name="connsiteX765" fmla="*/ 454360 w 1636453"/>
              <a:gd name="connsiteY765" fmla="*/ 467438 h 467438"/>
              <a:gd name="connsiteX766" fmla="*/ 448012 w 1636453"/>
              <a:gd name="connsiteY766" fmla="*/ 467438 h 467438"/>
              <a:gd name="connsiteX767" fmla="*/ 448011 w 1636453"/>
              <a:gd name="connsiteY767" fmla="*/ 467438 h 467438"/>
              <a:gd name="connsiteX768" fmla="*/ 437903 w 1636453"/>
              <a:gd name="connsiteY768" fmla="*/ 467438 h 467438"/>
              <a:gd name="connsiteX769" fmla="*/ 437900 w 1636453"/>
              <a:gd name="connsiteY769" fmla="*/ 467438 h 467438"/>
              <a:gd name="connsiteX770" fmla="*/ 420849 w 1636453"/>
              <a:gd name="connsiteY770" fmla="*/ 467438 h 467438"/>
              <a:gd name="connsiteX771" fmla="*/ 420847 w 1636453"/>
              <a:gd name="connsiteY771" fmla="*/ 467438 h 467438"/>
              <a:gd name="connsiteX772" fmla="*/ 420838 w 1636453"/>
              <a:gd name="connsiteY772" fmla="*/ 467438 h 467438"/>
              <a:gd name="connsiteX773" fmla="*/ 420837 w 1636453"/>
              <a:gd name="connsiteY773" fmla="*/ 467438 h 467438"/>
              <a:gd name="connsiteX774" fmla="*/ 416842 w 1636453"/>
              <a:gd name="connsiteY774" fmla="*/ 467438 h 467438"/>
              <a:gd name="connsiteX775" fmla="*/ 416840 w 1636453"/>
              <a:gd name="connsiteY775" fmla="*/ 467438 h 467438"/>
              <a:gd name="connsiteX776" fmla="*/ 416830 w 1636453"/>
              <a:gd name="connsiteY776" fmla="*/ 467438 h 467438"/>
              <a:gd name="connsiteX777" fmla="*/ 414802 w 1636453"/>
              <a:gd name="connsiteY777" fmla="*/ 467438 h 467438"/>
              <a:gd name="connsiteX778" fmla="*/ 414800 w 1636453"/>
              <a:gd name="connsiteY778" fmla="*/ 467438 h 467438"/>
              <a:gd name="connsiteX779" fmla="*/ 233720 w 1636453"/>
              <a:gd name="connsiteY779" fmla="*/ 467437 h 467438"/>
              <a:gd name="connsiteX780" fmla="*/ 4748 w 1636453"/>
              <a:gd name="connsiteY780" fmla="*/ 280821 h 467438"/>
              <a:gd name="connsiteX781" fmla="*/ 0 w 1636453"/>
              <a:gd name="connsiteY781" fmla="*/ 233720 h 467438"/>
              <a:gd name="connsiteX782" fmla="*/ 4748 w 1636453"/>
              <a:gd name="connsiteY782" fmla="*/ 186617 h 467438"/>
              <a:gd name="connsiteX783" fmla="*/ 233720 w 1636453"/>
              <a:gd name="connsiteY783" fmla="*/ 0 h 46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</a:cxnLst>
            <a:rect l="l" t="t" r="r" b="b"/>
            <a:pathLst>
              <a:path w="1636453" h="467438">
                <a:moveTo>
                  <a:pt x="233720" y="0"/>
                </a:moveTo>
                <a:lnTo>
                  <a:pt x="233973" y="0"/>
                </a:lnTo>
                <a:lnTo>
                  <a:pt x="235750" y="0"/>
                </a:lnTo>
                <a:lnTo>
                  <a:pt x="235759" y="0"/>
                </a:lnTo>
                <a:lnTo>
                  <a:pt x="239757" y="0"/>
                </a:lnTo>
                <a:lnTo>
                  <a:pt x="239767" y="0"/>
                </a:lnTo>
                <a:lnTo>
                  <a:pt x="251036" y="0"/>
                </a:lnTo>
                <a:lnTo>
                  <a:pt x="255044" y="0"/>
                </a:lnTo>
                <a:lnTo>
                  <a:pt x="256820" y="0"/>
                </a:lnTo>
                <a:lnTo>
                  <a:pt x="266930" y="0"/>
                </a:lnTo>
                <a:lnTo>
                  <a:pt x="273280" y="0"/>
                </a:lnTo>
                <a:lnTo>
                  <a:pt x="277287" y="0"/>
                </a:lnTo>
                <a:lnTo>
                  <a:pt x="279327" y="0"/>
                </a:lnTo>
                <a:lnTo>
                  <a:pt x="283334" y="0"/>
                </a:lnTo>
                <a:lnTo>
                  <a:pt x="291309" y="0"/>
                </a:lnTo>
                <a:lnTo>
                  <a:pt x="294350" y="0"/>
                </a:lnTo>
                <a:lnTo>
                  <a:pt x="294604" y="0"/>
                </a:lnTo>
                <a:lnTo>
                  <a:pt x="297356" y="0"/>
                </a:lnTo>
                <a:lnTo>
                  <a:pt x="298611" y="0"/>
                </a:lnTo>
                <a:lnTo>
                  <a:pt x="300388" y="0"/>
                </a:lnTo>
                <a:lnTo>
                  <a:pt x="300397" y="0"/>
                </a:lnTo>
                <a:lnTo>
                  <a:pt x="310497" y="0"/>
                </a:lnTo>
                <a:lnTo>
                  <a:pt x="312633" y="0"/>
                </a:lnTo>
                <a:lnTo>
                  <a:pt x="315674" y="0"/>
                </a:lnTo>
                <a:lnTo>
                  <a:pt x="327561" y="0"/>
                </a:lnTo>
                <a:lnTo>
                  <a:pt x="331568" y="0"/>
                </a:lnTo>
                <a:lnTo>
                  <a:pt x="334876" y="0"/>
                </a:lnTo>
                <a:lnTo>
                  <a:pt x="334886" y="0"/>
                </a:lnTo>
                <a:lnTo>
                  <a:pt x="337918" y="0"/>
                </a:lnTo>
                <a:lnTo>
                  <a:pt x="340923" y="0"/>
                </a:lnTo>
                <a:lnTo>
                  <a:pt x="343965" y="0"/>
                </a:lnTo>
                <a:lnTo>
                  <a:pt x="350163" y="0"/>
                </a:lnTo>
                <a:lnTo>
                  <a:pt x="351939" y="0"/>
                </a:lnTo>
                <a:lnTo>
                  <a:pt x="355947" y="0"/>
                </a:lnTo>
                <a:lnTo>
                  <a:pt x="356200" y="0"/>
                </a:lnTo>
                <a:lnTo>
                  <a:pt x="356210" y="0"/>
                </a:lnTo>
                <a:lnTo>
                  <a:pt x="357987" y="0"/>
                </a:lnTo>
                <a:lnTo>
                  <a:pt x="359242" y="0"/>
                </a:lnTo>
                <a:lnTo>
                  <a:pt x="361994" y="0"/>
                </a:lnTo>
                <a:lnTo>
                  <a:pt x="371129" y="0"/>
                </a:lnTo>
                <a:lnTo>
                  <a:pt x="373263" y="0"/>
                </a:lnTo>
                <a:lnTo>
                  <a:pt x="375135" y="0"/>
                </a:lnTo>
                <a:lnTo>
                  <a:pt x="377271" y="0"/>
                </a:lnTo>
                <a:lnTo>
                  <a:pt x="378453" y="0"/>
                </a:lnTo>
                <a:lnTo>
                  <a:pt x="389158" y="0"/>
                </a:lnTo>
                <a:lnTo>
                  <a:pt x="392199" y="0"/>
                </a:lnTo>
                <a:lnTo>
                  <a:pt x="393730" y="0"/>
                </a:lnTo>
                <a:lnTo>
                  <a:pt x="395507" y="0"/>
                </a:lnTo>
                <a:lnTo>
                  <a:pt x="395516" y="0"/>
                </a:lnTo>
                <a:lnTo>
                  <a:pt x="399514" y="0"/>
                </a:lnTo>
                <a:lnTo>
                  <a:pt x="399524" y="0"/>
                </a:lnTo>
                <a:lnTo>
                  <a:pt x="399777" y="0"/>
                </a:lnTo>
                <a:lnTo>
                  <a:pt x="401555" y="0"/>
                </a:lnTo>
                <a:lnTo>
                  <a:pt x="405561" y="0"/>
                </a:lnTo>
                <a:lnTo>
                  <a:pt x="410793" y="0"/>
                </a:lnTo>
                <a:lnTo>
                  <a:pt x="414801" y="0"/>
                </a:lnTo>
                <a:lnTo>
                  <a:pt x="416577" y="0"/>
                </a:lnTo>
                <a:lnTo>
                  <a:pt x="416831" y="0"/>
                </a:lnTo>
                <a:lnTo>
                  <a:pt x="416840" y="0"/>
                </a:lnTo>
                <a:lnTo>
                  <a:pt x="420838" y="0"/>
                </a:lnTo>
                <a:lnTo>
                  <a:pt x="420848" y="0"/>
                </a:lnTo>
                <a:lnTo>
                  <a:pt x="422625" y="0"/>
                </a:lnTo>
                <a:lnTo>
                  <a:pt x="426687" y="0"/>
                </a:lnTo>
                <a:lnTo>
                  <a:pt x="432725" y="0"/>
                </a:lnTo>
                <a:lnTo>
                  <a:pt x="432735" y="0"/>
                </a:lnTo>
                <a:lnTo>
                  <a:pt x="435767" y="0"/>
                </a:lnTo>
                <a:lnTo>
                  <a:pt x="437901" y="0"/>
                </a:lnTo>
                <a:lnTo>
                  <a:pt x="439084" y="0"/>
                </a:lnTo>
                <a:lnTo>
                  <a:pt x="443091" y="0"/>
                </a:lnTo>
                <a:lnTo>
                  <a:pt x="448011" y="0"/>
                </a:lnTo>
                <a:lnTo>
                  <a:pt x="449788" y="0"/>
                </a:lnTo>
                <a:lnTo>
                  <a:pt x="453796" y="0"/>
                </a:lnTo>
                <a:lnTo>
                  <a:pt x="454361" y="0"/>
                </a:lnTo>
                <a:lnTo>
                  <a:pt x="457113" y="0"/>
                </a:lnTo>
                <a:lnTo>
                  <a:pt x="458368" y="0"/>
                </a:lnTo>
                <a:lnTo>
                  <a:pt x="460145" y="0"/>
                </a:lnTo>
                <a:lnTo>
                  <a:pt x="460154" y="0"/>
                </a:lnTo>
                <a:lnTo>
                  <a:pt x="460408" y="0"/>
                </a:lnTo>
                <a:lnTo>
                  <a:pt x="464415" y="0"/>
                </a:lnTo>
                <a:lnTo>
                  <a:pt x="466193" y="0"/>
                </a:lnTo>
                <a:lnTo>
                  <a:pt x="470254" y="0"/>
                </a:lnTo>
                <a:lnTo>
                  <a:pt x="472390" y="0"/>
                </a:lnTo>
                <a:lnTo>
                  <a:pt x="475431" y="0"/>
                </a:lnTo>
                <a:lnTo>
                  <a:pt x="476302" y="0"/>
                </a:lnTo>
                <a:lnTo>
                  <a:pt x="478437" y="0"/>
                </a:lnTo>
                <a:lnTo>
                  <a:pt x="481469" y="0"/>
                </a:lnTo>
                <a:lnTo>
                  <a:pt x="481478" y="0"/>
                </a:lnTo>
                <a:lnTo>
                  <a:pt x="487318" y="0"/>
                </a:lnTo>
                <a:lnTo>
                  <a:pt x="491325" y="0"/>
                </a:lnTo>
                <a:lnTo>
                  <a:pt x="491579" y="0"/>
                </a:lnTo>
                <a:lnTo>
                  <a:pt x="493356" y="0"/>
                </a:lnTo>
                <a:lnTo>
                  <a:pt x="493365" y="0"/>
                </a:lnTo>
                <a:lnTo>
                  <a:pt x="497363" y="0"/>
                </a:lnTo>
                <a:lnTo>
                  <a:pt x="497373" y="0"/>
                </a:lnTo>
                <a:lnTo>
                  <a:pt x="500680" y="0"/>
                </a:lnTo>
                <a:lnTo>
                  <a:pt x="503722" y="0"/>
                </a:lnTo>
                <a:lnTo>
                  <a:pt x="508642" y="0"/>
                </a:lnTo>
                <a:lnTo>
                  <a:pt x="512649" y="0"/>
                </a:lnTo>
                <a:lnTo>
                  <a:pt x="514426" y="0"/>
                </a:lnTo>
                <a:lnTo>
                  <a:pt x="515957" y="0"/>
                </a:lnTo>
                <a:lnTo>
                  <a:pt x="515967" y="0"/>
                </a:lnTo>
                <a:lnTo>
                  <a:pt x="517744" y="0"/>
                </a:lnTo>
                <a:lnTo>
                  <a:pt x="518999" y="0"/>
                </a:lnTo>
                <a:lnTo>
                  <a:pt x="521751" y="0"/>
                </a:lnTo>
                <a:lnTo>
                  <a:pt x="522004" y="0"/>
                </a:lnTo>
                <a:lnTo>
                  <a:pt x="525046" y="0"/>
                </a:lnTo>
                <a:lnTo>
                  <a:pt x="530886" y="0"/>
                </a:lnTo>
                <a:lnTo>
                  <a:pt x="533020" y="0"/>
                </a:lnTo>
                <a:lnTo>
                  <a:pt x="534892" y="0"/>
                </a:lnTo>
                <a:lnTo>
                  <a:pt x="536933" y="0"/>
                </a:lnTo>
                <a:lnTo>
                  <a:pt x="537028" y="0"/>
                </a:lnTo>
                <a:lnTo>
                  <a:pt x="539068" y="0"/>
                </a:lnTo>
                <a:lnTo>
                  <a:pt x="540940" y="0"/>
                </a:lnTo>
                <a:lnTo>
                  <a:pt x="543075" y="0"/>
                </a:lnTo>
                <a:lnTo>
                  <a:pt x="548915" y="0"/>
                </a:lnTo>
                <a:lnTo>
                  <a:pt x="551956" y="0"/>
                </a:lnTo>
                <a:lnTo>
                  <a:pt x="552210" y="0"/>
                </a:lnTo>
                <a:lnTo>
                  <a:pt x="554962" y="0"/>
                </a:lnTo>
                <a:lnTo>
                  <a:pt x="556217" y="0"/>
                </a:lnTo>
                <a:lnTo>
                  <a:pt x="557994" y="0"/>
                </a:lnTo>
                <a:lnTo>
                  <a:pt x="558003" y="0"/>
                </a:lnTo>
                <a:lnTo>
                  <a:pt x="559534" y="0"/>
                </a:lnTo>
                <a:lnTo>
                  <a:pt x="561312" y="0"/>
                </a:lnTo>
                <a:lnTo>
                  <a:pt x="565318" y="0"/>
                </a:lnTo>
                <a:lnTo>
                  <a:pt x="570239" y="0"/>
                </a:lnTo>
                <a:lnTo>
                  <a:pt x="573280" y="0"/>
                </a:lnTo>
                <a:lnTo>
                  <a:pt x="576588" y="0"/>
                </a:lnTo>
                <a:lnTo>
                  <a:pt x="576597" y="0"/>
                </a:lnTo>
                <a:lnTo>
                  <a:pt x="580595" y="0"/>
                </a:lnTo>
                <a:lnTo>
                  <a:pt x="580605" y="0"/>
                </a:lnTo>
                <a:lnTo>
                  <a:pt x="582382" y="0"/>
                </a:lnTo>
                <a:lnTo>
                  <a:pt x="582636" y="0"/>
                </a:lnTo>
                <a:lnTo>
                  <a:pt x="586642" y="0"/>
                </a:lnTo>
                <a:lnTo>
                  <a:pt x="592482" y="0"/>
                </a:lnTo>
                <a:lnTo>
                  <a:pt x="592492" y="0"/>
                </a:lnTo>
                <a:lnTo>
                  <a:pt x="595524" y="0"/>
                </a:lnTo>
                <a:lnTo>
                  <a:pt x="597658" y="0"/>
                </a:lnTo>
                <a:lnTo>
                  <a:pt x="598529" y="0"/>
                </a:lnTo>
                <a:lnTo>
                  <a:pt x="601571" y="0"/>
                </a:lnTo>
                <a:lnTo>
                  <a:pt x="603706" y="0"/>
                </a:lnTo>
                <a:lnTo>
                  <a:pt x="607768" y="0"/>
                </a:lnTo>
                <a:lnTo>
                  <a:pt x="609545" y="0"/>
                </a:lnTo>
                <a:lnTo>
                  <a:pt x="613553" y="0"/>
                </a:lnTo>
                <a:lnTo>
                  <a:pt x="613806" y="0"/>
                </a:lnTo>
                <a:lnTo>
                  <a:pt x="613816" y="0"/>
                </a:lnTo>
                <a:lnTo>
                  <a:pt x="615592" y="0"/>
                </a:lnTo>
                <a:lnTo>
                  <a:pt x="616848" y="0"/>
                </a:lnTo>
                <a:lnTo>
                  <a:pt x="619600" y="0"/>
                </a:lnTo>
                <a:lnTo>
                  <a:pt x="620165" y="0"/>
                </a:lnTo>
                <a:lnTo>
                  <a:pt x="624172" y="0"/>
                </a:lnTo>
                <a:lnTo>
                  <a:pt x="625950" y="0"/>
                </a:lnTo>
                <a:lnTo>
                  <a:pt x="630869" y="0"/>
                </a:lnTo>
                <a:lnTo>
                  <a:pt x="634877" y="0"/>
                </a:lnTo>
                <a:lnTo>
                  <a:pt x="636059" y="0"/>
                </a:lnTo>
                <a:lnTo>
                  <a:pt x="638194" y="0"/>
                </a:lnTo>
                <a:lnTo>
                  <a:pt x="641226" y="0"/>
                </a:lnTo>
                <a:lnTo>
                  <a:pt x="641235" y="0"/>
                </a:lnTo>
                <a:lnTo>
                  <a:pt x="647274" y="0"/>
                </a:lnTo>
                <a:lnTo>
                  <a:pt x="651336" y="0"/>
                </a:lnTo>
                <a:lnTo>
                  <a:pt x="653113" y="0"/>
                </a:lnTo>
                <a:lnTo>
                  <a:pt x="653122" y="0"/>
                </a:lnTo>
                <a:lnTo>
                  <a:pt x="657120" y="0"/>
                </a:lnTo>
                <a:lnTo>
                  <a:pt x="657130" y="0"/>
                </a:lnTo>
                <a:lnTo>
                  <a:pt x="657383" y="0"/>
                </a:lnTo>
                <a:lnTo>
                  <a:pt x="659160" y="0"/>
                </a:lnTo>
                <a:lnTo>
                  <a:pt x="663167" y="0"/>
                </a:lnTo>
                <a:lnTo>
                  <a:pt x="668399" y="0"/>
                </a:lnTo>
                <a:lnTo>
                  <a:pt x="672406" y="0"/>
                </a:lnTo>
                <a:lnTo>
                  <a:pt x="674183" y="0"/>
                </a:lnTo>
                <a:lnTo>
                  <a:pt x="674437" y="0"/>
                </a:lnTo>
                <a:lnTo>
                  <a:pt x="674446" y="0"/>
                </a:lnTo>
                <a:lnTo>
                  <a:pt x="678444" y="0"/>
                </a:lnTo>
                <a:lnTo>
                  <a:pt x="678454" y="0"/>
                </a:lnTo>
                <a:lnTo>
                  <a:pt x="680230" y="0"/>
                </a:lnTo>
                <a:lnTo>
                  <a:pt x="681761" y="0"/>
                </a:lnTo>
                <a:lnTo>
                  <a:pt x="684803" y="0"/>
                </a:lnTo>
                <a:lnTo>
                  <a:pt x="695507" y="0"/>
                </a:lnTo>
                <a:lnTo>
                  <a:pt x="696690" y="0"/>
                </a:lnTo>
                <a:lnTo>
                  <a:pt x="698825" y="0"/>
                </a:lnTo>
                <a:lnTo>
                  <a:pt x="700697" y="0"/>
                </a:lnTo>
                <a:lnTo>
                  <a:pt x="702832" y="0"/>
                </a:lnTo>
                <a:lnTo>
                  <a:pt x="711967" y="0"/>
                </a:lnTo>
                <a:lnTo>
                  <a:pt x="714719" y="0"/>
                </a:lnTo>
                <a:lnTo>
                  <a:pt x="715974" y="0"/>
                </a:lnTo>
                <a:lnTo>
                  <a:pt x="717751" y="0"/>
                </a:lnTo>
                <a:lnTo>
                  <a:pt x="717760" y="0"/>
                </a:lnTo>
                <a:lnTo>
                  <a:pt x="718014" y="0"/>
                </a:lnTo>
                <a:lnTo>
                  <a:pt x="722021" y="0"/>
                </a:lnTo>
                <a:lnTo>
                  <a:pt x="723798" y="0"/>
                </a:lnTo>
                <a:lnTo>
                  <a:pt x="729996" y="0"/>
                </a:lnTo>
                <a:lnTo>
                  <a:pt x="733037" y="0"/>
                </a:lnTo>
                <a:lnTo>
                  <a:pt x="736043" y="0"/>
                </a:lnTo>
                <a:lnTo>
                  <a:pt x="739075" y="0"/>
                </a:lnTo>
                <a:lnTo>
                  <a:pt x="739084" y="0"/>
                </a:lnTo>
                <a:lnTo>
                  <a:pt x="742393" y="0"/>
                </a:lnTo>
                <a:lnTo>
                  <a:pt x="746399" y="0"/>
                </a:lnTo>
                <a:lnTo>
                  <a:pt x="758286" y="0"/>
                </a:lnTo>
                <a:lnTo>
                  <a:pt x="761328" y="0"/>
                </a:lnTo>
                <a:lnTo>
                  <a:pt x="763463" y="0"/>
                </a:lnTo>
                <a:lnTo>
                  <a:pt x="773563" y="0"/>
                </a:lnTo>
                <a:lnTo>
                  <a:pt x="773573" y="0"/>
                </a:lnTo>
                <a:lnTo>
                  <a:pt x="775349" y="0"/>
                </a:lnTo>
                <a:lnTo>
                  <a:pt x="776605" y="0"/>
                </a:lnTo>
                <a:lnTo>
                  <a:pt x="779357" y="0"/>
                </a:lnTo>
                <a:lnTo>
                  <a:pt x="779610" y="0"/>
                </a:lnTo>
                <a:lnTo>
                  <a:pt x="782652" y="0"/>
                </a:lnTo>
                <a:lnTo>
                  <a:pt x="790626" y="0"/>
                </a:lnTo>
                <a:lnTo>
                  <a:pt x="794634" y="0"/>
                </a:lnTo>
                <a:lnTo>
                  <a:pt x="796213" y="0"/>
                </a:lnTo>
                <a:lnTo>
                  <a:pt x="796466" y="0"/>
                </a:lnTo>
                <a:lnTo>
                  <a:pt x="796673" y="0"/>
                </a:lnTo>
                <a:lnTo>
                  <a:pt x="798243" y="0"/>
                </a:lnTo>
                <a:lnTo>
                  <a:pt x="798252" y="0"/>
                </a:lnTo>
                <a:lnTo>
                  <a:pt x="800681" y="0"/>
                </a:lnTo>
                <a:lnTo>
                  <a:pt x="802250" y="0"/>
                </a:lnTo>
                <a:lnTo>
                  <a:pt x="802260" y="0"/>
                </a:lnTo>
                <a:lnTo>
                  <a:pt x="807031" y="0"/>
                </a:lnTo>
                <a:lnTo>
                  <a:pt x="813529" y="0"/>
                </a:lnTo>
                <a:lnTo>
                  <a:pt x="817140" y="0"/>
                </a:lnTo>
                <a:lnTo>
                  <a:pt x="817537" y="0"/>
                </a:lnTo>
                <a:lnTo>
                  <a:pt x="818917" y="0"/>
                </a:lnTo>
                <a:lnTo>
                  <a:pt x="819313" y="0"/>
                </a:lnTo>
                <a:lnTo>
                  <a:pt x="822924" y="0"/>
                </a:lnTo>
                <a:lnTo>
                  <a:pt x="829423" y="0"/>
                </a:lnTo>
                <a:lnTo>
                  <a:pt x="834194" y="0"/>
                </a:lnTo>
                <a:lnTo>
                  <a:pt x="834203" y="0"/>
                </a:lnTo>
                <a:lnTo>
                  <a:pt x="835773" y="0"/>
                </a:lnTo>
                <a:lnTo>
                  <a:pt x="838201" y="0"/>
                </a:lnTo>
                <a:lnTo>
                  <a:pt x="838211" y="0"/>
                </a:lnTo>
                <a:lnTo>
                  <a:pt x="839780" y="0"/>
                </a:lnTo>
                <a:lnTo>
                  <a:pt x="839987" y="0"/>
                </a:lnTo>
                <a:lnTo>
                  <a:pt x="840241" y="0"/>
                </a:lnTo>
                <a:lnTo>
                  <a:pt x="841820" y="0"/>
                </a:lnTo>
                <a:lnTo>
                  <a:pt x="845827" y="0"/>
                </a:lnTo>
                <a:lnTo>
                  <a:pt x="853802" y="0"/>
                </a:lnTo>
                <a:lnTo>
                  <a:pt x="856843" y="0"/>
                </a:lnTo>
                <a:lnTo>
                  <a:pt x="857097" y="0"/>
                </a:lnTo>
                <a:lnTo>
                  <a:pt x="859849" y="0"/>
                </a:lnTo>
                <a:lnTo>
                  <a:pt x="861104" y="0"/>
                </a:lnTo>
                <a:lnTo>
                  <a:pt x="862881" y="0"/>
                </a:lnTo>
                <a:lnTo>
                  <a:pt x="862890" y="0"/>
                </a:lnTo>
                <a:lnTo>
                  <a:pt x="872990" y="0"/>
                </a:lnTo>
                <a:lnTo>
                  <a:pt x="875126" y="0"/>
                </a:lnTo>
                <a:lnTo>
                  <a:pt x="878167" y="0"/>
                </a:lnTo>
                <a:lnTo>
                  <a:pt x="890054" y="0"/>
                </a:lnTo>
                <a:lnTo>
                  <a:pt x="894061" y="0"/>
                </a:lnTo>
                <a:lnTo>
                  <a:pt x="897369" y="0"/>
                </a:lnTo>
                <a:lnTo>
                  <a:pt x="897379" y="0"/>
                </a:lnTo>
                <a:lnTo>
                  <a:pt x="900411" y="0"/>
                </a:lnTo>
                <a:lnTo>
                  <a:pt x="903416" y="0"/>
                </a:lnTo>
                <a:lnTo>
                  <a:pt x="906458" y="0"/>
                </a:lnTo>
                <a:lnTo>
                  <a:pt x="912656" y="0"/>
                </a:lnTo>
                <a:lnTo>
                  <a:pt x="914432" y="0"/>
                </a:lnTo>
                <a:lnTo>
                  <a:pt x="918440" y="0"/>
                </a:lnTo>
                <a:lnTo>
                  <a:pt x="918693" y="0"/>
                </a:lnTo>
                <a:lnTo>
                  <a:pt x="918703" y="0"/>
                </a:lnTo>
                <a:lnTo>
                  <a:pt x="920480" y="0"/>
                </a:lnTo>
                <a:lnTo>
                  <a:pt x="921735" y="0"/>
                </a:lnTo>
                <a:lnTo>
                  <a:pt x="924487" y="0"/>
                </a:lnTo>
                <a:lnTo>
                  <a:pt x="933622" y="0"/>
                </a:lnTo>
                <a:lnTo>
                  <a:pt x="935756" y="0"/>
                </a:lnTo>
                <a:lnTo>
                  <a:pt x="937628" y="0"/>
                </a:lnTo>
                <a:lnTo>
                  <a:pt x="939764" y="0"/>
                </a:lnTo>
                <a:lnTo>
                  <a:pt x="940946" y="0"/>
                </a:lnTo>
                <a:lnTo>
                  <a:pt x="951651" y="0"/>
                </a:lnTo>
                <a:lnTo>
                  <a:pt x="954692" y="0"/>
                </a:lnTo>
                <a:lnTo>
                  <a:pt x="956223" y="0"/>
                </a:lnTo>
                <a:lnTo>
                  <a:pt x="958000" y="0"/>
                </a:lnTo>
                <a:lnTo>
                  <a:pt x="958009" y="0"/>
                </a:lnTo>
                <a:lnTo>
                  <a:pt x="962007" y="0"/>
                </a:lnTo>
                <a:lnTo>
                  <a:pt x="962017" y="0"/>
                </a:lnTo>
                <a:lnTo>
                  <a:pt x="962270" y="0"/>
                </a:lnTo>
                <a:lnTo>
                  <a:pt x="964048" y="0"/>
                </a:lnTo>
                <a:lnTo>
                  <a:pt x="968054" y="0"/>
                </a:lnTo>
                <a:lnTo>
                  <a:pt x="973286" y="0"/>
                </a:lnTo>
                <a:lnTo>
                  <a:pt x="977294" y="0"/>
                </a:lnTo>
                <a:lnTo>
                  <a:pt x="979070" y="0"/>
                </a:lnTo>
                <a:lnTo>
                  <a:pt x="979324" y="0"/>
                </a:lnTo>
                <a:lnTo>
                  <a:pt x="979333" y="0"/>
                </a:lnTo>
                <a:lnTo>
                  <a:pt x="983331" y="0"/>
                </a:lnTo>
                <a:lnTo>
                  <a:pt x="983341" y="0"/>
                </a:lnTo>
                <a:lnTo>
                  <a:pt x="985118" y="0"/>
                </a:lnTo>
                <a:lnTo>
                  <a:pt x="989180" y="0"/>
                </a:lnTo>
                <a:lnTo>
                  <a:pt x="995218" y="0"/>
                </a:lnTo>
                <a:lnTo>
                  <a:pt x="995228" y="0"/>
                </a:lnTo>
                <a:lnTo>
                  <a:pt x="998260" y="0"/>
                </a:lnTo>
                <a:lnTo>
                  <a:pt x="1000394" y="0"/>
                </a:lnTo>
                <a:lnTo>
                  <a:pt x="1001577" y="0"/>
                </a:lnTo>
                <a:lnTo>
                  <a:pt x="1005584" y="0"/>
                </a:lnTo>
                <a:lnTo>
                  <a:pt x="1010504" y="0"/>
                </a:lnTo>
                <a:lnTo>
                  <a:pt x="1012281" y="0"/>
                </a:lnTo>
                <a:lnTo>
                  <a:pt x="1016289" y="0"/>
                </a:lnTo>
                <a:lnTo>
                  <a:pt x="1016854" y="0"/>
                </a:lnTo>
                <a:lnTo>
                  <a:pt x="1019606" y="0"/>
                </a:lnTo>
                <a:lnTo>
                  <a:pt x="1020861" y="0"/>
                </a:lnTo>
                <a:lnTo>
                  <a:pt x="1022638" y="0"/>
                </a:lnTo>
                <a:lnTo>
                  <a:pt x="1022647" y="0"/>
                </a:lnTo>
                <a:lnTo>
                  <a:pt x="1022901" y="0"/>
                </a:lnTo>
                <a:lnTo>
                  <a:pt x="1026908" y="0"/>
                </a:lnTo>
                <a:lnTo>
                  <a:pt x="1028686" y="0"/>
                </a:lnTo>
                <a:lnTo>
                  <a:pt x="1032747" y="0"/>
                </a:lnTo>
                <a:lnTo>
                  <a:pt x="1034883" y="0"/>
                </a:lnTo>
                <a:lnTo>
                  <a:pt x="1037924" y="0"/>
                </a:lnTo>
                <a:lnTo>
                  <a:pt x="1038795" y="0"/>
                </a:lnTo>
                <a:lnTo>
                  <a:pt x="1040930" y="0"/>
                </a:lnTo>
                <a:lnTo>
                  <a:pt x="1043962" y="0"/>
                </a:lnTo>
                <a:lnTo>
                  <a:pt x="1043971" y="0"/>
                </a:lnTo>
                <a:lnTo>
                  <a:pt x="1049811" y="0"/>
                </a:lnTo>
                <a:lnTo>
                  <a:pt x="1053818" y="0"/>
                </a:lnTo>
                <a:lnTo>
                  <a:pt x="1054072" y="0"/>
                </a:lnTo>
                <a:lnTo>
                  <a:pt x="1055849" y="0"/>
                </a:lnTo>
                <a:lnTo>
                  <a:pt x="1055858" y="0"/>
                </a:lnTo>
                <a:lnTo>
                  <a:pt x="1059856" y="0"/>
                </a:lnTo>
                <a:lnTo>
                  <a:pt x="1059866" y="0"/>
                </a:lnTo>
                <a:lnTo>
                  <a:pt x="1063173" y="0"/>
                </a:lnTo>
                <a:lnTo>
                  <a:pt x="1066215" y="0"/>
                </a:lnTo>
                <a:lnTo>
                  <a:pt x="1071135" y="0"/>
                </a:lnTo>
                <a:lnTo>
                  <a:pt x="1075142" y="0"/>
                </a:lnTo>
                <a:lnTo>
                  <a:pt x="1076919" y="0"/>
                </a:lnTo>
                <a:lnTo>
                  <a:pt x="1078450" y="0"/>
                </a:lnTo>
                <a:lnTo>
                  <a:pt x="1078460" y="0"/>
                </a:lnTo>
                <a:lnTo>
                  <a:pt x="1080237" y="0"/>
                </a:lnTo>
                <a:lnTo>
                  <a:pt x="1081492" y="0"/>
                </a:lnTo>
                <a:lnTo>
                  <a:pt x="1084244" y="0"/>
                </a:lnTo>
                <a:lnTo>
                  <a:pt x="1084497" y="0"/>
                </a:lnTo>
                <a:lnTo>
                  <a:pt x="1087539" y="0"/>
                </a:lnTo>
                <a:lnTo>
                  <a:pt x="1093379" y="0"/>
                </a:lnTo>
                <a:lnTo>
                  <a:pt x="1095513" y="0"/>
                </a:lnTo>
                <a:lnTo>
                  <a:pt x="1097385" y="0"/>
                </a:lnTo>
                <a:lnTo>
                  <a:pt x="1099426" y="0"/>
                </a:lnTo>
                <a:lnTo>
                  <a:pt x="1099521" y="0"/>
                </a:lnTo>
                <a:lnTo>
                  <a:pt x="1101561" y="0"/>
                </a:lnTo>
                <a:lnTo>
                  <a:pt x="1103433" y="0"/>
                </a:lnTo>
                <a:lnTo>
                  <a:pt x="1105568" y="0"/>
                </a:lnTo>
                <a:lnTo>
                  <a:pt x="1111408" y="0"/>
                </a:lnTo>
                <a:lnTo>
                  <a:pt x="1114449" y="0"/>
                </a:lnTo>
                <a:lnTo>
                  <a:pt x="1114703" y="0"/>
                </a:lnTo>
                <a:lnTo>
                  <a:pt x="1117455" y="0"/>
                </a:lnTo>
                <a:lnTo>
                  <a:pt x="1118710" y="0"/>
                </a:lnTo>
                <a:lnTo>
                  <a:pt x="1120487" y="0"/>
                </a:lnTo>
                <a:lnTo>
                  <a:pt x="1120496" y="0"/>
                </a:lnTo>
                <a:lnTo>
                  <a:pt x="1122027" y="0"/>
                </a:lnTo>
                <a:lnTo>
                  <a:pt x="1123805" y="0"/>
                </a:lnTo>
                <a:lnTo>
                  <a:pt x="1127811" y="0"/>
                </a:lnTo>
                <a:lnTo>
                  <a:pt x="1132732" y="0"/>
                </a:lnTo>
                <a:lnTo>
                  <a:pt x="1135773" y="0"/>
                </a:lnTo>
                <a:lnTo>
                  <a:pt x="1139081" y="0"/>
                </a:lnTo>
                <a:lnTo>
                  <a:pt x="1139090" y="0"/>
                </a:lnTo>
                <a:lnTo>
                  <a:pt x="1143088" y="0"/>
                </a:lnTo>
                <a:lnTo>
                  <a:pt x="1143098" y="0"/>
                </a:lnTo>
                <a:lnTo>
                  <a:pt x="1144875" y="0"/>
                </a:lnTo>
                <a:lnTo>
                  <a:pt x="1145129" y="0"/>
                </a:lnTo>
                <a:lnTo>
                  <a:pt x="1149135" y="0"/>
                </a:lnTo>
                <a:lnTo>
                  <a:pt x="1154975" y="0"/>
                </a:lnTo>
                <a:lnTo>
                  <a:pt x="1154985" y="0"/>
                </a:lnTo>
                <a:lnTo>
                  <a:pt x="1158017" y="0"/>
                </a:lnTo>
                <a:lnTo>
                  <a:pt x="1160151" y="0"/>
                </a:lnTo>
                <a:lnTo>
                  <a:pt x="1161022" y="0"/>
                </a:lnTo>
                <a:lnTo>
                  <a:pt x="1164064" y="0"/>
                </a:lnTo>
                <a:lnTo>
                  <a:pt x="1166199" y="0"/>
                </a:lnTo>
                <a:lnTo>
                  <a:pt x="1170261" y="0"/>
                </a:lnTo>
                <a:lnTo>
                  <a:pt x="1172038" y="0"/>
                </a:lnTo>
                <a:lnTo>
                  <a:pt x="1176046" y="0"/>
                </a:lnTo>
                <a:lnTo>
                  <a:pt x="1176299" y="0"/>
                </a:lnTo>
                <a:lnTo>
                  <a:pt x="1176309" y="0"/>
                </a:lnTo>
                <a:lnTo>
                  <a:pt x="1178085" y="0"/>
                </a:lnTo>
                <a:lnTo>
                  <a:pt x="1179341" y="0"/>
                </a:lnTo>
                <a:lnTo>
                  <a:pt x="1182093" y="0"/>
                </a:lnTo>
                <a:lnTo>
                  <a:pt x="1182658" y="0"/>
                </a:lnTo>
                <a:lnTo>
                  <a:pt x="1186665" y="0"/>
                </a:lnTo>
                <a:lnTo>
                  <a:pt x="1188443" y="0"/>
                </a:lnTo>
                <a:lnTo>
                  <a:pt x="1193362" y="0"/>
                </a:lnTo>
                <a:lnTo>
                  <a:pt x="1197370" y="0"/>
                </a:lnTo>
                <a:lnTo>
                  <a:pt x="1198552" y="0"/>
                </a:lnTo>
                <a:lnTo>
                  <a:pt x="1200687" y="0"/>
                </a:lnTo>
                <a:lnTo>
                  <a:pt x="1203719" y="0"/>
                </a:lnTo>
                <a:lnTo>
                  <a:pt x="1203728" y="0"/>
                </a:lnTo>
                <a:lnTo>
                  <a:pt x="1209767" y="0"/>
                </a:lnTo>
                <a:lnTo>
                  <a:pt x="1213829" y="0"/>
                </a:lnTo>
                <a:lnTo>
                  <a:pt x="1215606" y="0"/>
                </a:lnTo>
                <a:lnTo>
                  <a:pt x="1215615" y="0"/>
                </a:lnTo>
                <a:lnTo>
                  <a:pt x="1219613" y="0"/>
                </a:lnTo>
                <a:lnTo>
                  <a:pt x="1219623" y="0"/>
                </a:lnTo>
                <a:lnTo>
                  <a:pt x="1219876" y="0"/>
                </a:lnTo>
                <a:lnTo>
                  <a:pt x="1221653" y="0"/>
                </a:lnTo>
                <a:lnTo>
                  <a:pt x="1225660" y="0"/>
                </a:lnTo>
                <a:lnTo>
                  <a:pt x="1230892" y="0"/>
                </a:lnTo>
                <a:lnTo>
                  <a:pt x="1234899" y="0"/>
                </a:lnTo>
                <a:lnTo>
                  <a:pt x="1236676" y="0"/>
                </a:lnTo>
                <a:lnTo>
                  <a:pt x="1236930" y="0"/>
                </a:lnTo>
                <a:lnTo>
                  <a:pt x="1236939" y="0"/>
                </a:lnTo>
                <a:lnTo>
                  <a:pt x="1240937" y="0"/>
                </a:lnTo>
                <a:lnTo>
                  <a:pt x="1240947" y="0"/>
                </a:lnTo>
                <a:lnTo>
                  <a:pt x="1242723" y="0"/>
                </a:lnTo>
                <a:lnTo>
                  <a:pt x="1244254" y="0"/>
                </a:lnTo>
                <a:lnTo>
                  <a:pt x="1247296" y="0"/>
                </a:lnTo>
                <a:lnTo>
                  <a:pt x="1258000" y="0"/>
                </a:lnTo>
                <a:lnTo>
                  <a:pt x="1259183" y="0"/>
                </a:lnTo>
                <a:lnTo>
                  <a:pt x="1261318" y="0"/>
                </a:lnTo>
                <a:lnTo>
                  <a:pt x="1263190" y="0"/>
                </a:lnTo>
                <a:lnTo>
                  <a:pt x="1265325" y="0"/>
                </a:lnTo>
                <a:lnTo>
                  <a:pt x="1274460" y="0"/>
                </a:lnTo>
                <a:lnTo>
                  <a:pt x="1277212" y="0"/>
                </a:lnTo>
                <a:lnTo>
                  <a:pt x="1278467" y="0"/>
                </a:lnTo>
                <a:lnTo>
                  <a:pt x="1280244" y="0"/>
                </a:lnTo>
                <a:lnTo>
                  <a:pt x="1280253" y="0"/>
                </a:lnTo>
                <a:lnTo>
                  <a:pt x="1280507" y="0"/>
                </a:lnTo>
                <a:lnTo>
                  <a:pt x="1284514" y="0"/>
                </a:lnTo>
                <a:lnTo>
                  <a:pt x="1286291" y="0"/>
                </a:lnTo>
                <a:lnTo>
                  <a:pt x="1292489" y="0"/>
                </a:lnTo>
                <a:lnTo>
                  <a:pt x="1295530" y="0"/>
                </a:lnTo>
                <a:lnTo>
                  <a:pt x="1298536" y="0"/>
                </a:lnTo>
                <a:lnTo>
                  <a:pt x="1301568" y="0"/>
                </a:lnTo>
                <a:lnTo>
                  <a:pt x="1301577" y="0"/>
                </a:lnTo>
                <a:lnTo>
                  <a:pt x="1304886" y="0"/>
                </a:lnTo>
                <a:lnTo>
                  <a:pt x="1308892" y="0"/>
                </a:lnTo>
                <a:lnTo>
                  <a:pt x="1320779" y="0"/>
                </a:lnTo>
                <a:lnTo>
                  <a:pt x="1323821" y="0"/>
                </a:lnTo>
                <a:lnTo>
                  <a:pt x="1325956" y="0"/>
                </a:lnTo>
                <a:lnTo>
                  <a:pt x="1336056" y="0"/>
                </a:lnTo>
                <a:lnTo>
                  <a:pt x="1336066" y="0"/>
                </a:lnTo>
                <a:lnTo>
                  <a:pt x="1337842" y="0"/>
                </a:lnTo>
                <a:lnTo>
                  <a:pt x="1339098" y="0"/>
                </a:lnTo>
                <a:lnTo>
                  <a:pt x="1341850" y="0"/>
                </a:lnTo>
                <a:lnTo>
                  <a:pt x="1342103" y="0"/>
                </a:lnTo>
                <a:lnTo>
                  <a:pt x="1345145" y="0"/>
                </a:lnTo>
                <a:lnTo>
                  <a:pt x="1353119" y="0"/>
                </a:lnTo>
                <a:lnTo>
                  <a:pt x="1357127" y="0"/>
                </a:lnTo>
                <a:lnTo>
                  <a:pt x="1359166" y="0"/>
                </a:lnTo>
                <a:lnTo>
                  <a:pt x="1363174" y="0"/>
                </a:lnTo>
                <a:lnTo>
                  <a:pt x="1369524" y="0"/>
                </a:lnTo>
                <a:lnTo>
                  <a:pt x="1379633" y="0"/>
                </a:lnTo>
                <a:lnTo>
                  <a:pt x="1381410" y="0"/>
                </a:lnTo>
                <a:lnTo>
                  <a:pt x="1385417" y="0"/>
                </a:lnTo>
                <a:lnTo>
                  <a:pt x="1396687" y="0"/>
                </a:lnTo>
                <a:lnTo>
                  <a:pt x="1396696" y="0"/>
                </a:lnTo>
                <a:lnTo>
                  <a:pt x="1400694" y="0"/>
                </a:lnTo>
                <a:lnTo>
                  <a:pt x="1400704" y="0"/>
                </a:lnTo>
                <a:lnTo>
                  <a:pt x="1402480" y="0"/>
                </a:lnTo>
                <a:lnTo>
                  <a:pt x="1402734" y="0"/>
                </a:lnTo>
                <a:cubicBezTo>
                  <a:pt x="1531814" y="0"/>
                  <a:pt x="1636453" y="104640"/>
                  <a:pt x="1636453" y="233720"/>
                </a:cubicBezTo>
                <a:lnTo>
                  <a:pt x="1636452" y="233720"/>
                </a:lnTo>
                <a:cubicBezTo>
                  <a:pt x="1636452" y="362799"/>
                  <a:pt x="1531813" y="467438"/>
                  <a:pt x="1402734" y="467438"/>
                </a:cubicBezTo>
                <a:lnTo>
                  <a:pt x="1400705" y="467438"/>
                </a:lnTo>
                <a:lnTo>
                  <a:pt x="1400703" y="467438"/>
                </a:lnTo>
                <a:lnTo>
                  <a:pt x="1400694" y="467438"/>
                </a:lnTo>
                <a:lnTo>
                  <a:pt x="1400693" y="467438"/>
                </a:lnTo>
                <a:lnTo>
                  <a:pt x="1396698" y="467438"/>
                </a:lnTo>
                <a:lnTo>
                  <a:pt x="1396695" y="467438"/>
                </a:lnTo>
                <a:lnTo>
                  <a:pt x="1396686" y="467438"/>
                </a:lnTo>
                <a:lnTo>
                  <a:pt x="1379633" y="467438"/>
                </a:lnTo>
                <a:lnTo>
                  <a:pt x="1379632" y="467438"/>
                </a:lnTo>
                <a:lnTo>
                  <a:pt x="1369523" y="467438"/>
                </a:lnTo>
                <a:lnTo>
                  <a:pt x="1363176" y="467438"/>
                </a:lnTo>
                <a:lnTo>
                  <a:pt x="1363173" y="467438"/>
                </a:lnTo>
                <a:lnTo>
                  <a:pt x="1359168" y="467438"/>
                </a:lnTo>
                <a:lnTo>
                  <a:pt x="1359166" y="467438"/>
                </a:lnTo>
                <a:lnTo>
                  <a:pt x="1357128" y="467438"/>
                </a:lnTo>
                <a:lnTo>
                  <a:pt x="1357126" y="467438"/>
                </a:lnTo>
                <a:lnTo>
                  <a:pt x="1353121" y="467438"/>
                </a:lnTo>
                <a:lnTo>
                  <a:pt x="1353118" y="467438"/>
                </a:lnTo>
                <a:lnTo>
                  <a:pt x="1345145" y="467438"/>
                </a:lnTo>
                <a:lnTo>
                  <a:pt x="1345144" y="467438"/>
                </a:lnTo>
                <a:lnTo>
                  <a:pt x="1342103" y="467438"/>
                </a:lnTo>
                <a:lnTo>
                  <a:pt x="1342102" y="467438"/>
                </a:lnTo>
                <a:lnTo>
                  <a:pt x="1339098" y="467438"/>
                </a:lnTo>
                <a:lnTo>
                  <a:pt x="1339097" y="467438"/>
                </a:lnTo>
                <a:lnTo>
                  <a:pt x="1336067" y="467438"/>
                </a:lnTo>
                <a:lnTo>
                  <a:pt x="1336065" y="467438"/>
                </a:lnTo>
                <a:lnTo>
                  <a:pt x="1336056" y="467438"/>
                </a:lnTo>
                <a:lnTo>
                  <a:pt x="1336055" y="467438"/>
                </a:lnTo>
                <a:lnTo>
                  <a:pt x="1325957" y="467438"/>
                </a:lnTo>
                <a:lnTo>
                  <a:pt x="1325955" y="467438"/>
                </a:lnTo>
                <a:lnTo>
                  <a:pt x="1308892" y="467438"/>
                </a:lnTo>
                <a:lnTo>
                  <a:pt x="1304885" y="467438"/>
                </a:lnTo>
                <a:lnTo>
                  <a:pt x="1301579" y="467438"/>
                </a:lnTo>
                <a:lnTo>
                  <a:pt x="1301576" y="467438"/>
                </a:lnTo>
                <a:lnTo>
                  <a:pt x="1301567" y="467438"/>
                </a:lnTo>
                <a:lnTo>
                  <a:pt x="1298538" y="467438"/>
                </a:lnTo>
                <a:lnTo>
                  <a:pt x="1298535" y="467438"/>
                </a:lnTo>
                <a:lnTo>
                  <a:pt x="1295531" y="467438"/>
                </a:lnTo>
                <a:lnTo>
                  <a:pt x="1295529" y="467438"/>
                </a:lnTo>
                <a:lnTo>
                  <a:pt x="1292490" y="467438"/>
                </a:lnTo>
                <a:lnTo>
                  <a:pt x="1292488" y="467438"/>
                </a:lnTo>
                <a:lnTo>
                  <a:pt x="1284514" y="467438"/>
                </a:lnTo>
                <a:lnTo>
                  <a:pt x="1284513" y="467438"/>
                </a:lnTo>
                <a:lnTo>
                  <a:pt x="1280507" y="467438"/>
                </a:lnTo>
                <a:lnTo>
                  <a:pt x="1280506" y="467438"/>
                </a:lnTo>
                <a:lnTo>
                  <a:pt x="1278467" y="467438"/>
                </a:lnTo>
                <a:lnTo>
                  <a:pt x="1278466" y="467438"/>
                </a:lnTo>
                <a:lnTo>
                  <a:pt x="1274460" y="467438"/>
                </a:lnTo>
                <a:lnTo>
                  <a:pt x="1274459" y="467438"/>
                </a:lnTo>
                <a:lnTo>
                  <a:pt x="1265327" y="467438"/>
                </a:lnTo>
                <a:lnTo>
                  <a:pt x="1265325" y="467438"/>
                </a:lnTo>
                <a:lnTo>
                  <a:pt x="1261319" y="467438"/>
                </a:lnTo>
                <a:lnTo>
                  <a:pt x="1261317" y="467438"/>
                </a:lnTo>
                <a:lnTo>
                  <a:pt x="1258002" y="467438"/>
                </a:lnTo>
                <a:lnTo>
                  <a:pt x="1257999" y="467438"/>
                </a:lnTo>
                <a:lnTo>
                  <a:pt x="1247296" y="467438"/>
                </a:lnTo>
                <a:lnTo>
                  <a:pt x="1244254" y="467438"/>
                </a:lnTo>
                <a:lnTo>
                  <a:pt x="1240948" y="467438"/>
                </a:lnTo>
                <a:lnTo>
                  <a:pt x="1240946" y="467438"/>
                </a:lnTo>
                <a:lnTo>
                  <a:pt x="1240937" y="467438"/>
                </a:lnTo>
                <a:lnTo>
                  <a:pt x="1240936" y="467438"/>
                </a:lnTo>
                <a:lnTo>
                  <a:pt x="1236941" y="467438"/>
                </a:lnTo>
                <a:lnTo>
                  <a:pt x="1236938" y="467438"/>
                </a:lnTo>
                <a:lnTo>
                  <a:pt x="1236929" y="467438"/>
                </a:lnTo>
                <a:lnTo>
                  <a:pt x="1234900" y="467438"/>
                </a:lnTo>
                <a:lnTo>
                  <a:pt x="1234899" y="467438"/>
                </a:lnTo>
                <a:lnTo>
                  <a:pt x="1230893" y="467438"/>
                </a:lnTo>
                <a:lnTo>
                  <a:pt x="1230891" y="467438"/>
                </a:lnTo>
                <a:lnTo>
                  <a:pt x="1219876" y="467438"/>
                </a:lnTo>
                <a:lnTo>
                  <a:pt x="1219875" y="467438"/>
                </a:lnTo>
                <a:lnTo>
                  <a:pt x="1213829" y="467438"/>
                </a:lnTo>
                <a:lnTo>
                  <a:pt x="1213828" y="467438"/>
                </a:lnTo>
                <a:lnTo>
                  <a:pt x="1209766" y="467438"/>
                </a:lnTo>
                <a:lnTo>
                  <a:pt x="1203730" y="467438"/>
                </a:lnTo>
                <a:lnTo>
                  <a:pt x="1203728" y="467438"/>
                </a:lnTo>
                <a:lnTo>
                  <a:pt x="1203718" y="467438"/>
                </a:lnTo>
                <a:lnTo>
                  <a:pt x="1200689" y="467438"/>
                </a:lnTo>
                <a:lnTo>
                  <a:pt x="1200687" y="467438"/>
                </a:lnTo>
                <a:lnTo>
                  <a:pt x="1197371" y="467438"/>
                </a:lnTo>
                <a:lnTo>
                  <a:pt x="1197369" y="467438"/>
                </a:lnTo>
                <a:lnTo>
                  <a:pt x="1193364" y="467438"/>
                </a:lnTo>
                <a:lnTo>
                  <a:pt x="1193361" y="467438"/>
                </a:lnTo>
                <a:lnTo>
                  <a:pt x="1186665" y="467438"/>
                </a:lnTo>
                <a:lnTo>
                  <a:pt x="1186664" y="467438"/>
                </a:lnTo>
                <a:lnTo>
                  <a:pt x="1182658" y="467438"/>
                </a:lnTo>
                <a:lnTo>
                  <a:pt x="1179341" y="467438"/>
                </a:lnTo>
                <a:lnTo>
                  <a:pt x="1179340" y="467438"/>
                </a:lnTo>
                <a:lnTo>
                  <a:pt x="1176310" y="467438"/>
                </a:lnTo>
                <a:lnTo>
                  <a:pt x="1176308" y="467438"/>
                </a:lnTo>
                <a:lnTo>
                  <a:pt x="1176299" y="467438"/>
                </a:lnTo>
                <a:lnTo>
                  <a:pt x="1176298" y="467438"/>
                </a:lnTo>
                <a:lnTo>
                  <a:pt x="1170262" y="467438"/>
                </a:lnTo>
                <a:lnTo>
                  <a:pt x="1170261" y="467438"/>
                </a:lnTo>
                <a:lnTo>
                  <a:pt x="1166200" y="467438"/>
                </a:lnTo>
                <a:lnTo>
                  <a:pt x="1166198" y="467438"/>
                </a:lnTo>
                <a:lnTo>
                  <a:pt x="1160153" y="467438"/>
                </a:lnTo>
                <a:lnTo>
                  <a:pt x="1160150" y="467438"/>
                </a:lnTo>
                <a:lnTo>
                  <a:pt x="1149135" y="467438"/>
                </a:lnTo>
                <a:lnTo>
                  <a:pt x="1145128" y="467438"/>
                </a:lnTo>
                <a:lnTo>
                  <a:pt x="1143099" y="467438"/>
                </a:lnTo>
                <a:lnTo>
                  <a:pt x="1143097" y="467438"/>
                </a:lnTo>
                <a:lnTo>
                  <a:pt x="1143088" y="467438"/>
                </a:lnTo>
                <a:lnTo>
                  <a:pt x="1143087" y="467438"/>
                </a:lnTo>
                <a:lnTo>
                  <a:pt x="1139092" y="467438"/>
                </a:lnTo>
                <a:lnTo>
                  <a:pt x="1139090" y="467438"/>
                </a:lnTo>
                <a:lnTo>
                  <a:pt x="1139080" y="467438"/>
                </a:lnTo>
                <a:lnTo>
                  <a:pt x="1135774" y="467438"/>
                </a:lnTo>
                <a:lnTo>
                  <a:pt x="1135772" y="467438"/>
                </a:lnTo>
                <a:lnTo>
                  <a:pt x="1132733" y="467438"/>
                </a:lnTo>
                <a:lnTo>
                  <a:pt x="1132731" y="467438"/>
                </a:lnTo>
                <a:lnTo>
                  <a:pt x="1122027" y="467438"/>
                </a:lnTo>
                <a:lnTo>
                  <a:pt x="1122026" y="467438"/>
                </a:lnTo>
                <a:lnTo>
                  <a:pt x="1118710" y="467438"/>
                </a:lnTo>
                <a:lnTo>
                  <a:pt x="1118709" y="467438"/>
                </a:lnTo>
                <a:lnTo>
                  <a:pt x="1114703" y="467438"/>
                </a:lnTo>
                <a:lnTo>
                  <a:pt x="1114702" y="467438"/>
                </a:lnTo>
                <a:lnTo>
                  <a:pt x="1105570" y="467438"/>
                </a:lnTo>
                <a:lnTo>
                  <a:pt x="1105568" y="467438"/>
                </a:lnTo>
                <a:lnTo>
                  <a:pt x="1101562" y="467438"/>
                </a:lnTo>
                <a:lnTo>
                  <a:pt x="1101560" y="467438"/>
                </a:lnTo>
                <a:lnTo>
                  <a:pt x="1099523" y="467438"/>
                </a:lnTo>
                <a:lnTo>
                  <a:pt x="1099520" y="467438"/>
                </a:lnTo>
                <a:lnTo>
                  <a:pt x="1095515" y="467438"/>
                </a:lnTo>
                <a:lnTo>
                  <a:pt x="1095512" y="467438"/>
                </a:lnTo>
                <a:lnTo>
                  <a:pt x="1087539" y="467438"/>
                </a:lnTo>
                <a:lnTo>
                  <a:pt x="1084497" y="467438"/>
                </a:lnTo>
                <a:lnTo>
                  <a:pt x="1081492" y="467438"/>
                </a:lnTo>
                <a:lnTo>
                  <a:pt x="1081491" y="467438"/>
                </a:lnTo>
                <a:lnTo>
                  <a:pt x="1078461" y="467438"/>
                </a:lnTo>
                <a:lnTo>
                  <a:pt x="1078459" y="467438"/>
                </a:lnTo>
                <a:lnTo>
                  <a:pt x="1078450" y="467438"/>
                </a:lnTo>
                <a:lnTo>
                  <a:pt x="1078449" y="467438"/>
                </a:lnTo>
                <a:lnTo>
                  <a:pt x="1075143" y="467438"/>
                </a:lnTo>
                <a:lnTo>
                  <a:pt x="1075142" y="467438"/>
                </a:lnTo>
                <a:lnTo>
                  <a:pt x="1071136" y="467438"/>
                </a:lnTo>
                <a:lnTo>
                  <a:pt x="1071134" y="467438"/>
                </a:lnTo>
                <a:lnTo>
                  <a:pt x="1054072" y="467438"/>
                </a:lnTo>
                <a:lnTo>
                  <a:pt x="1054071" y="467438"/>
                </a:lnTo>
                <a:lnTo>
                  <a:pt x="1043973" y="467438"/>
                </a:lnTo>
                <a:lnTo>
                  <a:pt x="1043971" y="467438"/>
                </a:lnTo>
                <a:lnTo>
                  <a:pt x="1043961" y="467438"/>
                </a:lnTo>
                <a:lnTo>
                  <a:pt x="1040932" y="467438"/>
                </a:lnTo>
                <a:lnTo>
                  <a:pt x="1040930" y="467438"/>
                </a:lnTo>
                <a:lnTo>
                  <a:pt x="1037926" y="467438"/>
                </a:lnTo>
                <a:lnTo>
                  <a:pt x="1037923" y="467438"/>
                </a:lnTo>
                <a:lnTo>
                  <a:pt x="1034885" y="467438"/>
                </a:lnTo>
                <a:lnTo>
                  <a:pt x="1034882" y="467438"/>
                </a:lnTo>
                <a:lnTo>
                  <a:pt x="1026908" y="467438"/>
                </a:lnTo>
                <a:lnTo>
                  <a:pt x="1026907" y="467438"/>
                </a:lnTo>
                <a:lnTo>
                  <a:pt x="1022901" y="467438"/>
                </a:lnTo>
                <a:lnTo>
                  <a:pt x="1020861" y="467438"/>
                </a:lnTo>
                <a:lnTo>
                  <a:pt x="1020860" y="467438"/>
                </a:lnTo>
                <a:lnTo>
                  <a:pt x="1016854" y="467438"/>
                </a:lnTo>
                <a:lnTo>
                  <a:pt x="1016853" y="467438"/>
                </a:lnTo>
                <a:lnTo>
                  <a:pt x="1010505" y="467438"/>
                </a:lnTo>
                <a:lnTo>
                  <a:pt x="1010504" y="467438"/>
                </a:lnTo>
                <a:lnTo>
                  <a:pt x="1000396" y="467438"/>
                </a:lnTo>
                <a:lnTo>
                  <a:pt x="1000393" y="467438"/>
                </a:lnTo>
                <a:lnTo>
                  <a:pt x="983342" y="467438"/>
                </a:lnTo>
                <a:lnTo>
                  <a:pt x="983340" y="467438"/>
                </a:lnTo>
                <a:lnTo>
                  <a:pt x="983331" y="467438"/>
                </a:lnTo>
                <a:lnTo>
                  <a:pt x="983330" y="467438"/>
                </a:lnTo>
                <a:lnTo>
                  <a:pt x="979335" y="467438"/>
                </a:lnTo>
                <a:lnTo>
                  <a:pt x="979333" y="467438"/>
                </a:lnTo>
                <a:lnTo>
                  <a:pt x="979323" y="467438"/>
                </a:lnTo>
                <a:lnTo>
                  <a:pt x="977295" y="467438"/>
                </a:lnTo>
                <a:lnTo>
                  <a:pt x="977293" y="467438"/>
                </a:lnTo>
                <a:lnTo>
                  <a:pt x="840249" y="467437"/>
                </a:lnTo>
                <a:lnTo>
                  <a:pt x="840241" y="467438"/>
                </a:lnTo>
                <a:lnTo>
                  <a:pt x="838212" y="467438"/>
                </a:lnTo>
                <a:lnTo>
                  <a:pt x="838210" y="467438"/>
                </a:lnTo>
                <a:lnTo>
                  <a:pt x="838201" y="467438"/>
                </a:lnTo>
                <a:lnTo>
                  <a:pt x="838200" y="467438"/>
                </a:lnTo>
                <a:lnTo>
                  <a:pt x="834205" y="467438"/>
                </a:lnTo>
                <a:lnTo>
                  <a:pt x="834202" y="467438"/>
                </a:lnTo>
                <a:lnTo>
                  <a:pt x="834193" y="467438"/>
                </a:lnTo>
                <a:lnTo>
                  <a:pt x="817140" y="467438"/>
                </a:lnTo>
                <a:lnTo>
                  <a:pt x="817139" y="467438"/>
                </a:lnTo>
                <a:lnTo>
                  <a:pt x="807030" y="467438"/>
                </a:lnTo>
                <a:lnTo>
                  <a:pt x="800683" y="467438"/>
                </a:lnTo>
                <a:lnTo>
                  <a:pt x="800680" y="467438"/>
                </a:lnTo>
                <a:lnTo>
                  <a:pt x="796675" y="467438"/>
                </a:lnTo>
                <a:lnTo>
                  <a:pt x="796673" y="467438"/>
                </a:lnTo>
                <a:lnTo>
                  <a:pt x="794635" y="467438"/>
                </a:lnTo>
                <a:lnTo>
                  <a:pt x="794633" y="467438"/>
                </a:lnTo>
                <a:lnTo>
                  <a:pt x="790628" y="467438"/>
                </a:lnTo>
                <a:lnTo>
                  <a:pt x="790625" y="467438"/>
                </a:lnTo>
                <a:lnTo>
                  <a:pt x="782652" y="467438"/>
                </a:lnTo>
                <a:lnTo>
                  <a:pt x="782651" y="467438"/>
                </a:lnTo>
                <a:lnTo>
                  <a:pt x="779610" y="467438"/>
                </a:lnTo>
                <a:lnTo>
                  <a:pt x="779609" y="467438"/>
                </a:lnTo>
                <a:lnTo>
                  <a:pt x="776605" y="467438"/>
                </a:lnTo>
                <a:lnTo>
                  <a:pt x="776604" y="467438"/>
                </a:lnTo>
                <a:lnTo>
                  <a:pt x="773574" y="467438"/>
                </a:lnTo>
                <a:lnTo>
                  <a:pt x="773572" y="467438"/>
                </a:lnTo>
                <a:lnTo>
                  <a:pt x="773563" y="467438"/>
                </a:lnTo>
                <a:lnTo>
                  <a:pt x="773562" y="467438"/>
                </a:lnTo>
                <a:lnTo>
                  <a:pt x="763464" y="467438"/>
                </a:lnTo>
                <a:lnTo>
                  <a:pt x="763462" y="467438"/>
                </a:lnTo>
                <a:lnTo>
                  <a:pt x="746399" y="467438"/>
                </a:lnTo>
                <a:lnTo>
                  <a:pt x="742392" y="467438"/>
                </a:lnTo>
                <a:lnTo>
                  <a:pt x="739086" y="467438"/>
                </a:lnTo>
                <a:lnTo>
                  <a:pt x="739083" y="467438"/>
                </a:lnTo>
                <a:lnTo>
                  <a:pt x="739074" y="467438"/>
                </a:lnTo>
                <a:lnTo>
                  <a:pt x="736045" y="467438"/>
                </a:lnTo>
                <a:lnTo>
                  <a:pt x="736042" y="467438"/>
                </a:lnTo>
                <a:lnTo>
                  <a:pt x="733038" y="467438"/>
                </a:lnTo>
                <a:lnTo>
                  <a:pt x="733036" y="467438"/>
                </a:lnTo>
                <a:lnTo>
                  <a:pt x="729997" y="467438"/>
                </a:lnTo>
                <a:lnTo>
                  <a:pt x="729995" y="467438"/>
                </a:lnTo>
                <a:lnTo>
                  <a:pt x="722021" y="467438"/>
                </a:lnTo>
                <a:lnTo>
                  <a:pt x="722020" y="467438"/>
                </a:lnTo>
                <a:lnTo>
                  <a:pt x="718014" y="467438"/>
                </a:lnTo>
                <a:lnTo>
                  <a:pt x="718013" y="467438"/>
                </a:lnTo>
                <a:lnTo>
                  <a:pt x="715974" y="467438"/>
                </a:lnTo>
                <a:lnTo>
                  <a:pt x="715973" y="467438"/>
                </a:lnTo>
                <a:lnTo>
                  <a:pt x="711967" y="467438"/>
                </a:lnTo>
                <a:lnTo>
                  <a:pt x="711966" y="467438"/>
                </a:lnTo>
                <a:lnTo>
                  <a:pt x="702834" y="467438"/>
                </a:lnTo>
                <a:lnTo>
                  <a:pt x="702832" y="467438"/>
                </a:lnTo>
                <a:lnTo>
                  <a:pt x="698826" y="467438"/>
                </a:lnTo>
                <a:lnTo>
                  <a:pt x="698824" y="467438"/>
                </a:lnTo>
                <a:lnTo>
                  <a:pt x="695509" y="467438"/>
                </a:lnTo>
                <a:lnTo>
                  <a:pt x="695506" y="467438"/>
                </a:lnTo>
                <a:lnTo>
                  <a:pt x="684803" y="467438"/>
                </a:lnTo>
                <a:lnTo>
                  <a:pt x="681761" y="467438"/>
                </a:lnTo>
                <a:lnTo>
                  <a:pt x="678455" y="467438"/>
                </a:lnTo>
                <a:lnTo>
                  <a:pt x="678453" y="467438"/>
                </a:lnTo>
                <a:lnTo>
                  <a:pt x="678444" y="467438"/>
                </a:lnTo>
                <a:lnTo>
                  <a:pt x="678443" y="467438"/>
                </a:lnTo>
                <a:lnTo>
                  <a:pt x="674448" y="467438"/>
                </a:lnTo>
                <a:lnTo>
                  <a:pt x="674445" y="467438"/>
                </a:lnTo>
                <a:lnTo>
                  <a:pt x="674436" y="467438"/>
                </a:lnTo>
                <a:lnTo>
                  <a:pt x="672407" y="467438"/>
                </a:lnTo>
                <a:lnTo>
                  <a:pt x="672406" y="467438"/>
                </a:lnTo>
                <a:lnTo>
                  <a:pt x="668400" y="467438"/>
                </a:lnTo>
                <a:lnTo>
                  <a:pt x="668398" y="467438"/>
                </a:lnTo>
                <a:lnTo>
                  <a:pt x="657383" y="467438"/>
                </a:lnTo>
                <a:lnTo>
                  <a:pt x="657382" y="467438"/>
                </a:lnTo>
                <a:lnTo>
                  <a:pt x="651336" y="467438"/>
                </a:lnTo>
                <a:lnTo>
                  <a:pt x="651335" y="467438"/>
                </a:lnTo>
                <a:lnTo>
                  <a:pt x="647273" y="467438"/>
                </a:lnTo>
                <a:lnTo>
                  <a:pt x="641237" y="467438"/>
                </a:lnTo>
                <a:lnTo>
                  <a:pt x="641235" y="467438"/>
                </a:lnTo>
                <a:lnTo>
                  <a:pt x="641225" y="467438"/>
                </a:lnTo>
                <a:lnTo>
                  <a:pt x="638196" y="467438"/>
                </a:lnTo>
                <a:lnTo>
                  <a:pt x="638194" y="467438"/>
                </a:lnTo>
                <a:lnTo>
                  <a:pt x="634878" y="467438"/>
                </a:lnTo>
                <a:lnTo>
                  <a:pt x="634876" y="467438"/>
                </a:lnTo>
                <a:lnTo>
                  <a:pt x="630871" y="467438"/>
                </a:lnTo>
                <a:lnTo>
                  <a:pt x="630868" y="467438"/>
                </a:lnTo>
                <a:lnTo>
                  <a:pt x="624172" y="467438"/>
                </a:lnTo>
                <a:lnTo>
                  <a:pt x="624171" y="467438"/>
                </a:lnTo>
                <a:lnTo>
                  <a:pt x="620165" y="467438"/>
                </a:lnTo>
                <a:lnTo>
                  <a:pt x="616848" y="467438"/>
                </a:lnTo>
                <a:lnTo>
                  <a:pt x="616847" y="467438"/>
                </a:lnTo>
                <a:lnTo>
                  <a:pt x="613817" y="467438"/>
                </a:lnTo>
                <a:lnTo>
                  <a:pt x="613815" y="467438"/>
                </a:lnTo>
                <a:lnTo>
                  <a:pt x="613806" y="467438"/>
                </a:lnTo>
                <a:lnTo>
                  <a:pt x="613805" y="467438"/>
                </a:lnTo>
                <a:lnTo>
                  <a:pt x="607769" y="467438"/>
                </a:lnTo>
                <a:lnTo>
                  <a:pt x="607768" y="467438"/>
                </a:lnTo>
                <a:lnTo>
                  <a:pt x="603707" y="467438"/>
                </a:lnTo>
                <a:lnTo>
                  <a:pt x="603705" y="467438"/>
                </a:lnTo>
                <a:lnTo>
                  <a:pt x="597660" y="467438"/>
                </a:lnTo>
                <a:lnTo>
                  <a:pt x="597657" y="467438"/>
                </a:lnTo>
                <a:lnTo>
                  <a:pt x="586642" y="467438"/>
                </a:lnTo>
                <a:lnTo>
                  <a:pt x="582635" y="467438"/>
                </a:lnTo>
                <a:lnTo>
                  <a:pt x="580606" y="467438"/>
                </a:lnTo>
                <a:lnTo>
                  <a:pt x="580604" y="467438"/>
                </a:lnTo>
                <a:lnTo>
                  <a:pt x="580595" y="467438"/>
                </a:lnTo>
                <a:lnTo>
                  <a:pt x="580594" y="467438"/>
                </a:lnTo>
                <a:lnTo>
                  <a:pt x="576599" y="467438"/>
                </a:lnTo>
                <a:lnTo>
                  <a:pt x="576597" y="467438"/>
                </a:lnTo>
                <a:lnTo>
                  <a:pt x="576587" y="467438"/>
                </a:lnTo>
                <a:lnTo>
                  <a:pt x="573281" y="467438"/>
                </a:lnTo>
                <a:lnTo>
                  <a:pt x="573279" y="467438"/>
                </a:lnTo>
                <a:lnTo>
                  <a:pt x="570240" y="467438"/>
                </a:lnTo>
                <a:lnTo>
                  <a:pt x="570238" y="467438"/>
                </a:lnTo>
                <a:lnTo>
                  <a:pt x="559534" y="467438"/>
                </a:lnTo>
                <a:lnTo>
                  <a:pt x="559533" y="467438"/>
                </a:lnTo>
                <a:lnTo>
                  <a:pt x="556217" y="467438"/>
                </a:lnTo>
                <a:lnTo>
                  <a:pt x="556216" y="467438"/>
                </a:lnTo>
                <a:lnTo>
                  <a:pt x="552210" y="467438"/>
                </a:lnTo>
                <a:lnTo>
                  <a:pt x="552209" y="467438"/>
                </a:lnTo>
                <a:lnTo>
                  <a:pt x="543077" y="467438"/>
                </a:lnTo>
                <a:lnTo>
                  <a:pt x="543075" y="467438"/>
                </a:lnTo>
                <a:lnTo>
                  <a:pt x="539069" y="467438"/>
                </a:lnTo>
                <a:lnTo>
                  <a:pt x="539067" y="467438"/>
                </a:lnTo>
                <a:lnTo>
                  <a:pt x="537030" y="467438"/>
                </a:lnTo>
                <a:lnTo>
                  <a:pt x="537027" y="467438"/>
                </a:lnTo>
                <a:lnTo>
                  <a:pt x="533022" y="467438"/>
                </a:lnTo>
                <a:lnTo>
                  <a:pt x="533019" y="467438"/>
                </a:lnTo>
                <a:lnTo>
                  <a:pt x="525046" y="467438"/>
                </a:lnTo>
                <a:lnTo>
                  <a:pt x="522004" y="467438"/>
                </a:lnTo>
                <a:lnTo>
                  <a:pt x="518999" y="467438"/>
                </a:lnTo>
                <a:lnTo>
                  <a:pt x="518998" y="467438"/>
                </a:lnTo>
                <a:lnTo>
                  <a:pt x="515968" y="467438"/>
                </a:lnTo>
                <a:lnTo>
                  <a:pt x="515966" y="467438"/>
                </a:lnTo>
                <a:lnTo>
                  <a:pt x="515957" y="467438"/>
                </a:lnTo>
                <a:lnTo>
                  <a:pt x="515956" y="467438"/>
                </a:lnTo>
                <a:lnTo>
                  <a:pt x="512650" y="467438"/>
                </a:lnTo>
                <a:lnTo>
                  <a:pt x="512649" y="467438"/>
                </a:lnTo>
                <a:lnTo>
                  <a:pt x="508643" y="467438"/>
                </a:lnTo>
                <a:lnTo>
                  <a:pt x="508641" y="467438"/>
                </a:lnTo>
                <a:lnTo>
                  <a:pt x="491579" y="467438"/>
                </a:lnTo>
                <a:lnTo>
                  <a:pt x="491578" y="467438"/>
                </a:lnTo>
                <a:lnTo>
                  <a:pt x="481480" y="467438"/>
                </a:lnTo>
                <a:lnTo>
                  <a:pt x="481478" y="467438"/>
                </a:lnTo>
                <a:lnTo>
                  <a:pt x="481468" y="467438"/>
                </a:lnTo>
                <a:lnTo>
                  <a:pt x="478439" y="467438"/>
                </a:lnTo>
                <a:lnTo>
                  <a:pt x="478437" y="467438"/>
                </a:lnTo>
                <a:lnTo>
                  <a:pt x="475433" y="467438"/>
                </a:lnTo>
                <a:lnTo>
                  <a:pt x="475430" y="467438"/>
                </a:lnTo>
                <a:lnTo>
                  <a:pt x="472392" y="467438"/>
                </a:lnTo>
                <a:lnTo>
                  <a:pt x="472389" y="467438"/>
                </a:lnTo>
                <a:lnTo>
                  <a:pt x="464415" y="467438"/>
                </a:lnTo>
                <a:lnTo>
                  <a:pt x="464414" y="467438"/>
                </a:lnTo>
                <a:lnTo>
                  <a:pt x="460408" y="467438"/>
                </a:lnTo>
                <a:lnTo>
                  <a:pt x="458368" y="467438"/>
                </a:lnTo>
                <a:lnTo>
                  <a:pt x="458367" y="467438"/>
                </a:lnTo>
                <a:lnTo>
                  <a:pt x="454361" y="467438"/>
                </a:lnTo>
                <a:lnTo>
                  <a:pt x="454360" y="467438"/>
                </a:lnTo>
                <a:lnTo>
                  <a:pt x="448012" y="467438"/>
                </a:lnTo>
                <a:lnTo>
                  <a:pt x="448011" y="467438"/>
                </a:lnTo>
                <a:lnTo>
                  <a:pt x="437903" y="467438"/>
                </a:lnTo>
                <a:lnTo>
                  <a:pt x="437900" y="467438"/>
                </a:lnTo>
                <a:lnTo>
                  <a:pt x="420849" y="467438"/>
                </a:lnTo>
                <a:lnTo>
                  <a:pt x="420847" y="467438"/>
                </a:lnTo>
                <a:lnTo>
                  <a:pt x="420838" y="467438"/>
                </a:lnTo>
                <a:lnTo>
                  <a:pt x="420837" y="467438"/>
                </a:lnTo>
                <a:lnTo>
                  <a:pt x="416842" y="467438"/>
                </a:lnTo>
                <a:lnTo>
                  <a:pt x="416840" y="467438"/>
                </a:lnTo>
                <a:lnTo>
                  <a:pt x="416830" y="467438"/>
                </a:lnTo>
                <a:lnTo>
                  <a:pt x="414802" y="467438"/>
                </a:lnTo>
                <a:lnTo>
                  <a:pt x="414800" y="467438"/>
                </a:lnTo>
                <a:lnTo>
                  <a:pt x="233720" y="467437"/>
                </a:lnTo>
                <a:cubicBezTo>
                  <a:pt x="120774" y="467437"/>
                  <a:pt x="26542" y="387323"/>
                  <a:pt x="4748" y="280821"/>
                </a:cubicBezTo>
                <a:lnTo>
                  <a:pt x="0" y="233720"/>
                </a:lnTo>
                <a:lnTo>
                  <a:pt x="4748" y="186617"/>
                </a:lnTo>
                <a:cubicBezTo>
                  <a:pt x="26542" y="80115"/>
                  <a:pt x="120774" y="0"/>
                  <a:pt x="233720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5978454" y="4009375"/>
            <a:ext cx="5748409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4" descr="https://argoclima.com/wp-content/uploads/2020/04/metro-ag-logo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4168" y="3140834"/>
            <a:ext cx="693850" cy="184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474" y="6051996"/>
            <a:ext cx="2074411" cy="625435"/>
          </a:xfrm>
          <a:prstGeom prst="rect">
            <a:avLst/>
          </a:prstGeom>
        </p:spPr>
      </p:pic>
      <p:sp>
        <p:nvSpPr>
          <p:cNvPr id="46" name="Полилиния 45" descr="Прямоугольник">
            <a:extLst>
              <a:ext uri="{FF2B5EF4-FFF2-40B4-BE49-F238E27FC236}">
                <a16:creationId xmlns:a16="http://schemas.microsoft.com/office/drawing/2014/main" xmlns="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8519545" y="6234467"/>
            <a:ext cx="1009167" cy="262853"/>
          </a:xfrm>
          <a:custGeom>
            <a:avLst/>
            <a:gdLst>
              <a:gd name="connsiteX0" fmla="*/ 211524 w 1658755"/>
              <a:gd name="connsiteY0" fmla="*/ 0 h 432048"/>
              <a:gd name="connsiteX1" fmla="*/ 534967 w 1658755"/>
              <a:gd name="connsiteY1" fmla="*/ 0 h 432048"/>
              <a:gd name="connsiteX2" fmla="*/ 581746 w 1658755"/>
              <a:gd name="connsiteY2" fmla="*/ 0 h 432048"/>
              <a:gd name="connsiteX3" fmla="*/ 780497 w 1658755"/>
              <a:gd name="connsiteY3" fmla="*/ 0 h 432048"/>
              <a:gd name="connsiteX4" fmla="*/ 780539 w 1658755"/>
              <a:gd name="connsiteY4" fmla="*/ 0 h 432048"/>
              <a:gd name="connsiteX5" fmla="*/ 825351 w 1658755"/>
              <a:gd name="connsiteY5" fmla="*/ 0 h 432048"/>
              <a:gd name="connsiteX6" fmla="*/ 833404 w 1658755"/>
              <a:gd name="connsiteY6" fmla="*/ 0 h 432048"/>
              <a:gd name="connsiteX7" fmla="*/ 878216 w 1658755"/>
              <a:gd name="connsiteY7" fmla="*/ 0 h 432048"/>
              <a:gd name="connsiteX8" fmla="*/ 878258 w 1658755"/>
              <a:gd name="connsiteY8" fmla="*/ 0 h 432048"/>
              <a:gd name="connsiteX9" fmla="*/ 1077009 w 1658755"/>
              <a:gd name="connsiteY9" fmla="*/ 0 h 432048"/>
              <a:gd name="connsiteX10" fmla="*/ 1123789 w 1658755"/>
              <a:gd name="connsiteY10" fmla="*/ 0 h 432048"/>
              <a:gd name="connsiteX11" fmla="*/ 1447231 w 1658755"/>
              <a:gd name="connsiteY11" fmla="*/ 0 h 432048"/>
              <a:gd name="connsiteX12" fmla="*/ 1658755 w 1658755"/>
              <a:gd name="connsiteY12" fmla="*/ 216024 h 432048"/>
              <a:gd name="connsiteX13" fmla="*/ 1658753 w 1658755"/>
              <a:gd name="connsiteY13" fmla="*/ 216024 h 432048"/>
              <a:gd name="connsiteX14" fmla="*/ 1447229 w 1658755"/>
              <a:gd name="connsiteY14" fmla="*/ 432048 h 432048"/>
              <a:gd name="connsiteX15" fmla="*/ 825359 w 1658755"/>
              <a:gd name="connsiteY15" fmla="*/ 432046 h 432048"/>
              <a:gd name="connsiteX16" fmla="*/ 825352 w 1658755"/>
              <a:gd name="connsiteY16" fmla="*/ 432048 h 432048"/>
              <a:gd name="connsiteX17" fmla="*/ 211524 w 1658755"/>
              <a:gd name="connsiteY17" fmla="*/ 432046 h 432048"/>
              <a:gd name="connsiteX18" fmla="*/ 16621 w 1658755"/>
              <a:gd name="connsiteY18" fmla="*/ 300110 h 432048"/>
              <a:gd name="connsiteX19" fmla="*/ 0 w 1658755"/>
              <a:gd name="connsiteY19" fmla="*/ 216024 h 432048"/>
              <a:gd name="connsiteX20" fmla="*/ 16621 w 1658755"/>
              <a:gd name="connsiteY20" fmla="*/ 131939 h 432048"/>
              <a:gd name="connsiteX21" fmla="*/ 211524 w 1658755"/>
              <a:gd name="connsiteY21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58755" h="432048">
                <a:moveTo>
                  <a:pt x="211524" y="0"/>
                </a:moveTo>
                <a:lnTo>
                  <a:pt x="534967" y="0"/>
                </a:lnTo>
                <a:lnTo>
                  <a:pt x="581746" y="0"/>
                </a:lnTo>
                <a:lnTo>
                  <a:pt x="780497" y="0"/>
                </a:lnTo>
                <a:lnTo>
                  <a:pt x="780539" y="0"/>
                </a:lnTo>
                <a:lnTo>
                  <a:pt x="825351" y="0"/>
                </a:lnTo>
                <a:lnTo>
                  <a:pt x="833404" y="0"/>
                </a:lnTo>
                <a:lnTo>
                  <a:pt x="878216" y="0"/>
                </a:lnTo>
                <a:lnTo>
                  <a:pt x="878258" y="0"/>
                </a:lnTo>
                <a:lnTo>
                  <a:pt x="1077009" y="0"/>
                </a:lnTo>
                <a:lnTo>
                  <a:pt x="1123789" y="0"/>
                </a:lnTo>
                <a:lnTo>
                  <a:pt x="1447231" y="0"/>
                </a:lnTo>
                <a:cubicBezTo>
                  <a:pt x="1564053" y="0"/>
                  <a:pt x="1658755" y="96717"/>
                  <a:pt x="1658755" y="216024"/>
                </a:cubicBezTo>
                <a:lnTo>
                  <a:pt x="1658753" y="216024"/>
                </a:lnTo>
                <a:cubicBezTo>
                  <a:pt x="1658753" y="335332"/>
                  <a:pt x="1564051" y="432048"/>
                  <a:pt x="1447229" y="432048"/>
                </a:cubicBezTo>
                <a:lnTo>
                  <a:pt x="825359" y="432046"/>
                </a:lnTo>
                <a:lnTo>
                  <a:pt x="825352" y="432048"/>
                </a:lnTo>
                <a:lnTo>
                  <a:pt x="211524" y="432046"/>
                </a:lnTo>
                <a:cubicBezTo>
                  <a:pt x="123907" y="432046"/>
                  <a:pt x="48733" y="377643"/>
                  <a:pt x="16621" y="300110"/>
                </a:cubicBezTo>
                <a:lnTo>
                  <a:pt x="0" y="216024"/>
                </a:lnTo>
                <a:lnTo>
                  <a:pt x="16621" y="131939"/>
                </a:lnTo>
                <a:cubicBezTo>
                  <a:pt x="48733" y="54404"/>
                  <a:pt x="123907" y="0"/>
                  <a:pt x="21152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олучить на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grpSp>
        <p:nvGrpSpPr>
          <p:cNvPr id="36" name="Группа 35"/>
          <p:cNvGrpSpPr/>
          <p:nvPr/>
        </p:nvGrpSpPr>
        <p:grpSpPr>
          <a:xfrm>
            <a:off x="371476" y="282770"/>
            <a:ext cx="1371599" cy="276999"/>
            <a:chOff x="9353062" y="5079459"/>
            <a:chExt cx="2573191" cy="276999"/>
          </a:xfrm>
        </p:grpSpPr>
        <p:sp>
          <p:nvSpPr>
            <p:cNvPr id="40" name="Скругленный прямоугольник 39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598163" y="5079459"/>
              <a:ext cx="20829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рынки сбыта</a:t>
              </a:r>
            </a:p>
          </p:txBody>
        </p:sp>
      </p:grpSp>
      <p:sp>
        <p:nvSpPr>
          <p:cNvPr id="53" name="Прямоугольник 52"/>
          <p:cNvSpPr/>
          <p:nvPr/>
        </p:nvSpPr>
        <p:spPr>
          <a:xfrm>
            <a:off x="279269" y="873551"/>
            <a:ext cx="4778505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 53"/>
          <p:cNvSpPr/>
          <p:nvPr/>
        </p:nvSpPr>
        <p:spPr>
          <a:xfrm>
            <a:off x="279269" y="4061350"/>
            <a:ext cx="4988055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353851" y="4039980"/>
            <a:ext cx="4913473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800"/>
              </a:lnSpc>
              <a:defRPr/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Реестр поставщиков </a:t>
            </a: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дуктов питания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371476" y="841081"/>
            <a:ext cx="4824441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800"/>
              </a:lnSpc>
              <a:defRPr/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тать поставщиком </a:t>
            </a: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орговых сетей</a:t>
            </a:r>
          </a:p>
        </p:txBody>
      </p:sp>
      <p:grpSp>
        <p:nvGrpSpPr>
          <p:cNvPr id="58" name="Группа 57"/>
          <p:cNvGrpSpPr/>
          <p:nvPr/>
        </p:nvGrpSpPr>
        <p:grpSpPr>
          <a:xfrm>
            <a:off x="5973896" y="4867986"/>
            <a:ext cx="383023" cy="383023"/>
            <a:chOff x="2301447" y="2329448"/>
            <a:chExt cx="383023" cy="383023"/>
          </a:xfrm>
        </p:grpSpPr>
        <p:sp>
          <p:nvSpPr>
            <p:cNvPr id="59" name="Овал 58"/>
            <p:cNvSpPr/>
            <p:nvPr/>
          </p:nvSpPr>
          <p:spPr>
            <a:xfrm>
              <a:off x="2301447" y="2329448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0" name="Прямоугольник 59"/>
            <p:cNvSpPr/>
            <p:nvPr/>
          </p:nvSpPr>
          <p:spPr>
            <a:xfrm>
              <a:off x="2301447" y="2371208"/>
              <a:ext cx="344324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 defTabSz="554492"/>
              <a:r>
                <a:rPr lang="en-US" spc="-10" dirty="0" smtClean="0"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1</a:t>
              </a:r>
              <a:endParaRPr lang="ru-RU" spc="-10" dirty="0"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endParaRPr>
            </a:p>
          </p:txBody>
        </p:sp>
      </p:grpSp>
      <p:grpSp>
        <p:nvGrpSpPr>
          <p:cNvPr id="61" name="Группа 60"/>
          <p:cNvGrpSpPr/>
          <p:nvPr/>
        </p:nvGrpSpPr>
        <p:grpSpPr>
          <a:xfrm>
            <a:off x="9914334" y="4867986"/>
            <a:ext cx="383023" cy="383023"/>
            <a:chOff x="2301447" y="2329448"/>
            <a:chExt cx="383023" cy="383023"/>
          </a:xfrm>
        </p:grpSpPr>
        <p:sp>
          <p:nvSpPr>
            <p:cNvPr id="62" name="Овал 61"/>
            <p:cNvSpPr/>
            <p:nvPr/>
          </p:nvSpPr>
          <p:spPr>
            <a:xfrm>
              <a:off x="2301447" y="2329448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2301447" y="2371208"/>
              <a:ext cx="344324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 defTabSz="554492"/>
              <a:r>
                <a:rPr lang="ru-RU" spc="-10" dirty="0" smtClean="0">
                  <a:latin typeface="Segoe UI Semibold" panose="020B0702040204020203" pitchFamily="34" charset="0"/>
                  <a:ea typeface="Segoe UI" panose="020B0502040204020203" pitchFamily="34" charset="0"/>
                  <a:cs typeface="Segoe UI Semibold" panose="020B0702040204020203" pitchFamily="34" charset="0"/>
                </a:rPr>
                <a:t>2</a:t>
              </a:r>
              <a:endParaRPr lang="ru-RU" spc="-10" dirty="0"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endParaRPr>
            </a:p>
          </p:txBody>
        </p:sp>
      </p:grpSp>
      <p:pic>
        <p:nvPicPr>
          <p:cNvPr id="44" name="Picture 6" descr="Как у всех: X5 Retail Group представила новый логотип | ПРОДУКТ медиа">
            <a:extLst>
              <a:ext uri="{FF2B5EF4-FFF2-40B4-BE49-F238E27FC236}">
                <a16:creationId xmlns:a16="http://schemas.microsoft.com/office/drawing/2014/main" xmlns="" id="{2983E643-47E6-A7B4-409D-04DD1A6E92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49489" y1="44625" x2="49489" y2="44625"/>
                        <a14:foregroundMark x1="65357" y1="45500" x2="65357" y2="455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4174" y="3069163"/>
            <a:ext cx="598436" cy="400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Полилиния 44"/>
          <p:cNvSpPr/>
          <p:nvPr/>
        </p:nvSpPr>
        <p:spPr>
          <a:xfrm>
            <a:off x="10483723" y="3034145"/>
            <a:ext cx="1381976" cy="389860"/>
          </a:xfrm>
          <a:custGeom>
            <a:avLst/>
            <a:gdLst>
              <a:gd name="connsiteX0" fmla="*/ 254947 w 1337274"/>
              <a:gd name="connsiteY0" fmla="*/ 0 h 509892"/>
              <a:gd name="connsiteX1" fmla="*/ 255223 w 1337274"/>
              <a:gd name="connsiteY1" fmla="*/ 0 h 509892"/>
              <a:gd name="connsiteX2" fmla="*/ 257162 w 1337274"/>
              <a:gd name="connsiteY2" fmla="*/ 0 h 509892"/>
              <a:gd name="connsiteX3" fmla="*/ 257172 w 1337274"/>
              <a:gd name="connsiteY3" fmla="*/ 0 h 509892"/>
              <a:gd name="connsiteX4" fmla="*/ 261533 w 1337274"/>
              <a:gd name="connsiteY4" fmla="*/ 0 h 509892"/>
              <a:gd name="connsiteX5" fmla="*/ 261544 w 1337274"/>
              <a:gd name="connsiteY5" fmla="*/ 0 h 509892"/>
              <a:gd name="connsiteX6" fmla="*/ 273836 w 1337274"/>
              <a:gd name="connsiteY6" fmla="*/ 0 h 509892"/>
              <a:gd name="connsiteX7" fmla="*/ 278208 w 1337274"/>
              <a:gd name="connsiteY7" fmla="*/ 0 h 509892"/>
              <a:gd name="connsiteX8" fmla="*/ 280145 w 1337274"/>
              <a:gd name="connsiteY8" fmla="*/ 0 h 509892"/>
              <a:gd name="connsiteX9" fmla="*/ 291174 w 1337274"/>
              <a:gd name="connsiteY9" fmla="*/ 0 h 509892"/>
              <a:gd name="connsiteX10" fmla="*/ 298100 w 1337274"/>
              <a:gd name="connsiteY10" fmla="*/ 0 h 509892"/>
              <a:gd name="connsiteX11" fmla="*/ 302471 w 1337274"/>
              <a:gd name="connsiteY11" fmla="*/ 0 h 509892"/>
              <a:gd name="connsiteX12" fmla="*/ 304697 w 1337274"/>
              <a:gd name="connsiteY12" fmla="*/ 0 h 509892"/>
              <a:gd name="connsiteX13" fmla="*/ 309068 w 1337274"/>
              <a:gd name="connsiteY13" fmla="*/ 0 h 509892"/>
              <a:gd name="connsiteX14" fmla="*/ 317767 w 1337274"/>
              <a:gd name="connsiteY14" fmla="*/ 0 h 509892"/>
              <a:gd name="connsiteX15" fmla="*/ 321084 w 1337274"/>
              <a:gd name="connsiteY15" fmla="*/ 0 h 509892"/>
              <a:gd name="connsiteX16" fmla="*/ 321361 w 1337274"/>
              <a:gd name="connsiteY16" fmla="*/ 0 h 509892"/>
              <a:gd name="connsiteX17" fmla="*/ 324363 w 1337274"/>
              <a:gd name="connsiteY17" fmla="*/ 0 h 509892"/>
              <a:gd name="connsiteX18" fmla="*/ 325732 w 1337274"/>
              <a:gd name="connsiteY18" fmla="*/ 0 h 509892"/>
              <a:gd name="connsiteX19" fmla="*/ 327670 w 1337274"/>
              <a:gd name="connsiteY19" fmla="*/ 0 h 509892"/>
              <a:gd name="connsiteX20" fmla="*/ 327680 w 1337274"/>
              <a:gd name="connsiteY20" fmla="*/ 0 h 509892"/>
              <a:gd name="connsiteX21" fmla="*/ 338698 w 1337274"/>
              <a:gd name="connsiteY21" fmla="*/ 0 h 509892"/>
              <a:gd name="connsiteX22" fmla="*/ 341028 w 1337274"/>
              <a:gd name="connsiteY22" fmla="*/ 0 h 509892"/>
              <a:gd name="connsiteX23" fmla="*/ 344345 w 1337274"/>
              <a:gd name="connsiteY23" fmla="*/ 0 h 509892"/>
              <a:gd name="connsiteX24" fmla="*/ 357311 w 1337274"/>
              <a:gd name="connsiteY24" fmla="*/ 0 h 509892"/>
              <a:gd name="connsiteX25" fmla="*/ 361682 w 1337274"/>
              <a:gd name="connsiteY25" fmla="*/ 0 h 509892"/>
              <a:gd name="connsiteX26" fmla="*/ 365291 w 1337274"/>
              <a:gd name="connsiteY26" fmla="*/ 0 h 509892"/>
              <a:gd name="connsiteX27" fmla="*/ 365302 w 1337274"/>
              <a:gd name="connsiteY27" fmla="*/ 0 h 509892"/>
              <a:gd name="connsiteX28" fmla="*/ 368609 w 1337274"/>
              <a:gd name="connsiteY28" fmla="*/ 0 h 509892"/>
              <a:gd name="connsiteX29" fmla="*/ 371887 w 1337274"/>
              <a:gd name="connsiteY29" fmla="*/ 0 h 509892"/>
              <a:gd name="connsiteX30" fmla="*/ 375205 w 1337274"/>
              <a:gd name="connsiteY30" fmla="*/ 0 h 509892"/>
              <a:gd name="connsiteX31" fmla="*/ 381966 w 1337274"/>
              <a:gd name="connsiteY31" fmla="*/ 0 h 509892"/>
              <a:gd name="connsiteX32" fmla="*/ 383903 w 1337274"/>
              <a:gd name="connsiteY32" fmla="*/ 0 h 509892"/>
              <a:gd name="connsiteX33" fmla="*/ 388275 w 1337274"/>
              <a:gd name="connsiteY33" fmla="*/ 0 h 509892"/>
              <a:gd name="connsiteX34" fmla="*/ 388551 w 1337274"/>
              <a:gd name="connsiteY34" fmla="*/ 0 h 509892"/>
              <a:gd name="connsiteX35" fmla="*/ 388562 w 1337274"/>
              <a:gd name="connsiteY35" fmla="*/ 0 h 509892"/>
              <a:gd name="connsiteX36" fmla="*/ 390501 w 1337274"/>
              <a:gd name="connsiteY36" fmla="*/ 0 h 509892"/>
              <a:gd name="connsiteX37" fmla="*/ 391870 w 1337274"/>
              <a:gd name="connsiteY37" fmla="*/ 0 h 509892"/>
              <a:gd name="connsiteX38" fmla="*/ 394872 w 1337274"/>
              <a:gd name="connsiteY38" fmla="*/ 0 h 509892"/>
              <a:gd name="connsiteX39" fmla="*/ 404836 w 1337274"/>
              <a:gd name="connsiteY39" fmla="*/ 0 h 509892"/>
              <a:gd name="connsiteX40" fmla="*/ 407164 w 1337274"/>
              <a:gd name="connsiteY40" fmla="*/ 0 h 509892"/>
              <a:gd name="connsiteX41" fmla="*/ 409206 w 1337274"/>
              <a:gd name="connsiteY41" fmla="*/ 0 h 509892"/>
              <a:gd name="connsiteX42" fmla="*/ 411536 w 1337274"/>
              <a:gd name="connsiteY42" fmla="*/ 0 h 509892"/>
              <a:gd name="connsiteX43" fmla="*/ 412826 w 1337274"/>
              <a:gd name="connsiteY43" fmla="*/ 0 h 509892"/>
              <a:gd name="connsiteX44" fmla="*/ 420720 w 1337274"/>
              <a:gd name="connsiteY44" fmla="*/ 0 h 509892"/>
              <a:gd name="connsiteX45" fmla="*/ 420996 w 1337274"/>
              <a:gd name="connsiteY45" fmla="*/ 0 h 509892"/>
              <a:gd name="connsiteX46" fmla="*/ 422935 w 1337274"/>
              <a:gd name="connsiteY46" fmla="*/ 0 h 509892"/>
              <a:gd name="connsiteX47" fmla="*/ 422945 w 1337274"/>
              <a:gd name="connsiteY47" fmla="*/ 0 h 509892"/>
              <a:gd name="connsiteX48" fmla="*/ 424503 w 1337274"/>
              <a:gd name="connsiteY48" fmla="*/ 0 h 509892"/>
              <a:gd name="connsiteX49" fmla="*/ 427306 w 1337274"/>
              <a:gd name="connsiteY49" fmla="*/ 0 h 509892"/>
              <a:gd name="connsiteX50" fmla="*/ 427317 w 1337274"/>
              <a:gd name="connsiteY50" fmla="*/ 0 h 509892"/>
              <a:gd name="connsiteX51" fmla="*/ 427820 w 1337274"/>
              <a:gd name="connsiteY51" fmla="*/ 0 h 509892"/>
              <a:gd name="connsiteX52" fmla="*/ 429490 w 1337274"/>
              <a:gd name="connsiteY52" fmla="*/ 0 h 509892"/>
              <a:gd name="connsiteX53" fmla="*/ 431428 w 1337274"/>
              <a:gd name="connsiteY53" fmla="*/ 0 h 509892"/>
              <a:gd name="connsiteX54" fmla="*/ 431438 w 1337274"/>
              <a:gd name="connsiteY54" fmla="*/ 0 h 509892"/>
              <a:gd name="connsiteX55" fmla="*/ 435799 w 1337274"/>
              <a:gd name="connsiteY55" fmla="*/ 0 h 509892"/>
              <a:gd name="connsiteX56" fmla="*/ 435810 w 1337274"/>
              <a:gd name="connsiteY56" fmla="*/ 0 h 509892"/>
              <a:gd name="connsiteX57" fmla="*/ 436086 w 1337274"/>
              <a:gd name="connsiteY57" fmla="*/ 0 h 509892"/>
              <a:gd name="connsiteX58" fmla="*/ 438026 w 1337274"/>
              <a:gd name="connsiteY58" fmla="*/ 0 h 509892"/>
              <a:gd name="connsiteX59" fmla="*/ 439609 w 1337274"/>
              <a:gd name="connsiteY59" fmla="*/ 0 h 509892"/>
              <a:gd name="connsiteX60" fmla="*/ 442396 w 1337274"/>
              <a:gd name="connsiteY60" fmla="*/ 0 h 509892"/>
              <a:gd name="connsiteX61" fmla="*/ 443981 w 1337274"/>
              <a:gd name="connsiteY61" fmla="*/ 0 h 509892"/>
              <a:gd name="connsiteX62" fmla="*/ 445918 w 1337274"/>
              <a:gd name="connsiteY62" fmla="*/ 0 h 509892"/>
              <a:gd name="connsiteX63" fmla="*/ 448103 w 1337274"/>
              <a:gd name="connsiteY63" fmla="*/ 0 h 509892"/>
              <a:gd name="connsiteX64" fmla="*/ 452475 w 1337274"/>
              <a:gd name="connsiteY64" fmla="*/ 0 h 509892"/>
              <a:gd name="connsiteX65" fmla="*/ 454412 w 1337274"/>
              <a:gd name="connsiteY65" fmla="*/ 0 h 509892"/>
              <a:gd name="connsiteX66" fmla="*/ 454689 w 1337274"/>
              <a:gd name="connsiteY66" fmla="*/ 0 h 509892"/>
              <a:gd name="connsiteX67" fmla="*/ 454699 w 1337274"/>
              <a:gd name="connsiteY67" fmla="*/ 0 h 509892"/>
              <a:gd name="connsiteX68" fmla="*/ 456947 w 1337274"/>
              <a:gd name="connsiteY68" fmla="*/ 0 h 509892"/>
              <a:gd name="connsiteX69" fmla="*/ 459060 w 1337274"/>
              <a:gd name="connsiteY69" fmla="*/ 0 h 509892"/>
              <a:gd name="connsiteX70" fmla="*/ 459071 w 1337274"/>
              <a:gd name="connsiteY70" fmla="*/ 0 h 509892"/>
              <a:gd name="connsiteX71" fmla="*/ 461009 w 1337274"/>
              <a:gd name="connsiteY71" fmla="*/ 0 h 509892"/>
              <a:gd name="connsiteX72" fmla="*/ 463873 w 1337274"/>
              <a:gd name="connsiteY72" fmla="*/ 0 h 509892"/>
              <a:gd name="connsiteX73" fmla="*/ 465440 w 1337274"/>
              <a:gd name="connsiteY73" fmla="*/ 0 h 509892"/>
              <a:gd name="connsiteX74" fmla="*/ 468244 w 1337274"/>
              <a:gd name="connsiteY74" fmla="*/ 0 h 509892"/>
              <a:gd name="connsiteX75" fmla="*/ 470470 w 1337274"/>
              <a:gd name="connsiteY75" fmla="*/ 0 h 509892"/>
              <a:gd name="connsiteX76" fmla="*/ 472027 w 1337274"/>
              <a:gd name="connsiteY76" fmla="*/ 0 h 509892"/>
              <a:gd name="connsiteX77" fmla="*/ 472038 w 1337274"/>
              <a:gd name="connsiteY77" fmla="*/ 0 h 509892"/>
              <a:gd name="connsiteX78" fmla="*/ 474841 w 1337274"/>
              <a:gd name="connsiteY78" fmla="*/ 0 h 509892"/>
              <a:gd name="connsiteX79" fmla="*/ 475345 w 1337274"/>
              <a:gd name="connsiteY79" fmla="*/ 0 h 509892"/>
              <a:gd name="connsiteX80" fmla="*/ 477673 w 1337274"/>
              <a:gd name="connsiteY80" fmla="*/ 0 h 509892"/>
              <a:gd name="connsiteX81" fmla="*/ 478963 w 1337274"/>
              <a:gd name="connsiteY81" fmla="*/ 0 h 509892"/>
              <a:gd name="connsiteX82" fmla="*/ 483334 w 1337274"/>
              <a:gd name="connsiteY82" fmla="*/ 0 h 509892"/>
              <a:gd name="connsiteX83" fmla="*/ 483540 w 1337274"/>
              <a:gd name="connsiteY83" fmla="*/ 0 h 509892"/>
              <a:gd name="connsiteX84" fmla="*/ 486857 w 1337274"/>
              <a:gd name="connsiteY84" fmla="*/ 0 h 509892"/>
              <a:gd name="connsiteX85" fmla="*/ 487134 w 1337274"/>
              <a:gd name="connsiteY85" fmla="*/ 0 h 509892"/>
              <a:gd name="connsiteX86" fmla="*/ 488701 w 1337274"/>
              <a:gd name="connsiteY86" fmla="*/ 0 h 509892"/>
              <a:gd name="connsiteX87" fmla="*/ 490136 w 1337274"/>
              <a:gd name="connsiteY87" fmla="*/ 0 h 509892"/>
              <a:gd name="connsiteX88" fmla="*/ 490639 w 1337274"/>
              <a:gd name="connsiteY88" fmla="*/ 0 h 509892"/>
              <a:gd name="connsiteX89" fmla="*/ 491505 w 1337274"/>
              <a:gd name="connsiteY89" fmla="*/ 0 h 509892"/>
              <a:gd name="connsiteX90" fmla="*/ 493443 w 1337274"/>
              <a:gd name="connsiteY90" fmla="*/ 0 h 509892"/>
              <a:gd name="connsiteX91" fmla="*/ 493453 w 1337274"/>
              <a:gd name="connsiteY91" fmla="*/ 0 h 509892"/>
              <a:gd name="connsiteX92" fmla="*/ 495012 w 1337274"/>
              <a:gd name="connsiteY92" fmla="*/ 0 h 509892"/>
              <a:gd name="connsiteX93" fmla="*/ 495628 w 1337274"/>
              <a:gd name="connsiteY93" fmla="*/ 0 h 509892"/>
              <a:gd name="connsiteX94" fmla="*/ 498630 w 1337274"/>
              <a:gd name="connsiteY94" fmla="*/ 0 h 509892"/>
              <a:gd name="connsiteX95" fmla="*/ 499999 w 1337274"/>
              <a:gd name="connsiteY95" fmla="*/ 0 h 509892"/>
              <a:gd name="connsiteX96" fmla="*/ 501937 w 1337274"/>
              <a:gd name="connsiteY96" fmla="*/ 0 h 509892"/>
              <a:gd name="connsiteX97" fmla="*/ 501947 w 1337274"/>
              <a:gd name="connsiteY97" fmla="*/ 0 h 509892"/>
              <a:gd name="connsiteX98" fmla="*/ 502224 w 1337274"/>
              <a:gd name="connsiteY98" fmla="*/ 0 h 509892"/>
              <a:gd name="connsiteX99" fmla="*/ 504471 w 1337274"/>
              <a:gd name="connsiteY99" fmla="*/ 0 h 509892"/>
              <a:gd name="connsiteX100" fmla="*/ 506595 w 1337274"/>
              <a:gd name="connsiteY100" fmla="*/ 0 h 509892"/>
              <a:gd name="connsiteX101" fmla="*/ 506801 w 1337274"/>
              <a:gd name="connsiteY101" fmla="*/ 0 h 509892"/>
              <a:gd name="connsiteX102" fmla="*/ 508534 w 1337274"/>
              <a:gd name="connsiteY102" fmla="*/ 0 h 509892"/>
              <a:gd name="connsiteX103" fmla="*/ 510118 w 1337274"/>
              <a:gd name="connsiteY103" fmla="*/ 0 h 509892"/>
              <a:gd name="connsiteX104" fmla="*/ 512964 w 1337274"/>
              <a:gd name="connsiteY104" fmla="*/ 0 h 509892"/>
              <a:gd name="connsiteX105" fmla="*/ 515294 w 1337274"/>
              <a:gd name="connsiteY105" fmla="*/ 0 h 509892"/>
              <a:gd name="connsiteX106" fmla="*/ 518611 w 1337274"/>
              <a:gd name="connsiteY106" fmla="*/ 0 h 509892"/>
              <a:gd name="connsiteX107" fmla="*/ 519562 w 1337274"/>
              <a:gd name="connsiteY107" fmla="*/ 0 h 509892"/>
              <a:gd name="connsiteX108" fmla="*/ 521890 w 1337274"/>
              <a:gd name="connsiteY108" fmla="*/ 0 h 509892"/>
              <a:gd name="connsiteX109" fmla="*/ 523084 w 1337274"/>
              <a:gd name="connsiteY109" fmla="*/ 0 h 509892"/>
              <a:gd name="connsiteX110" fmla="*/ 525198 w 1337274"/>
              <a:gd name="connsiteY110" fmla="*/ 0 h 509892"/>
              <a:gd name="connsiteX111" fmla="*/ 525208 w 1337274"/>
              <a:gd name="connsiteY111" fmla="*/ 0 h 509892"/>
              <a:gd name="connsiteX112" fmla="*/ 527455 w 1337274"/>
              <a:gd name="connsiteY112" fmla="*/ 0 h 509892"/>
              <a:gd name="connsiteX113" fmla="*/ 531064 w 1337274"/>
              <a:gd name="connsiteY113" fmla="*/ 0 h 509892"/>
              <a:gd name="connsiteX114" fmla="*/ 531075 w 1337274"/>
              <a:gd name="connsiteY114" fmla="*/ 0 h 509892"/>
              <a:gd name="connsiteX115" fmla="*/ 531578 w 1337274"/>
              <a:gd name="connsiteY115" fmla="*/ 0 h 509892"/>
              <a:gd name="connsiteX116" fmla="*/ 534382 w 1337274"/>
              <a:gd name="connsiteY116" fmla="*/ 0 h 509892"/>
              <a:gd name="connsiteX117" fmla="*/ 535949 w 1337274"/>
              <a:gd name="connsiteY117" fmla="*/ 0 h 509892"/>
              <a:gd name="connsiteX118" fmla="*/ 536226 w 1337274"/>
              <a:gd name="connsiteY118" fmla="*/ 0 h 509892"/>
              <a:gd name="connsiteX119" fmla="*/ 537660 w 1337274"/>
              <a:gd name="connsiteY119" fmla="*/ 0 h 509892"/>
              <a:gd name="connsiteX120" fmla="*/ 538165 w 1337274"/>
              <a:gd name="connsiteY120" fmla="*/ 0 h 509892"/>
              <a:gd name="connsiteX121" fmla="*/ 538174 w 1337274"/>
              <a:gd name="connsiteY121" fmla="*/ 0 h 509892"/>
              <a:gd name="connsiteX122" fmla="*/ 540978 w 1337274"/>
              <a:gd name="connsiteY122" fmla="*/ 0 h 509892"/>
              <a:gd name="connsiteX123" fmla="*/ 542535 w 1337274"/>
              <a:gd name="connsiteY123" fmla="*/ 0 h 509892"/>
              <a:gd name="connsiteX124" fmla="*/ 542546 w 1337274"/>
              <a:gd name="connsiteY124" fmla="*/ 0 h 509892"/>
              <a:gd name="connsiteX125" fmla="*/ 546154 w 1337274"/>
              <a:gd name="connsiteY125" fmla="*/ 0 h 509892"/>
              <a:gd name="connsiteX126" fmla="*/ 547739 w 1337274"/>
              <a:gd name="connsiteY126" fmla="*/ 0 h 509892"/>
              <a:gd name="connsiteX127" fmla="*/ 549472 w 1337274"/>
              <a:gd name="connsiteY127" fmla="*/ 0 h 509892"/>
              <a:gd name="connsiteX128" fmla="*/ 549676 w 1337274"/>
              <a:gd name="connsiteY128" fmla="*/ 0 h 509892"/>
              <a:gd name="connsiteX129" fmla="*/ 554048 w 1337274"/>
              <a:gd name="connsiteY129" fmla="*/ 0 h 509892"/>
              <a:gd name="connsiteX130" fmla="*/ 554324 w 1337274"/>
              <a:gd name="connsiteY130" fmla="*/ 0 h 509892"/>
              <a:gd name="connsiteX131" fmla="*/ 554335 w 1337274"/>
              <a:gd name="connsiteY131" fmla="*/ 0 h 509892"/>
              <a:gd name="connsiteX132" fmla="*/ 554839 w 1337274"/>
              <a:gd name="connsiteY132" fmla="*/ 0 h 509892"/>
              <a:gd name="connsiteX133" fmla="*/ 556274 w 1337274"/>
              <a:gd name="connsiteY133" fmla="*/ 0 h 509892"/>
              <a:gd name="connsiteX134" fmla="*/ 557643 w 1337274"/>
              <a:gd name="connsiteY134" fmla="*/ 0 h 509892"/>
              <a:gd name="connsiteX135" fmla="*/ 559210 w 1337274"/>
              <a:gd name="connsiteY135" fmla="*/ 0 h 509892"/>
              <a:gd name="connsiteX136" fmla="*/ 560645 w 1337274"/>
              <a:gd name="connsiteY136" fmla="*/ 0 h 509892"/>
              <a:gd name="connsiteX137" fmla="*/ 561148 w 1337274"/>
              <a:gd name="connsiteY137" fmla="*/ 0 h 509892"/>
              <a:gd name="connsiteX138" fmla="*/ 562818 w 1337274"/>
              <a:gd name="connsiteY138" fmla="*/ 0 h 509892"/>
              <a:gd name="connsiteX139" fmla="*/ 562829 w 1337274"/>
              <a:gd name="connsiteY139" fmla="*/ 0 h 509892"/>
              <a:gd name="connsiteX140" fmla="*/ 564768 w 1337274"/>
              <a:gd name="connsiteY140" fmla="*/ 0 h 509892"/>
              <a:gd name="connsiteX141" fmla="*/ 566136 w 1337274"/>
              <a:gd name="connsiteY141" fmla="*/ 0 h 509892"/>
              <a:gd name="connsiteX142" fmla="*/ 569138 w 1337274"/>
              <a:gd name="connsiteY142" fmla="*/ 0 h 509892"/>
              <a:gd name="connsiteX143" fmla="*/ 569414 w 1337274"/>
              <a:gd name="connsiteY143" fmla="*/ 0 h 509892"/>
              <a:gd name="connsiteX144" fmla="*/ 570609 w 1337274"/>
              <a:gd name="connsiteY144" fmla="*/ 0 h 509892"/>
              <a:gd name="connsiteX145" fmla="*/ 572733 w 1337274"/>
              <a:gd name="connsiteY145" fmla="*/ 0 h 509892"/>
              <a:gd name="connsiteX146" fmla="*/ 572937 w 1337274"/>
              <a:gd name="connsiteY146" fmla="*/ 0 h 509892"/>
              <a:gd name="connsiteX147" fmla="*/ 574979 w 1337274"/>
              <a:gd name="connsiteY147" fmla="*/ 0 h 509892"/>
              <a:gd name="connsiteX148" fmla="*/ 577309 w 1337274"/>
              <a:gd name="connsiteY148" fmla="*/ 0 h 509892"/>
              <a:gd name="connsiteX149" fmla="*/ 578599 w 1337274"/>
              <a:gd name="connsiteY149" fmla="*/ 0 h 509892"/>
              <a:gd name="connsiteX150" fmla="*/ 579103 w 1337274"/>
              <a:gd name="connsiteY150" fmla="*/ 0 h 509892"/>
              <a:gd name="connsiteX151" fmla="*/ 581431 w 1337274"/>
              <a:gd name="connsiteY151" fmla="*/ 0 h 509892"/>
              <a:gd name="connsiteX152" fmla="*/ 583473 w 1337274"/>
              <a:gd name="connsiteY152" fmla="*/ 0 h 509892"/>
              <a:gd name="connsiteX153" fmla="*/ 585699 w 1337274"/>
              <a:gd name="connsiteY153" fmla="*/ 0 h 509892"/>
              <a:gd name="connsiteX154" fmla="*/ 585803 w 1337274"/>
              <a:gd name="connsiteY154" fmla="*/ 0 h 509892"/>
              <a:gd name="connsiteX155" fmla="*/ 588028 w 1337274"/>
              <a:gd name="connsiteY155" fmla="*/ 0 h 509892"/>
              <a:gd name="connsiteX156" fmla="*/ 590070 w 1337274"/>
              <a:gd name="connsiteY156" fmla="*/ 0 h 509892"/>
              <a:gd name="connsiteX157" fmla="*/ 590276 w 1337274"/>
              <a:gd name="connsiteY157" fmla="*/ 0 h 509892"/>
              <a:gd name="connsiteX158" fmla="*/ 592399 w 1337274"/>
              <a:gd name="connsiteY158" fmla="*/ 0 h 509892"/>
              <a:gd name="connsiteX159" fmla="*/ 593593 w 1337274"/>
              <a:gd name="connsiteY159" fmla="*/ 0 h 509892"/>
              <a:gd name="connsiteX160" fmla="*/ 595263 w 1337274"/>
              <a:gd name="connsiteY160" fmla="*/ 0 h 509892"/>
              <a:gd name="connsiteX161" fmla="*/ 597201 w 1337274"/>
              <a:gd name="connsiteY161" fmla="*/ 0 h 509892"/>
              <a:gd name="connsiteX162" fmla="*/ 597211 w 1337274"/>
              <a:gd name="connsiteY162" fmla="*/ 0 h 509892"/>
              <a:gd name="connsiteX163" fmla="*/ 598770 w 1337274"/>
              <a:gd name="connsiteY163" fmla="*/ 0 h 509892"/>
              <a:gd name="connsiteX164" fmla="*/ 601572 w 1337274"/>
              <a:gd name="connsiteY164" fmla="*/ 0 h 509892"/>
              <a:gd name="connsiteX165" fmla="*/ 601583 w 1337274"/>
              <a:gd name="connsiteY165" fmla="*/ 0 h 509892"/>
              <a:gd name="connsiteX166" fmla="*/ 601859 w 1337274"/>
              <a:gd name="connsiteY166" fmla="*/ 0 h 509892"/>
              <a:gd name="connsiteX167" fmla="*/ 602087 w 1337274"/>
              <a:gd name="connsiteY167" fmla="*/ 0 h 509892"/>
              <a:gd name="connsiteX168" fmla="*/ 602364 w 1337274"/>
              <a:gd name="connsiteY168" fmla="*/ 0 h 509892"/>
              <a:gd name="connsiteX169" fmla="*/ 603799 w 1337274"/>
              <a:gd name="connsiteY169" fmla="*/ 0 h 509892"/>
              <a:gd name="connsiteX170" fmla="*/ 605366 w 1337274"/>
              <a:gd name="connsiteY170" fmla="*/ 0 h 509892"/>
              <a:gd name="connsiteX171" fmla="*/ 606735 w 1337274"/>
              <a:gd name="connsiteY171" fmla="*/ 0 h 509892"/>
              <a:gd name="connsiteX172" fmla="*/ 608169 w 1337274"/>
              <a:gd name="connsiteY172" fmla="*/ 0 h 509892"/>
              <a:gd name="connsiteX173" fmla="*/ 608673 w 1337274"/>
              <a:gd name="connsiteY173" fmla="*/ 0 h 509892"/>
              <a:gd name="connsiteX174" fmla="*/ 608683 w 1337274"/>
              <a:gd name="connsiteY174" fmla="*/ 0 h 509892"/>
              <a:gd name="connsiteX175" fmla="*/ 610353 w 1337274"/>
              <a:gd name="connsiteY175" fmla="*/ 0 h 509892"/>
              <a:gd name="connsiteX176" fmla="*/ 612293 w 1337274"/>
              <a:gd name="connsiteY176" fmla="*/ 0 h 509892"/>
              <a:gd name="connsiteX177" fmla="*/ 613876 w 1337274"/>
              <a:gd name="connsiteY177" fmla="*/ 0 h 509892"/>
              <a:gd name="connsiteX178" fmla="*/ 616662 w 1337274"/>
              <a:gd name="connsiteY178" fmla="*/ 0 h 509892"/>
              <a:gd name="connsiteX179" fmla="*/ 618248 w 1337274"/>
              <a:gd name="connsiteY179" fmla="*/ 0 h 509892"/>
              <a:gd name="connsiteX180" fmla="*/ 620185 w 1337274"/>
              <a:gd name="connsiteY180" fmla="*/ 0 h 509892"/>
              <a:gd name="connsiteX181" fmla="*/ 620462 w 1337274"/>
              <a:gd name="connsiteY181" fmla="*/ 0 h 509892"/>
              <a:gd name="connsiteX182" fmla="*/ 620472 w 1337274"/>
              <a:gd name="connsiteY182" fmla="*/ 0 h 509892"/>
              <a:gd name="connsiteX183" fmla="*/ 622030 w 1337274"/>
              <a:gd name="connsiteY183" fmla="*/ 0 h 509892"/>
              <a:gd name="connsiteX184" fmla="*/ 624833 w 1337274"/>
              <a:gd name="connsiteY184" fmla="*/ 0 h 509892"/>
              <a:gd name="connsiteX185" fmla="*/ 624844 w 1337274"/>
              <a:gd name="connsiteY185" fmla="*/ 0 h 509892"/>
              <a:gd name="connsiteX186" fmla="*/ 625347 w 1337274"/>
              <a:gd name="connsiteY186" fmla="*/ 0 h 509892"/>
              <a:gd name="connsiteX187" fmla="*/ 626782 w 1337274"/>
              <a:gd name="connsiteY187" fmla="*/ 0 h 509892"/>
              <a:gd name="connsiteX188" fmla="*/ 628956 w 1337274"/>
              <a:gd name="connsiteY188" fmla="*/ 0 h 509892"/>
              <a:gd name="connsiteX189" fmla="*/ 628966 w 1337274"/>
              <a:gd name="connsiteY189" fmla="*/ 0 h 509892"/>
              <a:gd name="connsiteX190" fmla="*/ 631213 w 1337274"/>
              <a:gd name="connsiteY190" fmla="*/ 0 h 509892"/>
              <a:gd name="connsiteX191" fmla="*/ 633327 w 1337274"/>
              <a:gd name="connsiteY191" fmla="*/ 0 h 509892"/>
              <a:gd name="connsiteX192" fmla="*/ 633338 w 1337274"/>
              <a:gd name="connsiteY192" fmla="*/ 0 h 509892"/>
              <a:gd name="connsiteX193" fmla="*/ 635276 w 1337274"/>
              <a:gd name="connsiteY193" fmla="*/ 0 h 509892"/>
              <a:gd name="connsiteX194" fmla="*/ 635553 w 1337274"/>
              <a:gd name="connsiteY194" fmla="*/ 0 h 509892"/>
              <a:gd name="connsiteX195" fmla="*/ 637800 w 1337274"/>
              <a:gd name="connsiteY195" fmla="*/ 0 h 509892"/>
              <a:gd name="connsiteX196" fmla="*/ 637811 w 1337274"/>
              <a:gd name="connsiteY196" fmla="*/ 0 h 509892"/>
              <a:gd name="connsiteX197" fmla="*/ 639923 w 1337274"/>
              <a:gd name="connsiteY197" fmla="*/ 0 h 509892"/>
              <a:gd name="connsiteX198" fmla="*/ 641118 w 1337274"/>
              <a:gd name="connsiteY198" fmla="*/ 0 h 509892"/>
              <a:gd name="connsiteX199" fmla="*/ 643446 w 1337274"/>
              <a:gd name="connsiteY199" fmla="*/ 0 h 509892"/>
              <a:gd name="connsiteX200" fmla="*/ 644736 w 1337274"/>
              <a:gd name="connsiteY200" fmla="*/ 0 h 509892"/>
              <a:gd name="connsiteX201" fmla="*/ 646293 w 1337274"/>
              <a:gd name="connsiteY201" fmla="*/ 0 h 509892"/>
              <a:gd name="connsiteX202" fmla="*/ 646304 w 1337274"/>
              <a:gd name="connsiteY202" fmla="*/ 0 h 509892"/>
              <a:gd name="connsiteX203" fmla="*/ 649107 w 1337274"/>
              <a:gd name="connsiteY203" fmla="*/ 0 h 509892"/>
              <a:gd name="connsiteX204" fmla="*/ 649612 w 1337274"/>
              <a:gd name="connsiteY204" fmla="*/ 0 h 509892"/>
              <a:gd name="connsiteX205" fmla="*/ 651940 w 1337274"/>
              <a:gd name="connsiteY205" fmla="*/ 0 h 509892"/>
              <a:gd name="connsiteX206" fmla="*/ 652890 w 1337274"/>
              <a:gd name="connsiteY206" fmla="*/ 0 h 509892"/>
              <a:gd name="connsiteX207" fmla="*/ 654474 w 1337274"/>
              <a:gd name="connsiteY207" fmla="*/ 0 h 509892"/>
              <a:gd name="connsiteX208" fmla="*/ 656208 w 1337274"/>
              <a:gd name="connsiteY208" fmla="*/ 0 h 509892"/>
              <a:gd name="connsiteX209" fmla="*/ 656412 w 1337274"/>
              <a:gd name="connsiteY209" fmla="*/ 0 h 509892"/>
              <a:gd name="connsiteX210" fmla="*/ 658537 w 1337274"/>
              <a:gd name="connsiteY210" fmla="*/ 0 h 509892"/>
              <a:gd name="connsiteX211" fmla="*/ 660785 w 1337274"/>
              <a:gd name="connsiteY211" fmla="*/ 0 h 509892"/>
              <a:gd name="connsiteX212" fmla="*/ 661401 w 1337274"/>
              <a:gd name="connsiteY212" fmla="*/ 0 h 509892"/>
              <a:gd name="connsiteX213" fmla="*/ 662968 w 1337274"/>
              <a:gd name="connsiteY213" fmla="*/ 0 h 509892"/>
              <a:gd name="connsiteX214" fmla="*/ 664403 w 1337274"/>
              <a:gd name="connsiteY214" fmla="*/ 0 h 509892"/>
              <a:gd name="connsiteX215" fmla="*/ 664906 w 1337274"/>
              <a:gd name="connsiteY215" fmla="*/ 0 h 509892"/>
              <a:gd name="connsiteX216" fmla="*/ 665772 w 1337274"/>
              <a:gd name="connsiteY216" fmla="*/ 0 h 509892"/>
              <a:gd name="connsiteX217" fmla="*/ 667710 w 1337274"/>
              <a:gd name="connsiteY217" fmla="*/ 0 h 509892"/>
              <a:gd name="connsiteX218" fmla="*/ 667720 w 1337274"/>
              <a:gd name="connsiteY218" fmla="*/ 0 h 509892"/>
              <a:gd name="connsiteX219" fmla="*/ 667997 w 1337274"/>
              <a:gd name="connsiteY219" fmla="*/ 0 h 509892"/>
              <a:gd name="connsiteX220" fmla="*/ 669278 w 1337274"/>
              <a:gd name="connsiteY220" fmla="*/ 0 h 509892"/>
              <a:gd name="connsiteX221" fmla="*/ 669554 w 1337274"/>
              <a:gd name="connsiteY221" fmla="*/ 0 h 509892"/>
              <a:gd name="connsiteX222" fmla="*/ 669565 w 1337274"/>
              <a:gd name="connsiteY222" fmla="*/ 0 h 509892"/>
              <a:gd name="connsiteX223" fmla="*/ 671502 w 1337274"/>
              <a:gd name="connsiteY223" fmla="*/ 0 h 509892"/>
              <a:gd name="connsiteX224" fmla="*/ 672368 w 1337274"/>
              <a:gd name="connsiteY224" fmla="*/ 0 h 509892"/>
              <a:gd name="connsiteX225" fmla="*/ 672872 w 1337274"/>
              <a:gd name="connsiteY225" fmla="*/ 0 h 509892"/>
              <a:gd name="connsiteX226" fmla="*/ 674307 w 1337274"/>
              <a:gd name="connsiteY226" fmla="*/ 0 h 509892"/>
              <a:gd name="connsiteX227" fmla="*/ 675874 w 1337274"/>
              <a:gd name="connsiteY227" fmla="*/ 0 h 509892"/>
              <a:gd name="connsiteX228" fmla="*/ 676491 w 1337274"/>
              <a:gd name="connsiteY228" fmla="*/ 0 h 509892"/>
              <a:gd name="connsiteX229" fmla="*/ 678737 w 1337274"/>
              <a:gd name="connsiteY229" fmla="*/ 0 h 509892"/>
              <a:gd name="connsiteX230" fmla="*/ 680862 w 1337274"/>
              <a:gd name="connsiteY230" fmla="*/ 0 h 509892"/>
              <a:gd name="connsiteX231" fmla="*/ 681067 w 1337274"/>
              <a:gd name="connsiteY231" fmla="*/ 0 h 509892"/>
              <a:gd name="connsiteX232" fmla="*/ 682801 w 1337274"/>
              <a:gd name="connsiteY232" fmla="*/ 0 h 509892"/>
              <a:gd name="connsiteX233" fmla="*/ 684384 w 1337274"/>
              <a:gd name="connsiteY233" fmla="*/ 0 h 509892"/>
              <a:gd name="connsiteX234" fmla="*/ 685335 w 1337274"/>
              <a:gd name="connsiteY234" fmla="*/ 0 h 509892"/>
              <a:gd name="connsiteX235" fmla="*/ 687663 w 1337274"/>
              <a:gd name="connsiteY235" fmla="*/ 0 h 509892"/>
              <a:gd name="connsiteX236" fmla="*/ 688167 w 1337274"/>
              <a:gd name="connsiteY236" fmla="*/ 0 h 509892"/>
              <a:gd name="connsiteX237" fmla="*/ 690971 w 1337274"/>
              <a:gd name="connsiteY237" fmla="*/ 0 h 509892"/>
              <a:gd name="connsiteX238" fmla="*/ 690981 w 1337274"/>
              <a:gd name="connsiteY238" fmla="*/ 0 h 509892"/>
              <a:gd name="connsiteX239" fmla="*/ 692539 w 1337274"/>
              <a:gd name="connsiteY239" fmla="*/ 0 h 509892"/>
              <a:gd name="connsiteX240" fmla="*/ 693828 w 1337274"/>
              <a:gd name="connsiteY240" fmla="*/ 0 h 509892"/>
              <a:gd name="connsiteX241" fmla="*/ 696157 w 1337274"/>
              <a:gd name="connsiteY241" fmla="*/ 0 h 509892"/>
              <a:gd name="connsiteX242" fmla="*/ 697351 w 1337274"/>
              <a:gd name="connsiteY242" fmla="*/ 0 h 509892"/>
              <a:gd name="connsiteX243" fmla="*/ 699465 w 1337274"/>
              <a:gd name="connsiteY243" fmla="*/ 0 h 509892"/>
              <a:gd name="connsiteX244" fmla="*/ 699474 w 1337274"/>
              <a:gd name="connsiteY244" fmla="*/ 0 h 509892"/>
              <a:gd name="connsiteX245" fmla="*/ 701722 w 1337274"/>
              <a:gd name="connsiteY245" fmla="*/ 0 h 509892"/>
              <a:gd name="connsiteX246" fmla="*/ 701999 w 1337274"/>
              <a:gd name="connsiteY246" fmla="*/ 0 h 509892"/>
              <a:gd name="connsiteX247" fmla="*/ 703938 w 1337274"/>
              <a:gd name="connsiteY247" fmla="*/ 0 h 509892"/>
              <a:gd name="connsiteX248" fmla="*/ 703947 w 1337274"/>
              <a:gd name="connsiteY248" fmla="*/ 0 h 509892"/>
              <a:gd name="connsiteX249" fmla="*/ 706062 w 1337274"/>
              <a:gd name="connsiteY249" fmla="*/ 0 h 509892"/>
              <a:gd name="connsiteX250" fmla="*/ 708308 w 1337274"/>
              <a:gd name="connsiteY250" fmla="*/ 0 h 509892"/>
              <a:gd name="connsiteX251" fmla="*/ 708319 w 1337274"/>
              <a:gd name="connsiteY251" fmla="*/ 0 h 509892"/>
              <a:gd name="connsiteX252" fmla="*/ 710493 w 1337274"/>
              <a:gd name="connsiteY252" fmla="*/ 0 h 509892"/>
              <a:gd name="connsiteX253" fmla="*/ 711927 w 1337274"/>
              <a:gd name="connsiteY253" fmla="*/ 0 h 509892"/>
              <a:gd name="connsiteX254" fmla="*/ 712431 w 1337274"/>
              <a:gd name="connsiteY254" fmla="*/ 0 h 509892"/>
              <a:gd name="connsiteX255" fmla="*/ 712441 w 1337274"/>
              <a:gd name="connsiteY255" fmla="*/ 0 h 509892"/>
              <a:gd name="connsiteX256" fmla="*/ 715245 w 1337274"/>
              <a:gd name="connsiteY256" fmla="*/ 0 h 509892"/>
              <a:gd name="connsiteX257" fmla="*/ 716802 w 1337274"/>
              <a:gd name="connsiteY257" fmla="*/ 0 h 509892"/>
              <a:gd name="connsiteX258" fmla="*/ 716813 w 1337274"/>
              <a:gd name="connsiteY258" fmla="*/ 0 h 509892"/>
              <a:gd name="connsiteX259" fmla="*/ 717089 w 1337274"/>
              <a:gd name="connsiteY259" fmla="*/ 0 h 509892"/>
              <a:gd name="connsiteX260" fmla="*/ 719027 w 1337274"/>
              <a:gd name="connsiteY260" fmla="*/ 0 h 509892"/>
              <a:gd name="connsiteX261" fmla="*/ 720612 w 1337274"/>
              <a:gd name="connsiteY261" fmla="*/ 0 h 509892"/>
              <a:gd name="connsiteX262" fmla="*/ 723398 w 1337274"/>
              <a:gd name="connsiteY262" fmla="*/ 0 h 509892"/>
              <a:gd name="connsiteX263" fmla="*/ 724983 w 1337274"/>
              <a:gd name="connsiteY263" fmla="*/ 0 h 509892"/>
              <a:gd name="connsiteX264" fmla="*/ 726921 w 1337274"/>
              <a:gd name="connsiteY264" fmla="*/ 0 h 509892"/>
              <a:gd name="connsiteX265" fmla="*/ 728591 w 1337274"/>
              <a:gd name="connsiteY265" fmla="*/ 0 h 509892"/>
              <a:gd name="connsiteX266" fmla="*/ 728602 w 1337274"/>
              <a:gd name="connsiteY266" fmla="*/ 0 h 509892"/>
              <a:gd name="connsiteX267" fmla="*/ 729106 w 1337274"/>
              <a:gd name="connsiteY267" fmla="*/ 0 h 509892"/>
              <a:gd name="connsiteX268" fmla="*/ 730541 w 1337274"/>
              <a:gd name="connsiteY268" fmla="*/ 0 h 509892"/>
              <a:gd name="connsiteX269" fmla="*/ 731909 w 1337274"/>
              <a:gd name="connsiteY269" fmla="*/ 0 h 509892"/>
              <a:gd name="connsiteX270" fmla="*/ 733476 w 1337274"/>
              <a:gd name="connsiteY270" fmla="*/ 0 h 509892"/>
              <a:gd name="connsiteX271" fmla="*/ 734911 w 1337274"/>
              <a:gd name="connsiteY271" fmla="*/ 0 h 509892"/>
              <a:gd name="connsiteX272" fmla="*/ 735187 w 1337274"/>
              <a:gd name="connsiteY272" fmla="*/ 0 h 509892"/>
              <a:gd name="connsiteX273" fmla="*/ 735415 w 1337274"/>
              <a:gd name="connsiteY273" fmla="*/ 0 h 509892"/>
              <a:gd name="connsiteX274" fmla="*/ 735692 w 1337274"/>
              <a:gd name="connsiteY274" fmla="*/ 0 h 509892"/>
              <a:gd name="connsiteX275" fmla="*/ 735702 w 1337274"/>
              <a:gd name="connsiteY275" fmla="*/ 0 h 509892"/>
              <a:gd name="connsiteX276" fmla="*/ 738506 w 1337274"/>
              <a:gd name="connsiteY276" fmla="*/ 0 h 509892"/>
              <a:gd name="connsiteX277" fmla="*/ 740063 w 1337274"/>
              <a:gd name="connsiteY277" fmla="*/ 0 h 509892"/>
              <a:gd name="connsiteX278" fmla="*/ 740074 w 1337274"/>
              <a:gd name="connsiteY278" fmla="*/ 0 h 509892"/>
              <a:gd name="connsiteX279" fmla="*/ 742011 w 1337274"/>
              <a:gd name="connsiteY279" fmla="*/ 0 h 509892"/>
              <a:gd name="connsiteX280" fmla="*/ 743681 w 1337274"/>
              <a:gd name="connsiteY280" fmla="*/ 0 h 509892"/>
              <a:gd name="connsiteX281" fmla="*/ 744876 w 1337274"/>
              <a:gd name="connsiteY281" fmla="*/ 0 h 509892"/>
              <a:gd name="connsiteX282" fmla="*/ 746999 w 1337274"/>
              <a:gd name="connsiteY282" fmla="*/ 0 h 509892"/>
              <a:gd name="connsiteX283" fmla="*/ 747204 w 1337274"/>
              <a:gd name="connsiteY283" fmla="*/ 0 h 509892"/>
              <a:gd name="connsiteX284" fmla="*/ 749246 w 1337274"/>
              <a:gd name="connsiteY284" fmla="*/ 0 h 509892"/>
              <a:gd name="connsiteX285" fmla="*/ 751472 w 1337274"/>
              <a:gd name="connsiteY285" fmla="*/ 0 h 509892"/>
              <a:gd name="connsiteX286" fmla="*/ 751576 w 1337274"/>
              <a:gd name="connsiteY286" fmla="*/ 0 h 509892"/>
              <a:gd name="connsiteX287" fmla="*/ 753801 w 1337274"/>
              <a:gd name="connsiteY287" fmla="*/ 0 h 509892"/>
              <a:gd name="connsiteX288" fmla="*/ 755843 w 1337274"/>
              <a:gd name="connsiteY288" fmla="*/ 0 h 509892"/>
              <a:gd name="connsiteX289" fmla="*/ 758172 w 1337274"/>
              <a:gd name="connsiteY289" fmla="*/ 0 h 509892"/>
              <a:gd name="connsiteX290" fmla="*/ 758676 w 1337274"/>
              <a:gd name="connsiteY290" fmla="*/ 0 h 509892"/>
              <a:gd name="connsiteX291" fmla="*/ 759966 w 1337274"/>
              <a:gd name="connsiteY291" fmla="*/ 0 h 509892"/>
              <a:gd name="connsiteX292" fmla="*/ 762295 w 1337274"/>
              <a:gd name="connsiteY292" fmla="*/ 0 h 509892"/>
              <a:gd name="connsiteX293" fmla="*/ 764337 w 1337274"/>
              <a:gd name="connsiteY293" fmla="*/ 0 h 509892"/>
              <a:gd name="connsiteX294" fmla="*/ 764543 w 1337274"/>
              <a:gd name="connsiteY294" fmla="*/ 0 h 509892"/>
              <a:gd name="connsiteX295" fmla="*/ 766666 w 1337274"/>
              <a:gd name="connsiteY295" fmla="*/ 0 h 509892"/>
              <a:gd name="connsiteX296" fmla="*/ 767860 w 1337274"/>
              <a:gd name="connsiteY296" fmla="*/ 0 h 509892"/>
              <a:gd name="connsiteX297" fmla="*/ 768137 w 1337274"/>
              <a:gd name="connsiteY297" fmla="*/ 0 h 509892"/>
              <a:gd name="connsiteX298" fmla="*/ 771139 w 1337274"/>
              <a:gd name="connsiteY298" fmla="*/ 0 h 509892"/>
              <a:gd name="connsiteX299" fmla="*/ 772508 w 1337274"/>
              <a:gd name="connsiteY299" fmla="*/ 0 h 509892"/>
              <a:gd name="connsiteX300" fmla="*/ 774446 w 1337274"/>
              <a:gd name="connsiteY300" fmla="*/ 0 h 509892"/>
              <a:gd name="connsiteX301" fmla="*/ 774456 w 1337274"/>
              <a:gd name="connsiteY301" fmla="*/ 0 h 509892"/>
              <a:gd name="connsiteX302" fmla="*/ 776126 w 1337274"/>
              <a:gd name="connsiteY302" fmla="*/ 0 h 509892"/>
              <a:gd name="connsiteX303" fmla="*/ 776631 w 1337274"/>
              <a:gd name="connsiteY303" fmla="*/ 0 h 509892"/>
              <a:gd name="connsiteX304" fmla="*/ 778066 w 1337274"/>
              <a:gd name="connsiteY304" fmla="*/ 0 h 509892"/>
              <a:gd name="connsiteX305" fmla="*/ 779633 w 1337274"/>
              <a:gd name="connsiteY305" fmla="*/ 0 h 509892"/>
              <a:gd name="connsiteX306" fmla="*/ 781001 w 1337274"/>
              <a:gd name="connsiteY306" fmla="*/ 0 h 509892"/>
              <a:gd name="connsiteX307" fmla="*/ 782435 w 1337274"/>
              <a:gd name="connsiteY307" fmla="*/ 0 h 509892"/>
              <a:gd name="connsiteX308" fmla="*/ 782940 w 1337274"/>
              <a:gd name="connsiteY308" fmla="*/ 0 h 509892"/>
              <a:gd name="connsiteX309" fmla="*/ 782950 w 1337274"/>
              <a:gd name="connsiteY309" fmla="*/ 0 h 509892"/>
              <a:gd name="connsiteX310" fmla="*/ 783227 w 1337274"/>
              <a:gd name="connsiteY310" fmla="*/ 0 h 509892"/>
              <a:gd name="connsiteX311" fmla="*/ 787598 w 1337274"/>
              <a:gd name="connsiteY311" fmla="*/ 0 h 509892"/>
              <a:gd name="connsiteX312" fmla="*/ 787803 w 1337274"/>
              <a:gd name="connsiteY312" fmla="*/ 0 h 509892"/>
              <a:gd name="connsiteX313" fmla="*/ 789536 w 1337274"/>
              <a:gd name="connsiteY313" fmla="*/ 0 h 509892"/>
              <a:gd name="connsiteX314" fmla="*/ 791120 w 1337274"/>
              <a:gd name="connsiteY314" fmla="*/ 0 h 509892"/>
              <a:gd name="connsiteX315" fmla="*/ 794729 w 1337274"/>
              <a:gd name="connsiteY315" fmla="*/ 0 h 509892"/>
              <a:gd name="connsiteX316" fmla="*/ 794739 w 1337274"/>
              <a:gd name="connsiteY316" fmla="*/ 0 h 509892"/>
              <a:gd name="connsiteX317" fmla="*/ 796297 w 1337274"/>
              <a:gd name="connsiteY317" fmla="*/ 0 h 509892"/>
              <a:gd name="connsiteX318" fmla="*/ 799100 w 1337274"/>
              <a:gd name="connsiteY318" fmla="*/ 0 h 509892"/>
              <a:gd name="connsiteX319" fmla="*/ 799111 w 1337274"/>
              <a:gd name="connsiteY319" fmla="*/ 0 h 509892"/>
              <a:gd name="connsiteX320" fmla="*/ 799614 w 1337274"/>
              <a:gd name="connsiteY320" fmla="*/ 0 h 509892"/>
              <a:gd name="connsiteX321" fmla="*/ 801049 w 1337274"/>
              <a:gd name="connsiteY321" fmla="*/ 0 h 509892"/>
              <a:gd name="connsiteX322" fmla="*/ 801326 w 1337274"/>
              <a:gd name="connsiteY322" fmla="*/ 0 h 509892"/>
              <a:gd name="connsiteX323" fmla="*/ 802893 w 1337274"/>
              <a:gd name="connsiteY323" fmla="*/ 0 h 509892"/>
              <a:gd name="connsiteX324" fmla="*/ 805696 w 1337274"/>
              <a:gd name="connsiteY324" fmla="*/ 0 h 509892"/>
              <a:gd name="connsiteX325" fmla="*/ 806201 w 1337274"/>
              <a:gd name="connsiteY325" fmla="*/ 0 h 509892"/>
              <a:gd name="connsiteX326" fmla="*/ 806210 w 1337274"/>
              <a:gd name="connsiteY326" fmla="*/ 0 h 509892"/>
              <a:gd name="connsiteX327" fmla="*/ 809820 w 1337274"/>
              <a:gd name="connsiteY327" fmla="*/ 0 h 509892"/>
              <a:gd name="connsiteX328" fmla="*/ 812066 w 1337274"/>
              <a:gd name="connsiteY328" fmla="*/ 0 h 509892"/>
              <a:gd name="connsiteX329" fmla="*/ 812077 w 1337274"/>
              <a:gd name="connsiteY329" fmla="*/ 0 h 509892"/>
              <a:gd name="connsiteX330" fmla="*/ 814190 w 1337274"/>
              <a:gd name="connsiteY330" fmla="*/ 0 h 509892"/>
              <a:gd name="connsiteX331" fmla="*/ 815385 w 1337274"/>
              <a:gd name="connsiteY331" fmla="*/ 0 h 509892"/>
              <a:gd name="connsiteX332" fmla="*/ 817713 w 1337274"/>
              <a:gd name="connsiteY332" fmla="*/ 0 h 509892"/>
              <a:gd name="connsiteX333" fmla="*/ 818663 w 1337274"/>
              <a:gd name="connsiteY333" fmla="*/ 0 h 509892"/>
              <a:gd name="connsiteX334" fmla="*/ 821981 w 1337274"/>
              <a:gd name="connsiteY334" fmla="*/ 0 h 509892"/>
              <a:gd name="connsiteX335" fmla="*/ 824310 w 1337274"/>
              <a:gd name="connsiteY335" fmla="*/ 0 h 509892"/>
              <a:gd name="connsiteX336" fmla="*/ 827156 w 1337274"/>
              <a:gd name="connsiteY336" fmla="*/ 0 h 509892"/>
              <a:gd name="connsiteX337" fmla="*/ 828741 w 1337274"/>
              <a:gd name="connsiteY337" fmla="*/ 0 h 509892"/>
              <a:gd name="connsiteX338" fmla="*/ 830475 w 1337274"/>
              <a:gd name="connsiteY338" fmla="*/ 0 h 509892"/>
              <a:gd name="connsiteX339" fmla="*/ 830679 w 1337274"/>
              <a:gd name="connsiteY339" fmla="*/ 0 h 509892"/>
              <a:gd name="connsiteX340" fmla="*/ 832804 w 1337274"/>
              <a:gd name="connsiteY340" fmla="*/ 0 h 509892"/>
              <a:gd name="connsiteX341" fmla="*/ 835051 w 1337274"/>
              <a:gd name="connsiteY341" fmla="*/ 0 h 509892"/>
              <a:gd name="connsiteX342" fmla="*/ 835327 w 1337274"/>
              <a:gd name="connsiteY342" fmla="*/ 0 h 509892"/>
              <a:gd name="connsiteX343" fmla="*/ 835338 w 1337274"/>
              <a:gd name="connsiteY343" fmla="*/ 0 h 509892"/>
              <a:gd name="connsiteX344" fmla="*/ 837275 w 1337274"/>
              <a:gd name="connsiteY344" fmla="*/ 0 h 509892"/>
              <a:gd name="connsiteX345" fmla="*/ 838645 w 1337274"/>
              <a:gd name="connsiteY345" fmla="*/ 0 h 509892"/>
              <a:gd name="connsiteX346" fmla="*/ 841647 w 1337274"/>
              <a:gd name="connsiteY346" fmla="*/ 0 h 509892"/>
              <a:gd name="connsiteX347" fmla="*/ 842264 w 1337274"/>
              <a:gd name="connsiteY347" fmla="*/ 0 h 509892"/>
              <a:gd name="connsiteX348" fmla="*/ 843821 w 1337274"/>
              <a:gd name="connsiteY348" fmla="*/ 0 h 509892"/>
              <a:gd name="connsiteX349" fmla="*/ 843832 w 1337274"/>
              <a:gd name="connsiteY349" fmla="*/ 0 h 509892"/>
              <a:gd name="connsiteX350" fmla="*/ 845769 w 1337274"/>
              <a:gd name="connsiteY350" fmla="*/ 0 h 509892"/>
              <a:gd name="connsiteX351" fmla="*/ 846635 w 1337274"/>
              <a:gd name="connsiteY351" fmla="*/ 0 h 509892"/>
              <a:gd name="connsiteX352" fmla="*/ 847139 w 1337274"/>
              <a:gd name="connsiteY352" fmla="*/ 0 h 509892"/>
              <a:gd name="connsiteX353" fmla="*/ 848574 w 1337274"/>
              <a:gd name="connsiteY353" fmla="*/ 0 h 509892"/>
              <a:gd name="connsiteX354" fmla="*/ 850141 w 1337274"/>
              <a:gd name="connsiteY354" fmla="*/ 0 h 509892"/>
              <a:gd name="connsiteX355" fmla="*/ 850417 w 1337274"/>
              <a:gd name="connsiteY355" fmla="*/ 0 h 509892"/>
              <a:gd name="connsiteX356" fmla="*/ 853735 w 1337274"/>
              <a:gd name="connsiteY356" fmla="*/ 0 h 509892"/>
              <a:gd name="connsiteX357" fmla="*/ 853940 w 1337274"/>
              <a:gd name="connsiteY357" fmla="*/ 0 h 509892"/>
              <a:gd name="connsiteX358" fmla="*/ 858312 w 1337274"/>
              <a:gd name="connsiteY358" fmla="*/ 0 h 509892"/>
              <a:gd name="connsiteX359" fmla="*/ 859601 w 1337274"/>
              <a:gd name="connsiteY359" fmla="*/ 0 h 509892"/>
              <a:gd name="connsiteX360" fmla="*/ 861930 w 1337274"/>
              <a:gd name="connsiteY360" fmla="*/ 0 h 509892"/>
              <a:gd name="connsiteX361" fmla="*/ 862434 w 1337274"/>
              <a:gd name="connsiteY361" fmla="*/ 0 h 509892"/>
              <a:gd name="connsiteX362" fmla="*/ 865238 w 1337274"/>
              <a:gd name="connsiteY362" fmla="*/ 0 h 509892"/>
              <a:gd name="connsiteX363" fmla="*/ 865247 w 1337274"/>
              <a:gd name="connsiteY363" fmla="*/ 0 h 509892"/>
              <a:gd name="connsiteX364" fmla="*/ 866806 w 1337274"/>
              <a:gd name="connsiteY364" fmla="*/ 0 h 509892"/>
              <a:gd name="connsiteX365" fmla="*/ 869030 w 1337274"/>
              <a:gd name="connsiteY365" fmla="*/ 0 h 509892"/>
              <a:gd name="connsiteX366" fmla="*/ 871835 w 1337274"/>
              <a:gd name="connsiteY366" fmla="*/ 0 h 509892"/>
              <a:gd name="connsiteX367" fmla="*/ 873402 w 1337274"/>
              <a:gd name="connsiteY367" fmla="*/ 0 h 509892"/>
              <a:gd name="connsiteX368" fmla="*/ 876266 w 1337274"/>
              <a:gd name="connsiteY368" fmla="*/ 0 h 509892"/>
              <a:gd name="connsiteX369" fmla="*/ 878204 w 1337274"/>
              <a:gd name="connsiteY369" fmla="*/ 0 h 509892"/>
              <a:gd name="connsiteX370" fmla="*/ 878214 w 1337274"/>
              <a:gd name="connsiteY370" fmla="*/ 0 h 509892"/>
              <a:gd name="connsiteX371" fmla="*/ 880329 w 1337274"/>
              <a:gd name="connsiteY371" fmla="*/ 0 h 509892"/>
              <a:gd name="connsiteX372" fmla="*/ 882575 w 1337274"/>
              <a:gd name="connsiteY372" fmla="*/ 0 h 509892"/>
              <a:gd name="connsiteX373" fmla="*/ 882586 w 1337274"/>
              <a:gd name="connsiteY373" fmla="*/ 0 h 509892"/>
              <a:gd name="connsiteX374" fmla="*/ 882862 w 1337274"/>
              <a:gd name="connsiteY374" fmla="*/ 0 h 509892"/>
              <a:gd name="connsiteX375" fmla="*/ 884800 w 1337274"/>
              <a:gd name="connsiteY375" fmla="*/ 0 h 509892"/>
              <a:gd name="connsiteX376" fmla="*/ 889171 w 1337274"/>
              <a:gd name="connsiteY376" fmla="*/ 0 h 509892"/>
              <a:gd name="connsiteX377" fmla="*/ 891356 w 1337274"/>
              <a:gd name="connsiteY377" fmla="*/ 0 h 509892"/>
              <a:gd name="connsiteX378" fmla="*/ 893294 w 1337274"/>
              <a:gd name="connsiteY378" fmla="*/ 0 h 509892"/>
              <a:gd name="connsiteX379" fmla="*/ 894879 w 1337274"/>
              <a:gd name="connsiteY379" fmla="*/ 0 h 509892"/>
              <a:gd name="connsiteX380" fmla="*/ 897665 w 1337274"/>
              <a:gd name="connsiteY380" fmla="*/ 0 h 509892"/>
              <a:gd name="connsiteX381" fmla="*/ 899249 w 1337274"/>
              <a:gd name="connsiteY381" fmla="*/ 0 h 509892"/>
              <a:gd name="connsiteX382" fmla="*/ 901188 w 1337274"/>
              <a:gd name="connsiteY382" fmla="*/ 0 h 509892"/>
              <a:gd name="connsiteX383" fmla="*/ 901465 w 1337274"/>
              <a:gd name="connsiteY383" fmla="*/ 0 h 509892"/>
              <a:gd name="connsiteX384" fmla="*/ 901475 w 1337274"/>
              <a:gd name="connsiteY384" fmla="*/ 0 h 509892"/>
              <a:gd name="connsiteX385" fmla="*/ 905836 w 1337274"/>
              <a:gd name="connsiteY385" fmla="*/ 0 h 509892"/>
              <a:gd name="connsiteX386" fmla="*/ 905847 w 1337274"/>
              <a:gd name="connsiteY386" fmla="*/ 0 h 509892"/>
              <a:gd name="connsiteX387" fmla="*/ 907784 w 1337274"/>
              <a:gd name="connsiteY387" fmla="*/ 0 h 509892"/>
              <a:gd name="connsiteX388" fmla="*/ 909454 w 1337274"/>
              <a:gd name="connsiteY388" fmla="*/ 0 h 509892"/>
              <a:gd name="connsiteX389" fmla="*/ 909959 w 1337274"/>
              <a:gd name="connsiteY389" fmla="*/ 0 h 509892"/>
              <a:gd name="connsiteX390" fmla="*/ 909968 w 1337274"/>
              <a:gd name="connsiteY390" fmla="*/ 0 h 509892"/>
              <a:gd name="connsiteX391" fmla="*/ 912772 w 1337274"/>
              <a:gd name="connsiteY391" fmla="*/ 0 h 509892"/>
              <a:gd name="connsiteX392" fmla="*/ 914330 w 1337274"/>
              <a:gd name="connsiteY392" fmla="*/ 0 h 509892"/>
              <a:gd name="connsiteX393" fmla="*/ 914341 w 1337274"/>
              <a:gd name="connsiteY393" fmla="*/ 0 h 509892"/>
              <a:gd name="connsiteX394" fmla="*/ 916278 w 1337274"/>
              <a:gd name="connsiteY394" fmla="*/ 0 h 509892"/>
              <a:gd name="connsiteX395" fmla="*/ 916555 w 1337274"/>
              <a:gd name="connsiteY395" fmla="*/ 0 h 509892"/>
              <a:gd name="connsiteX396" fmla="*/ 924449 w 1337274"/>
              <a:gd name="connsiteY396" fmla="*/ 0 h 509892"/>
              <a:gd name="connsiteX397" fmla="*/ 925739 w 1337274"/>
              <a:gd name="connsiteY397" fmla="*/ 0 h 509892"/>
              <a:gd name="connsiteX398" fmla="*/ 928068 w 1337274"/>
              <a:gd name="connsiteY398" fmla="*/ 0 h 509892"/>
              <a:gd name="connsiteX399" fmla="*/ 930110 w 1337274"/>
              <a:gd name="connsiteY399" fmla="*/ 0 h 509892"/>
              <a:gd name="connsiteX400" fmla="*/ 932439 w 1337274"/>
              <a:gd name="connsiteY400" fmla="*/ 0 h 509892"/>
              <a:gd name="connsiteX401" fmla="*/ 942404 w 1337274"/>
              <a:gd name="connsiteY401" fmla="*/ 0 h 509892"/>
              <a:gd name="connsiteX402" fmla="*/ 945406 w 1337274"/>
              <a:gd name="connsiteY402" fmla="*/ 0 h 509892"/>
              <a:gd name="connsiteX403" fmla="*/ 946774 w 1337274"/>
              <a:gd name="connsiteY403" fmla="*/ 0 h 509892"/>
              <a:gd name="connsiteX404" fmla="*/ 948713 w 1337274"/>
              <a:gd name="connsiteY404" fmla="*/ 0 h 509892"/>
              <a:gd name="connsiteX405" fmla="*/ 948723 w 1337274"/>
              <a:gd name="connsiteY405" fmla="*/ 0 h 509892"/>
              <a:gd name="connsiteX406" fmla="*/ 949000 w 1337274"/>
              <a:gd name="connsiteY406" fmla="*/ 0 h 509892"/>
              <a:gd name="connsiteX407" fmla="*/ 953371 w 1337274"/>
              <a:gd name="connsiteY407" fmla="*/ 0 h 509892"/>
              <a:gd name="connsiteX408" fmla="*/ 955309 w 1337274"/>
              <a:gd name="connsiteY408" fmla="*/ 0 h 509892"/>
              <a:gd name="connsiteX409" fmla="*/ 962070 w 1337274"/>
              <a:gd name="connsiteY409" fmla="*/ 0 h 509892"/>
              <a:gd name="connsiteX410" fmla="*/ 965387 w 1337274"/>
              <a:gd name="connsiteY410" fmla="*/ 0 h 509892"/>
              <a:gd name="connsiteX411" fmla="*/ 968666 w 1337274"/>
              <a:gd name="connsiteY411" fmla="*/ 0 h 509892"/>
              <a:gd name="connsiteX412" fmla="*/ 971974 w 1337274"/>
              <a:gd name="connsiteY412" fmla="*/ 0 h 509892"/>
              <a:gd name="connsiteX413" fmla="*/ 971983 w 1337274"/>
              <a:gd name="connsiteY413" fmla="*/ 0 h 509892"/>
              <a:gd name="connsiteX414" fmla="*/ 975593 w 1337274"/>
              <a:gd name="connsiteY414" fmla="*/ 0 h 509892"/>
              <a:gd name="connsiteX415" fmla="*/ 979963 w 1337274"/>
              <a:gd name="connsiteY415" fmla="*/ 0 h 509892"/>
              <a:gd name="connsiteX416" fmla="*/ 992929 w 1337274"/>
              <a:gd name="connsiteY416" fmla="*/ 0 h 509892"/>
              <a:gd name="connsiteX417" fmla="*/ 996248 w 1337274"/>
              <a:gd name="connsiteY417" fmla="*/ 0 h 509892"/>
              <a:gd name="connsiteX418" fmla="*/ 998577 w 1337274"/>
              <a:gd name="connsiteY418" fmla="*/ 0 h 509892"/>
              <a:gd name="connsiteX419" fmla="*/ 1009594 w 1337274"/>
              <a:gd name="connsiteY419" fmla="*/ 0 h 509892"/>
              <a:gd name="connsiteX420" fmla="*/ 1009605 w 1337274"/>
              <a:gd name="connsiteY420" fmla="*/ 0 h 509892"/>
              <a:gd name="connsiteX421" fmla="*/ 1011542 w 1337274"/>
              <a:gd name="connsiteY421" fmla="*/ 0 h 509892"/>
              <a:gd name="connsiteX422" fmla="*/ 1012912 w 1337274"/>
              <a:gd name="connsiteY422" fmla="*/ 0 h 509892"/>
              <a:gd name="connsiteX423" fmla="*/ 1015914 w 1337274"/>
              <a:gd name="connsiteY423" fmla="*/ 0 h 509892"/>
              <a:gd name="connsiteX424" fmla="*/ 1016190 w 1337274"/>
              <a:gd name="connsiteY424" fmla="*/ 0 h 509892"/>
              <a:gd name="connsiteX425" fmla="*/ 1019508 w 1337274"/>
              <a:gd name="connsiteY425" fmla="*/ 0 h 509892"/>
              <a:gd name="connsiteX426" fmla="*/ 1028207 w 1337274"/>
              <a:gd name="connsiteY426" fmla="*/ 0 h 509892"/>
              <a:gd name="connsiteX427" fmla="*/ 1032579 w 1337274"/>
              <a:gd name="connsiteY427" fmla="*/ 0 h 509892"/>
              <a:gd name="connsiteX428" fmla="*/ 1034803 w 1337274"/>
              <a:gd name="connsiteY428" fmla="*/ 0 h 509892"/>
              <a:gd name="connsiteX429" fmla="*/ 1039175 w 1337274"/>
              <a:gd name="connsiteY429" fmla="*/ 0 h 509892"/>
              <a:gd name="connsiteX430" fmla="*/ 1046102 w 1337274"/>
              <a:gd name="connsiteY430" fmla="*/ 0 h 509892"/>
              <a:gd name="connsiteX431" fmla="*/ 1057129 w 1337274"/>
              <a:gd name="connsiteY431" fmla="*/ 0 h 509892"/>
              <a:gd name="connsiteX432" fmla="*/ 1059067 w 1337274"/>
              <a:gd name="connsiteY432" fmla="*/ 0 h 509892"/>
              <a:gd name="connsiteX433" fmla="*/ 1063438 w 1337274"/>
              <a:gd name="connsiteY433" fmla="*/ 0 h 509892"/>
              <a:gd name="connsiteX434" fmla="*/ 1075732 w 1337274"/>
              <a:gd name="connsiteY434" fmla="*/ 0 h 509892"/>
              <a:gd name="connsiteX435" fmla="*/ 1075741 w 1337274"/>
              <a:gd name="connsiteY435" fmla="*/ 0 h 509892"/>
              <a:gd name="connsiteX436" fmla="*/ 1080103 w 1337274"/>
              <a:gd name="connsiteY436" fmla="*/ 0 h 509892"/>
              <a:gd name="connsiteX437" fmla="*/ 1080114 w 1337274"/>
              <a:gd name="connsiteY437" fmla="*/ 0 h 509892"/>
              <a:gd name="connsiteX438" fmla="*/ 1082051 w 1337274"/>
              <a:gd name="connsiteY438" fmla="*/ 0 h 509892"/>
              <a:gd name="connsiteX439" fmla="*/ 1082328 w 1337274"/>
              <a:gd name="connsiteY439" fmla="*/ 0 h 509892"/>
              <a:gd name="connsiteX440" fmla="*/ 1337274 w 1337274"/>
              <a:gd name="connsiteY440" fmla="*/ 254947 h 509892"/>
              <a:gd name="connsiteX441" fmla="*/ 1337273 w 1337274"/>
              <a:gd name="connsiteY441" fmla="*/ 254947 h 509892"/>
              <a:gd name="connsiteX442" fmla="*/ 1082328 w 1337274"/>
              <a:gd name="connsiteY442" fmla="*/ 509892 h 509892"/>
              <a:gd name="connsiteX443" fmla="*/ 1080115 w 1337274"/>
              <a:gd name="connsiteY443" fmla="*/ 509892 h 509892"/>
              <a:gd name="connsiteX444" fmla="*/ 1080112 w 1337274"/>
              <a:gd name="connsiteY444" fmla="*/ 509892 h 509892"/>
              <a:gd name="connsiteX445" fmla="*/ 1080103 w 1337274"/>
              <a:gd name="connsiteY445" fmla="*/ 509892 h 509892"/>
              <a:gd name="connsiteX446" fmla="*/ 1080102 w 1337274"/>
              <a:gd name="connsiteY446" fmla="*/ 509892 h 509892"/>
              <a:gd name="connsiteX447" fmla="*/ 1075744 w 1337274"/>
              <a:gd name="connsiteY447" fmla="*/ 509892 h 509892"/>
              <a:gd name="connsiteX448" fmla="*/ 1075740 w 1337274"/>
              <a:gd name="connsiteY448" fmla="*/ 509892 h 509892"/>
              <a:gd name="connsiteX449" fmla="*/ 1075731 w 1337274"/>
              <a:gd name="connsiteY449" fmla="*/ 509892 h 509892"/>
              <a:gd name="connsiteX450" fmla="*/ 1057129 w 1337274"/>
              <a:gd name="connsiteY450" fmla="*/ 509892 h 509892"/>
              <a:gd name="connsiteX451" fmla="*/ 1057128 w 1337274"/>
              <a:gd name="connsiteY451" fmla="*/ 509892 h 509892"/>
              <a:gd name="connsiteX452" fmla="*/ 1046101 w 1337274"/>
              <a:gd name="connsiteY452" fmla="*/ 509892 h 509892"/>
              <a:gd name="connsiteX453" fmla="*/ 1039177 w 1337274"/>
              <a:gd name="connsiteY453" fmla="*/ 509892 h 509892"/>
              <a:gd name="connsiteX454" fmla="*/ 1039174 w 1337274"/>
              <a:gd name="connsiteY454" fmla="*/ 509892 h 509892"/>
              <a:gd name="connsiteX455" fmla="*/ 1034805 w 1337274"/>
              <a:gd name="connsiteY455" fmla="*/ 509892 h 509892"/>
              <a:gd name="connsiteX456" fmla="*/ 1034803 w 1337274"/>
              <a:gd name="connsiteY456" fmla="*/ 509892 h 509892"/>
              <a:gd name="connsiteX457" fmla="*/ 1032580 w 1337274"/>
              <a:gd name="connsiteY457" fmla="*/ 509892 h 509892"/>
              <a:gd name="connsiteX458" fmla="*/ 1032578 w 1337274"/>
              <a:gd name="connsiteY458" fmla="*/ 509892 h 509892"/>
              <a:gd name="connsiteX459" fmla="*/ 1028209 w 1337274"/>
              <a:gd name="connsiteY459" fmla="*/ 509892 h 509892"/>
              <a:gd name="connsiteX460" fmla="*/ 1028206 w 1337274"/>
              <a:gd name="connsiteY460" fmla="*/ 509892 h 509892"/>
              <a:gd name="connsiteX461" fmla="*/ 1019508 w 1337274"/>
              <a:gd name="connsiteY461" fmla="*/ 509892 h 509892"/>
              <a:gd name="connsiteX462" fmla="*/ 1019507 w 1337274"/>
              <a:gd name="connsiteY462" fmla="*/ 509892 h 509892"/>
              <a:gd name="connsiteX463" fmla="*/ 1016190 w 1337274"/>
              <a:gd name="connsiteY463" fmla="*/ 509892 h 509892"/>
              <a:gd name="connsiteX464" fmla="*/ 1016189 w 1337274"/>
              <a:gd name="connsiteY464" fmla="*/ 509892 h 509892"/>
              <a:gd name="connsiteX465" fmla="*/ 1012912 w 1337274"/>
              <a:gd name="connsiteY465" fmla="*/ 509892 h 509892"/>
              <a:gd name="connsiteX466" fmla="*/ 1012911 w 1337274"/>
              <a:gd name="connsiteY466" fmla="*/ 509892 h 509892"/>
              <a:gd name="connsiteX467" fmla="*/ 1009606 w 1337274"/>
              <a:gd name="connsiteY467" fmla="*/ 509892 h 509892"/>
              <a:gd name="connsiteX468" fmla="*/ 1009604 w 1337274"/>
              <a:gd name="connsiteY468" fmla="*/ 509892 h 509892"/>
              <a:gd name="connsiteX469" fmla="*/ 1009594 w 1337274"/>
              <a:gd name="connsiteY469" fmla="*/ 509892 h 509892"/>
              <a:gd name="connsiteX470" fmla="*/ 1009593 w 1337274"/>
              <a:gd name="connsiteY470" fmla="*/ 509892 h 509892"/>
              <a:gd name="connsiteX471" fmla="*/ 998578 w 1337274"/>
              <a:gd name="connsiteY471" fmla="*/ 509892 h 509892"/>
              <a:gd name="connsiteX472" fmla="*/ 998576 w 1337274"/>
              <a:gd name="connsiteY472" fmla="*/ 509892 h 509892"/>
              <a:gd name="connsiteX473" fmla="*/ 979963 w 1337274"/>
              <a:gd name="connsiteY473" fmla="*/ 509892 h 509892"/>
              <a:gd name="connsiteX474" fmla="*/ 975592 w 1337274"/>
              <a:gd name="connsiteY474" fmla="*/ 509892 h 509892"/>
              <a:gd name="connsiteX475" fmla="*/ 971986 w 1337274"/>
              <a:gd name="connsiteY475" fmla="*/ 509892 h 509892"/>
              <a:gd name="connsiteX476" fmla="*/ 971982 w 1337274"/>
              <a:gd name="connsiteY476" fmla="*/ 509892 h 509892"/>
              <a:gd name="connsiteX477" fmla="*/ 971973 w 1337274"/>
              <a:gd name="connsiteY477" fmla="*/ 509892 h 509892"/>
              <a:gd name="connsiteX478" fmla="*/ 968668 w 1337274"/>
              <a:gd name="connsiteY478" fmla="*/ 509892 h 509892"/>
              <a:gd name="connsiteX479" fmla="*/ 968665 w 1337274"/>
              <a:gd name="connsiteY479" fmla="*/ 509892 h 509892"/>
              <a:gd name="connsiteX480" fmla="*/ 965388 w 1337274"/>
              <a:gd name="connsiteY480" fmla="*/ 509892 h 509892"/>
              <a:gd name="connsiteX481" fmla="*/ 965386 w 1337274"/>
              <a:gd name="connsiteY481" fmla="*/ 509892 h 509892"/>
              <a:gd name="connsiteX482" fmla="*/ 962071 w 1337274"/>
              <a:gd name="connsiteY482" fmla="*/ 509892 h 509892"/>
              <a:gd name="connsiteX483" fmla="*/ 962069 w 1337274"/>
              <a:gd name="connsiteY483" fmla="*/ 509892 h 509892"/>
              <a:gd name="connsiteX484" fmla="*/ 953371 w 1337274"/>
              <a:gd name="connsiteY484" fmla="*/ 509892 h 509892"/>
              <a:gd name="connsiteX485" fmla="*/ 953370 w 1337274"/>
              <a:gd name="connsiteY485" fmla="*/ 509892 h 509892"/>
              <a:gd name="connsiteX486" fmla="*/ 949000 w 1337274"/>
              <a:gd name="connsiteY486" fmla="*/ 509892 h 509892"/>
              <a:gd name="connsiteX487" fmla="*/ 948999 w 1337274"/>
              <a:gd name="connsiteY487" fmla="*/ 509892 h 509892"/>
              <a:gd name="connsiteX488" fmla="*/ 946774 w 1337274"/>
              <a:gd name="connsiteY488" fmla="*/ 509892 h 509892"/>
              <a:gd name="connsiteX489" fmla="*/ 946773 w 1337274"/>
              <a:gd name="connsiteY489" fmla="*/ 509892 h 509892"/>
              <a:gd name="connsiteX490" fmla="*/ 942404 w 1337274"/>
              <a:gd name="connsiteY490" fmla="*/ 509892 h 509892"/>
              <a:gd name="connsiteX491" fmla="*/ 942402 w 1337274"/>
              <a:gd name="connsiteY491" fmla="*/ 509892 h 509892"/>
              <a:gd name="connsiteX492" fmla="*/ 932441 w 1337274"/>
              <a:gd name="connsiteY492" fmla="*/ 509892 h 509892"/>
              <a:gd name="connsiteX493" fmla="*/ 932439 w 1337274"/>
              <a:gd name="connsiteY493" fmla="*/ 509892 h 509892"/>
              <a:gd name="connsiteX494" fmla="*/ 928069 w 1337274"/>
              <a:gd name="connsiteY494" fmla="*/ 509892 h 509892"/>
              <a:gd name="connsiteX495" fmla="*/ 928067 w 1337274"/>
              <a:gd name="connsiteY495" fmla="*/ 509892 h 509892"/>
              <a:gd name="connsiteX496" fmla="*/ 924451 w 1337274"/>
              <a:gd name="connsiteY496" fmla="*/ 509892 h 509892"/>
              <a:gd name="connsiteX497" fmla="*/ 924448 w 1337274"/>
              <a:gd name="connsiteY497" fmla="*/ 509892 h 509892"/>
              <a:gd name="connsiteX498" fmla="*/ 916555 w 1337274"/>
              <a:gd name="connsiteY498" fmla="*/ 509892 h 509892"/>
              <a:gd name="connsiteX499" fmla="*/ 914342 w 1337274"/>
              <a:gd name="connsiteY499" fmla="*/ 509892 h 509892"/>
              <a:gd name="connsiteX500" fmla="*/ 914339 w 1337274"/>
              <a:gd name="connsiteY500" fmla="*/ 509892 h 509892"/>
              <a:gd name="connsiteX501" fmla="*/ 914330 w 1337274"/>
              <a:gd name="connsiteY501" fmla="*/ 509892 h 509892"/>
              <a:gd name="connsiteX502" fmla="*/ 914329 w 1337274"/>
              <a:gd name="connsiteY502" fmla="*/ 509892 h 509892"/>
              <a:gd name="connsiteX503" fmla="*/ 912772 w 1337274"/>
              <a:gd name="connsiteY503" fmla="*/ 509892 h 509892"/>
              <a:gd name="connsiteX504" fmla="*/ 909971 w 1337274"/>
              <a:gd name="connsiteY504" fmla="*/ 509892 h 509892"/>
              <a:gd name="connsiteX505" fmla="*/ 909967 w 1337274"/>
              <a:gd name="connsiteY505" fmla="*/ 509892 h 509892"/>
              <a:gd name="connsiteX506" fmla="*/ 909958 w 1337274"/>
              <a:gd name="connsiteY506" fmla="*/ 509892 h 509892"/>
              <a:gd name="connsiteX507" fmla="*/ 909454 w 1337274"/>
              <a:gd name="connsiteY507" fmla="*/ 509892 h 509892"/>
              <a:gd name="connsiteX508" fmla="*/ 905848 w 1337274"/>
              <a:gd name="connsiteY508" fmla="*/ 509892 h 509892"/>
              <a:gd name="connsiteX509" fmla="*/ 905846 w 1337274"/>
              <a:gd name="connsiteY509" fmla="*/ 509892 h 509892"/>
              <a:gd name="connsiteX510" fmla="*/ 905836 w 1337274"/>
              <a:gd name="connsiteY510" fmla="*/ 509892 h 509892"/>
              <a:gd name="connsiteX511" fmla="*/ 905835 w 1337274"/>
              <a:gd name="connsiteY511" fmla="*/ 509892 h 509892"/>
              <a:gd name="connsiteX512" fmla="*/ 901477 w 1337274"/>
              <a:gd name="connsiteY512" fmla="*/ 509892 h 509892"/>
              <a:gd name="connsiteX513" fmla="*/ 901474 w 1337274"/>
              <a:gd name="connsiteY513" fmla="*/ 509892 h 509892"/>
              <a:gd name="connsiteX514" fmla="*/ 901464 w 1337274"/>
              <a:gd name="connsiteY514" fmla="*/ 509892 h 509892"/>
              <a:gd name="connsiteX515" fmla="*/ 899251 w 1337274"/>
              <a:gd name="connsiteY515" fmla="*/ 509892 h 509892"/>
              <a:gd name="connsiteX516" fmla="*/ 899249 w 1337274"/>
              <a:gd name="connsiteY516" fmla="*/ 509892 h 509892"/>
              <a:gd name="connsiteX517" fmla="*/ 894880 w 1337274"/>
              <a:gd name="connsiteY517" fmla="*/ 509892 h 509892"/>
              <a:gd name="connsiteX518" fmla="*/ 894877 w 1337274"/>
              <a:gd name="connsiteY518" fmla="*/ 509892 h 509892"/>
              <a:gd name="connsiteX519" fmla="*/ 891356 w 1337274"/>
              <a:gd name="connsiteY519" fmla="*/ 509892 h 509892"/>
              <a:gd name="connsiteX520" fmla="*/ 891355 w 1337274"/>
              <a:gd name="connsiteY520" fmla="*/ 509892 h 509892"/>
              <a:gd name="connsiteX521" fmla="*/ 882862 w 1337274"/>
              <a:gd name="connsiteY521" fmla="*/ 509892 h 509892"/>
              <a:gd name="connsiteX522" fmla="*/ 882861 w 1337274"/>
              <a:gd name="connsiteY522" fmla="*/ 509892 h 509892"/>
              <a:gd name="connsiteX523" fmla="*/ 880328 w 1337274"/>
              <a:gd name="connsiteY523" fmla="*/ 509892 h 509892"/>
              <a:gd name="connsiteX524" fmla="*/ 876266 w 1337274"/>
              <a:gd name="connsiteY524" fmla="*/ 509892 h 509892"/>
              <a:gd name="connsiteX525" fmla="*/ 876265 w 1337274"/>
              <a:gd name="connsiteY525" fmla="*/ 509892 h 509892"/>
              <a:gd name="connsiteX526" fmla="*/ 873404 w 1337274"/>
              <a:gd name="connsiteY526" fmla="*/ 509892 h 509892"/>
              <a:gd name="connsiteX527" fmla="*/ 873401 w 1337274"/>
              <a:gd name="connsiteY527" fmla="*/ 509892 h 509892"/>
              <a:gd name="connsiteX528" fmla="*/ 871834 w 1337274"/>
              <a:gd name="connsiteY528" fmla="*/ 509892 h 509892"/>
              <a:gd name="connsiteX529" fmla="*/ 869032 w 1337274"/>
              <a:gd name="connsiteY529" fmla="*/ 509892 h 509892"/>
              <a:gd name="connsiteX530" fmla="*/ 869030 w 1337274"/>
              <a:gd name="connsiteY530" fmla="*/ 509892 h 509892"/>
              <a:gd name="connsiteX531" fmla="*/ 866807 w 1337274"/>
              <a:gd name="connsiteY531" fmla="*/ 509892 h 509892"/>
              <a:gd name="connsiteX532" fmla="*/ 866805 w 1337274"/>
              <a:gd name="connsiteY532" fmla="*/ 509892 h 509892"/>
              <a:gd name="connsiteX533" fmla="*/ 865250 w 1337274"/>
              <a:gd name="connsiteY533" fmla="*/ 509892 h 509892"/>
              <a:gd name="connsiteX534" fmla="*/ 865247 w 1337274"/>
              <a:gd name="connsiteY534" fmla="*/ 509892 h 509892"/>
              <a:gd name="connsiteX535" fmla="*/ 865237 w 1337274"/>
              <a:gd name="connsiteY535" fmla="*/ 509892 h 509892"/>
              <a:gd name="connsiteX536" fmla="*/ 862436 w 1337274"/>
              <a:gd name="connsiteY536" fmla="*/ 509892 h 509892"/>
              <a:gd name="connsiteX537" fmla="*/ 862433 w 1337274"/>
              <a:gd name="connsiteY537" fmla="*/ 509892 h 509892"/>
              <a:gd name="connsiteX538" fmla="*/ 861932 w 1337274"/>
              <a:gd name="connsiteY538" fmla="*/ 509892 h 509892"/>
              <a:gd name="connsiteX539" fmla="*/ 861930 w 1337274"/>
              <a:gd name="connsiteY539" fmla="*/ 509892 h 509892"/>
              <a:gd name="connsiteX540" fmla="*/ 858313 w 1337274"/>
              <a:gd name="connsiteY540" fmla="*/ 509892 h 509892"/>
              <a:gd name="connsiteX541" fmla="*/ 858311 w 1337274"/>
              <a:gd name="connsiteY541" fmla="*/ 509892 h 509892"/>
              <a:gd name="connsiteX542" fmla="*/ 853942 w 1337274"/>
              <a:gd name="connsiteY542" fmla="*/ 509892 h 509892"/>
              <a:gd name="connsiteX543" fmla="*/ 853939 w 1337274"/>
              <a:gd name="connsiteY543" fmla="*/ 509892 h 509892"/>
              <a:gd name="connsiteX544" fmla="*/ 853735 w 1337274"/>
              <a:gd name="connsiteY544" fmla="*/ 509892 h 509892"/>
              <a:gd name="connsiteX545" fmla="*/ 853734 w 1337274"/>
              <a:gd name="connsiteY545" fmla="*/ 509892 h 509892"/>
              <a:gd name="connsiteX546" fmla="*/ 850417 w 1337274"/>
              <a:gd name="connsiteY546" fmla="*/ 509892 h 509892"/>
              <a:gd name="connsiteX547" fmla="*/ 850416 w 1337274"/>
              <a:gd name="connsiteY547" fmla="*/ 509892 h 509892"/>
              <a:gd name="connsiteX548" fmla="*/ 847139 w 1337274"/>
              <a:gd name="connsiteY548" fmla="*/ 509892 h 509892"/>
              <a:gd name="connsiteX549" fmla="*/ 847138 w 1337274"/>
              <a:gd name="connsiteY549" fmla="*/ 509892 h 509892"/>
              <a:gd name="connsiteX550" fmla="*/ 846635 w 1337274"/>
              <a:gd name="connsiteY550" fmla="*/ 509892 h 509892"/>
              <a:gd name="connsiteX551" fmla="*/ 846634 w 1337274"/>
              <a:gd name="connsiteY551" fmla="*/ 509892 h 509892"/>
              <a:gd name="connsiteX552" fmla="*/ 843833 w 1337274"/>
              <a:gd name="connsiteY552" fmla="*/ 509892 h 509892"/>
              <a:gd name="connsiteX553" fmla="*/ 843831 w 1337274"/>
              <a:gd name="connsiteY553" fmla="*/ 509892 h 509892"/>
              <a:gd name="connsiteX554" fmla="*/ 843821 w 1337274"/>
              <a:gd name="connsiteY554" fmla="*/ 509892 h 509892"/>
              <a:gd name="connsiteX555" fmla="*/ 843820 w 1337274"/>
              <a:gd name="connsiteY555" fmla="*/ 509892 h 509892"/>
              <a:gd name="connsiteX556" fmla="*/ 842264 w 1337274"/>
              <a:gd name="connsiteY556" fmla="*/ 509892 h 509892"/>
              <a:gd name="connsiteX557" fmla="*/ 838645 w 1337274"/>
              <a:gd name="connsiteY557" fmla="*/ 509892 h 509892"/>
              <a:gd name="connsiteX558" fmla="*/ 838644 w 1337274"/>
              <a:gd name="connsiteY558" fmla="*/ 509892 h 509892"/>
              <a:gd name="connsiteX559" fmla="*/ 835339 w 1337274"/>
              <a:gd name="connsiteY559" fmla="*/ 509892 h 509892"/>
              <a:gd name="connsiteX560" fmla="*/ 835337 w 1337274"/>
              <a:gd name="connsiteY560" fmla="*/ 509892 h 509892"/>
              <a:gd name="connsiteX561" fmla="*/ 835327 w 1337274"/>
              <a:gd name="connsiteY561" fmla="*/ 509892 h 509892"/>
              <a:gd name="connsiteX562" fmla="*/ 835326 w 1337274"/>
              <a:gd name="connsiteY562" fmla="*/ 509892 h 509892"/>
              <a:gd name="connsiteX563" fmla="*/ 832805 w 1337274"/>
              <a:gd name="connsiteY563" fmla="*/ 509892 h 509892"/>
              <a:gd name="connsiteX564" fmla="*/ 832803 w 1337274"/>
              <a:gd name="connsiteY564" fmla="*/ 509892 h 509892"/>
              <a:gd name="connsiteX565" fmla="*/ 828742 w 1337274"/>
              <a:gd name="connsiteY565" fmla="*/ 509892 h 509892"/>
              <a:gd name="connsiteX566" fmla="*/ 828741 w 1337274"/>
              <a:gd name="connsiteY566" fmla="*/ 509892 h 509892"/>
              <a:gd name="connsiteX567" fmla="*/ 824311 w 1337274"/>
              <a:gd name="connsiteY567" fmla="*/ 509892 h 509892"/>
              <a:gd name="connsiteX568" fmla="*/ 824309 w 1337274"/>
              <a:gd name="connsiteY568" fmla="*/ 509892 h 509892"/>
              <a:gd name="connsiteX569" fmla="*/ 817715 w 1337274"/>
              <a:gd name="connsiteY569" fmla="*/ 509892 h 509892"/>
              <a:gd name="connsiteX570" fmla="*/ 817712 w 1337274"/>
              <a:gd name="connsiteY570" fmla="*/ 509892 h 509892"/>
              <a:gd name="connsiteX571" fmla="*/ 814190 w 1337274"/>
              <a:gd name="connsiteY571" fmla="*/ 509892 h 509892"/>
              <a:gd name="connsiteX572" fmla="*/ 809819 w 1337274"/>
              <a:gd name="connsiteY572" fmla="*/ 509892 h 509892"/>
              <a:gd name="connsiteX573" fmla="*/ 806213 w 1337274"/>
              <a:gd name="connsiteY573" fmla="*/ 509892 h 509892"/>
              <a:gd name="connsiteX574" fmla="*/ 806209 w 1337274"/>
              <a:gd name="connsiteY574" fmla="*/ 509892 h 509892"/>
              <a:gd name="connsiteX575" fmla="*/ 806200 w 1337274"/>
              <a:gd name="connsiteY575" fmla="*/ 509892 h 509892"/>
              <a:gd name="connsiteX576" fmla="*/ 805696 w 1337274"/>
              <a:gd name="connsiteY576" fmla="*/ 509892 h 509892"/>
              <a:gd name="connsiteX577" fmla="*/ 802895 w 1337274"/>
              <a:gd name="connsiteY577" fmla="*/ 509892 h 509892"/>
              <a:gd name="connsiteX578" fmla="*/ 802892 w 1337274"/>
              <a:gd name="connsiteY578" fmla="*/ 509892 h 509892"/>
              <a:gd name="connsiteX579" fmla="*/ 801325 w 1337274"/>
              <a:gd name="connsiteY579" fmla="*/ 509892 h 509892"/>
              <a:gd name="connsiteX580" fmla="*/ 799615 w 1337274"/>
              <a:gd name="connsiteY580" fmla="*/ 509892 h 509892"/>
              <a:gd name="connsiteX581" fmla="*/ 799613 w 1337274"/>
              <a:gd name="connsiteY581" fmla="*/ 509892 h 509892"/>
              <a:gd name="connsiteX582" fmla="*/ 799112 w 1337274"/>
              <a:gd name="connsiteY582" fmla="*/ 509892 h 509892"/>
              <a:gd name="connsiteX583" fmla="*/ 799110 w 1337274"/>
              <a:gd name="connsiteY583" fmla="*/ 509892 h 509892"/>
              <a:gd name="connsiteX584" fmla="*/ 799100 w 1337274"/>
              <a:gd name="connsiteY584" fmla="*/ 509892 h 509892"/>
              <a:gd name="connsiteX585" fmla="*/ 799099 w 1337274"/>
              <a:gd name="connsiteY585" fmla="*/ 509892 h 509892"/>
              <a:gd name="connsiteX586" fmla="*/ 796298 w 1337274"/>
              <a:gd name="connsiteY586" fmla="*/ 509892 h 509892"/>
              <a:gd name="connsiteX587" fmla="*/ 796296 w 1337274"/>
              <a:gd name="connsiteY587" fmla="*/ 509892 h 509892"/>
              <a:gd name="connsiteX588" fmla="*/ 794741 w 1337274"/>
              <a:gd name="connsiteY588" fmla="*/ 509892 h 509892"/>
              <a:gd name="connsiteX589" fmla="*/ 794739 w 1337274"/>
              <a:gd name="connsiteY589" fmla="*/ 509892 h 509892"/>
              <a:gd name="connsiteX590" fmla="*/ 794728 w 1337274"/>
              <a:gd name="connsiteY590" fmla="*/ 509892 h 509892"/>
              <a:gd name="connsiteX591" fmla="*/ 791122 w 1337274"/>
              <a:gd name="connsiteY591" fmla="*/ 509892 h 509892"/>
              <a:gd name="connsiteX592" fmla="*/ 791119 w 1337274"/>
              <a:gd name="connsiteY592" fmla="*/ 509892 h 509892"/>
              <a:gd name="connsiteX593" fmla="*/ 787804 w 1337274"/>
              <a:gd name="connsiteY593" fmla="*/ 509892 h 509892"/>
              <a:gd name="connsiteX594" fmla="*/ 787802 w 1337274"/>
              <a:gd name="connsiteY594" fmla="*/ 509892 h 509892"/>
              <a:gd name="connsiteX595" fmla="*/ 787598 w 1337274"/>
              <a:gd name="connsiteY595" fmla="*/ 509892 h 509892"/>
              <a:gd name="connsiteX596" fmla="*/ 787597 w 1337274"/>
              <a:gd name="connsiteY596" fmla="*/ 509892 h 509892"/>
              <a:gd name="connsiteX597" fmla="*/ 783227 w 1337274"/>
              <a:gd name="connsiteY597" fmla="*/ 509892 h 509892"/>
              <a:gd name="connsiteX598" fmla="*/ 783226 w 1337274"/>
              <a:gd name="connsiteY598" fmla="*/ 509892 h 509892"/>
              <a:gd name="connsiteX599" fmla="*/ 781001 w 1337274"/>
              <a:gd name="connsiteY599" fmla="*/ 509892 h 509892"/>
              <a:gd name="connsiteX600" fmla="*/ 781000 w 1337274"/>
              <a:gd name="connsiteY600" fmla="*/ 509892 h 509892"/>
              <a:gd name="connsiteX601" fmla="*/ 776631 w 1337274"/>
              <a:gd name="connsiteY601" fmla="*/ 509892 h 509892"/>
              <a:gd name="connsiteX602" fmla="*/ 776629 w 1337274"/>
              <a:gd name="connsiteY602" fmla="*/ 509892 h 509892"/>
              <a:gd name="connsiteX603" fmla="*/ 776126 w 1337274"/>
              <a:gd name="connsiteY603" fmla="*/ 509892 h 509892"/>
              <a:gd name="connsiteX604" fmla="*/ 776125 w 1337274"/>
              <a:gd name="connsiteY604" fmla="*/ 509892 h 509892"/>
              <a:gd name="connsiteX605" fmla="*/ 772508 w 1337274"/>
              <a:gd name="connsiteY605" fmla="*/ 509892 h 509892"/>
              <a:gd name="connsiteX606" fmla="*/ 772507 w 1337274"/>
              <a:gd name="connsiteY606" fmla="*/ 509892 h 509892"/>
              <a:gd name="connsiteX607" fmla="*/ 768137 w 1337274"/>
              <a:gd name="connsiteY607" fmla="*/ 509892 h 509892"/>
              <a:gd name="connsiteX608" fmla="*/ 768136 w 1337274"/>
              <a:gd name="connsiteY608" fmla="*/ 509892 h 509892"/>
              <a:gd name="connsiteX609" fmla="*/ 766668 w 1337274"/>
              <a:gd name="connsiteY609" fmla="*/ 509892 h 509892"/>
              <a:gd name="connsiteX610" fmla="*/ 766666 w 1337274"/>
              <a:gd name="connsiteY610" fmla="*/ 509892 h 509892"/>
              <a:gd name="connsiteX611" fmla="*/ 762296 w 1337274"/>
              <a:gd name="connsiteY611" fmla="*/ 509892 h 509892"/>
              <a:gd name="connsiteX612" fmla="*/ 762294 w 1337274"/>
              <a:gd name="connsiteY612" fmla="*/ 509892 h 509892"/>
              <a:gd name="connsiteX613" fmla="*/ 758678 w 1337274"/>
              <a:gd name="connsiteY613" fmla="*/ 509892 h 509892"/>
              <a:gd name="connsiteX614" fmla="*/ 758675 w 1337274"/>
              <a:gd name="connsiteY614" fmla="*/ 509892 h 509892"/>
              <a:gd name="connsiteX615" fmla="*/ 758174 w 1337274"/>
              <a:gd name="connsiteY615" fmla="*/ 509892 h 509892"/>
              <a:gd name="connsiteX616" fmla="*/ 758172 w 1337274"/>
              <a:gd name="connsiteY616" fmla="*/ 509892 h 509892"/>
              <a:gd name="connsiteX617" fmla="*/ 753802 w 1337274"/>
              <a:gd name="connsiteY617" fmla="*/ 509892 h 509892"/>
              <a:gd name="connsiteX618" fmla="*/ 753800 w 1337274"/>
              <a:gd name="connsiteY618" fmla="*/ 509892 h 509892"/>
              <a:gd name="connsiteX619" fmla="*/ 751578 w 1337274"/>
              <a:gd name="connsiteY619" fmla="*/ 509892 h 509892"/>
              <a:gd name="connsiteX620" fmla="*/ 751575 w 1337274"/>
              <a:gd name="connsiteY620" fmla="*/ 509892 h 509892"/>
              <a:gd name="connsiteX621" fmla="*/ 747206 w 1337274"/>
              <a:gd name="connsiteY621" fmla="*/ 509892 h 509892"/>
              <a:gd name="connsiteX622" fmla="*/ 747203 w 1337274"/>
              <a:gd name="connsiteY622" fmla="*/ 509892 h 509892"/>
              <a:gd name="connsiteX623" fmla="*/ 746999 w 1337274"/>
              <a:gd name="connsiteY623" fmla="*/ 509892 h 509892"/>
              <a:gd name="connsiteX624" fmla="*/ 743681 w 1337274"/>
              <a:gd name="connsiteY624" fmla="*/ 509892 h 509892"/>
              <a:gd name="connsiteX625" fmla="*/ 740075 w 1337274"/>
              <a:gd name="connsiteY625" fmla="*/ 509892 h 509892"/>
              <a:gd name="connsiteX626" fmla="*/ 740073 w 1337274"/>
              <a:gd name="connsiteY626" fmla="*/ 509892 h 509892"/>
              <a:gd name="connsiteX627" fmla="*/ 740063 w 1337274"/>
              <a:gd name="connsiteY627" fmla="*/ 509892 h 509892"/>
              <a:gd name="connsiteX628" fmla="*/ 740062 w 1337274"/>
              <a:gd name="connsiteY628" fmla="*/ 509892 h 509892"/>
              <a:gd name="connsiteX629" fmla="*/ 738506 w 1337274"/>
              <a:gd name="connsiteY629" fmla="*/ 509892 h 509892"/>
              <a:gd name="connsiteX630" fmla="*/ 735704 w 1337274"/>
              <a:gd name="connsiteY630" fmla="*/ 509892 h 509892"/>
              <a:gd name="connsiteX631" fmla="*/ 735701 w 1337274"/>
              <a:gd name="connsiteY631" fmla="*/ 509892 h 509892"/>
              <a:gd name="connsiteX632" fmla="*/ 735691 w 1337274"/>
              <a:gd name="connsiteY632" fmla="*/ 509892 h 509892"/>
              <a:gd name="connsiteX633" fmla="*/ 735187 w 1337274"/>
              <a:gd name="connsiteY633" fmla="*/ 509892 h 509892"/>
              <a:gd name="connsiteX634" fmla="*/ 733478 w 1337274"/>
              <a:gd name="connsiteY634" fmla="*/ 509892 h 509892"/>
              <a:gd name="connsiteX635" fmla="*/ 733476 w 1337274"/>
              <a:gd name="connsiteY635" fmla="*/ 509892 h 509892"/>
              <a:gd name="connsiteX636" fmla="*/ 731909 w 1337274"/>
              <a:gd name="connsiteY636" fmla="*/ 509892 h 509892"/>
              <a:gd name="connsiteX637" fmla="*/ 731908 w 1337274"/>
              <a:gd name="connsiteY637" fmla="*/ 509892 h 509892"/>
              <a:gd name="connsiteX638" fmla="*/ 729107 w 1337274"/>
              <a:gd name="connsiteY638" fmla="*/ 509892 h 509892"/>
              <a:gd name="connsiteX639" fmla="*/ 729104 w 1337274"/>
              <a:gd name="connsiteY639" fmla="*/ 509892 h 509892"/>
              <a:gd name="connsiteX640" fmla="*/ 728603 w 1337274"/>
              <a:gd name="connsiteY640" fmla="*/ 509892 h 509892"/>
              <a:gd name="connsiteX641" fmla="*/ 728601 w 1337274"/>
              <a:gd name="connsiteY641" fmla="*/ 509892 h 509892"/>
              <a:gd name="connsiteX642" fmla="*/ 728591 w 1337274"/>
              <a:gd name="connsiteY642" fmla="*/ 509892 h 509892"/>
              <a:gd name="connsiteX643" fmla="*/ 728590 w 1337274"/>
              <a:gd name="connsiteY643" fmla="*/ 509892 h 509892"/>
              <a:gd name="connsiteX644" fmla="*/ 724984 w 1337274"/>
              <a:gd name="connsiteY644" fmla="*/ 509892 h 509892"/>
              <a:gd name="connsiteX645" fmla="*/ 724983 w 1337274"/>
              <a:gd name="connsiteY645" fmla="*/ 509892 h 509892"/>
              <a:gd name="connsiteX646" fmla="*/ 720613 w 1337274"/>
              <a:gd name="connsiteY646" fmla="*/ 509892 h 509892"/>
              <a:gd name="connsiteX647" fmla="*/ 720611 w 1337274"/>
              <a:gd name="connsiteY647" fmla="*/ 509892 h 509892"/>
              <a:gd name="connsiteX648" fmla="*/ 717089 w 1337274"/>
              <a:gd name="connsiteY648" fmla="*/ 509892 h 509892"/>
              <a:gd name="connsiteX649" fmla="*/ 717088 w 1337274"/>
              <a:gd name="connsiteY649" fmla="*/ 509892 h 509892"/>
              <a:gd name="connsiteX650" fmla="*/ 710493 w 1337274"/>
              <a:gd name="connsiteY650" fmla="*/ 509892 h 509892"/>
              <a:gd name="connsiteX651" fmla="*/ 710492 w 1337274"/>
              <a:gd name="connsiteY651" fmla="*/ 509892 h 509892"/>
              <a:gd name="connsiteX652" fmla="*/ 706061 w 1337274"/>
              <a:gd name="connsiteY652" fmla="*/ 509892 h 509892"/>
              <a:gd name="connsiteX653" fmla="*/ 701999 w 1337274"/>
              <a:gd name="connsiteY653" fmla="*/ 509892 h 509892"/>
              <a:gd name="connsiteX654" fmla="*/ 701998 w 1337274"/>
              <a:gd name="connsiteY654" fmla="*/ 509892 h 509892"/>
              <a:gd name="connsiteX655" fmla="*/ 699477 w 1337274"/>
              <a:gd name="connsiteY655" fmla="*/ 509892 h 509892"/>
              <a:gd name="connsiteX656" fmla="*/ 699474 w 1337274"/>
              <a:gd name="connsiteY656" fmla="*/ 509892 h 509892"/>
              <a:gd name="connsiteX657" fmla="*/ 699464 w 1337274"/>
              <a:gd name="connsiteY657" fmla="*/ 509892 h 509892"/>
              <a:gd name="connsiteX658" fmla="*/ 696159 w 1337274"/>
              <a:gd name="connsiteY658" fmla="*/ 509892 h 509892"/>
              <a:gd name="connsiteX659" fmla="*/ 696157 w 1337274"/>
              <a:gd name="connsiteY659" fmla="*/ 509892 h 509892"/>
              <a:gd name="connsiteX660" fmla="*/ 692540 w 1337274"/>
              <a:gd name="connsiteY660" fmla="*/ 509892 h 509892"/>
              <a:gd name="connsiteX661" fmla="*/ 692538 w 1337274"/>
              <a:gd name="connsiteY661" fmla="*/ 509892 h 509892"/>
              <a:gd name="connsiteX662" fmla="*/ 690983 w 1337274"/>
              <a:gd name="connsiteY662" fmla="*/ 509892 h 509892"/>
              <a:gd name="connsiteX663" fmla="*/ 690981 w 1337274"/>
              <a:gd name="connsiteY663" fmla="*/ 509892 h 509892"/>
              <a:gd name="connsiteX664" fmla="*/ 690970 w 1337274"/>
              <a:gd name="connsiteY664" fmla="*/ 509892 h 509892"/>
              <a:gd name="connsiteX665" fmla="*/ 688169 w 1337274"/>
              <a:gd name="connsiteY665" fmla="*/ 509892 h 509892"/>
              <a:gd name="connsiteX666" fmla="*/ 688166 w 1337274"/>
              <a:gd name="connsiteY666" fmla="*/ 509892 h 509892"/>
              <a:gd name="connsiteX667" fmla="*/ 687666 w 1337274"/>
              <a:gd name="connsiteY667" fmla="*/ 509892 h 509892"/>
              <a:gd name="connsiteX668" fmla="*/ 687663 w 1337274"/>
              <a:gd name="connsiteY668" fmla="*/ 509892 h 509892"/>
              <a:gd name="connsiteX669" fmla="*/ 684387 w 1337274"/>
              <a:gd name="connsiteY669" fmla="*/ 509892 h 509892"/>
              <a:gd name="connsiteX670" fmla="*/ 684383 w 1337274"/>
              <a:gd name="connsiteY670" fmla="*/ 509892 h 509892"/>
              <a:gd name="connsiteX671" fmla="*/ 681069 w 1337274"/>
              <a:gd name="connsiteY671" fmla="*/ 509892 h 509892"/>
              <a:gd name="connsiteX672" fmla="*/ 681066 w 1337274"/>
              <a:gd name="connsiteY672" fmla="*/ 509892 h 509892"/>
              <a:gd name="connsiteX673" fmla="*/ 680862 w 1337274"/>
              <a:gd name="connsiteY673" fmla="*/ 509892 h 509892"/>
              <a:gd name="connsiteX674" fmla="*/ 680861 w 1337274"/>
              <a:gd name="connsiteY674" fmla="*/ 509892 h 509892"/>
              <a:gd name="connsiteX675" fmla="*/ 676491 w 1337274"/>
              <a:gd name="connsiteY675" fmla="*/ 509892 h 509892"/>
              <a:gd name="connsiteX676" fmla="*/ 672872 w 1337274"/>
              <a:gd name="connsiteY676" fmla="*/ 509892 h 509892"/>
              <a:gd name="connsiteX677" fmla="*/ 672871 w 1337274"/>
              <a:gd name="connsiteY677" fmla="*/ 509892 h 509892"/>
              <a:gd name="connsiteX678" fmla="*/ 672368 w 1337274"/>
              <a:gd name="connsiteY678" fmla="*/ 509892 h 509892"/>
              <a:gd name="connsiteX679" fmla="*/ 672367 w 1337274"/>
              <a:gd name="connsiteY679" fmla="*/ 509892 h 509892"/>
              <a:gd name="connsiteX680" fmla="*/ 669566 w 1337274"/>
              <a:gd name="connsiteY680" fmla="*/ 509892 h 509892"/>
              <a:gd name="connsiteX681" fmla="*/ 669564 w 1337274"/>
              <a:gd name="connsiteY681" fmla="*/ 509892 h 509892"/>
              <a:gd name="connsiteX682" fmla="*/ 669554 w 1337274"/>
              <a:gd name="connsiteY682" fmla="*/ 509892 h 509892"/>
              <a:gd name="connsiteX683" fmla="*/ 669553 w 1337274"/>
              <a:gd name="connsiteY683" fmla="*/ 509892 h 509892"/>
              <a:gd name="connsiteX684" fmla="*/ 667997 w 1337274"/>
              <a:gd name="connsiteY684" fmla="*/ 509892 h 509892"/>
              <a:gd name="connsiteX685" fmla="*/ 665772 w 1337274"/>
              <a:gd name="connsiteY685" fmla="*/ 509892 h 509892"/>
              <a:gd name="connsiteX686" fmla="*/ 665771 w 1337274"/>
              <a:gd name="connsiteY686" fmla="*/ 509892 h 509892"/>
              <a:gd name="connsiteX687" fmla="*/ 662969 w 1337274"/>
              <a:gd name="connsiteY687" fmla="*/ 509892 h 509892"/>
              <a:gd name="connsiteX688" fmla="*/ 662968 w 1337274"/>
              <a:gd name="connsiteY688" fmla="*/ 509892 h 509892"/>
              <a:gd name="connsiteX689" fmla="*/ 661401 w 1337274"/>
              <a:gd name="connsiteY689" fmla="*/ 509892 h 509892"/>
              <a:gd name="connsiteX690" fmla="*/ 661400 w 1337274"/>
              <a:gd name="connsiteY690" fmla="*/ 509892 h 509892"/>
              <a:gd name="connsiteX691" fmla="*/ 658538 w 1337274"/>
              <a:gd name="connsiteY691" fmla="*/ 509892 h 509892"/>
              <a:gd name="connsiteX692" fmla="*/ 658536 w 1337274"/>
              <a:gd name="connsiteY692" fmla="*/ 509892 h 509892"/>
              <a:gd name="connsiteX693" fmla="*/ 654475 w 1337274"/>
              <a:gd name="connsiteY693" fmla="*/ 509892 h 509892"/>
              <a:gd name="connsiteX694" fmla="*/ 654474 w 1337274"/>
              <a:gd name="connsiteY694" fmla="*/ 509892 h 509892"/>
              <a:gd name="connsiteX695" fmla="*/ 651942 w 1337274"/>
              <a:gd name="connsiteY695" fmla="*/ 509892 h 509892"/>
              <a:gd name="connsiteX696" fmla="*/ 651939 w 1337274"/>
              <a:gd name="connsiteY696" fmla="*/ 509892 h 509892"/>
              <a:gd name="connsiteX697" fmla="*/ 643448 w 1337274"/>
              <a:gd name="connsiteY697" fmla="*/ 509892 h 509892"/>
              <a:gd name="connsiteX698" fmla="*/ 643445 w 1337274"/>
              <a:gd name="connsiteY698" fmla="*/ 509892 h 509892"/>
              <a:gd name="connsiteX699" fmla="*/ 639923 w 1337274"/>
              <a:gd name="connsiteY699" fmla="*/ 509892 h 509892"/>
              <a:gd name="connsiteX700" fmla="*/ 635552 w 1337274"/>
              <a:gd name="connsiteY700" fmla="*/ 509892 h 509892"/>
              <a:gd name="connsiteX701" fmla="*/ 633339 w 1337274"/>
              <a:gd name="connsiteY701" fmla="*/ 509892 h 509892"/>
              <a:gd name="connsiteX702" fmla="*/ 633337 w 1337274"/>
              <a:gd name="connsiteY702" fmla="*/ 509892 h 509892"/>
              <a:gd name="connsiteX703" fmla="*/ 633327 w 1337274"/>
              <a:gd name="connsiteY703" fmla="*/ 509892 h 509892"/>
              <a:gd name="connsiteX704" fmla="*/ 633326 w 1337274"/>
              <a:gd name="connsiteY704" fmla="*/ 509892 h 509892"/>
              <a:gd name="connsiteX705" fmla="*/ 628968 w 1337274"/>
              <a:gd name="connsiteY705" fmla="*/ 509892 h 509892"/>
              <a:gd name="connsiteX706" fmla="*/ 628966 w 1337274"/>
              <a:gd name="connsiteY706" fmla="*/ 509892 h 509892"/>
              <a:gd name="connsiteX707" fmla="*/ 628955 w 1337274"/>
              <a:gd name="connsiteY707" fmla="*/ 509892 h 509892"/>
              <a:gd name="connsiteX708" fmla="*/ 625349 w 1337274"/>
              <a:gd name="connsiteY708" fmla="*/ 509892 h 509892"/>
              <a:gd name="connsiteX709" fmla="*/ 625346 w 1337274"/>
              <a:gd name="connsiteY709" fmla="*/ 509892 h 509892"/>
              <a:gd name="connsiteX710" fmla="*/ 624845 w 1337274"/>
              <a:gd name="connsiteY710" fmla="*/ 509892 h 509892"/>
              <a:gd name="connsiteX711" fmla="*/ 624843 w 1337274"/>
              <a:gd name="connsiteY711" fmla="*/ 509892 h 509892"/>
              <a:gd name="connsiteX712" fmla="*/ 624833 w 1337274"/>
              <a:gd name="connsiteY712" fmla="*/ 509892 h 509892"/>
              <a:gd name="connsiteX713" fmla="*/ 624832 w 1337274"/>
              <a:gd name="connsiteY713" fmla="*/ 509892 h 509892"/>
              <a:gd name="connsiteX714" fmla="*/ 622031 w 1337274"/>
              <a:gd name="connsiteY714" fmla="*/ 509892 h 509892"/>
              <a:gd name="connsiteX715" fmla="*/ 622029 w 1337274"/>
              <a:gd name="connsiteY715" fmla="*/ 509892 h 509892"/>
              <a:gd name="connsiteX716" fmla="*/ 620474 w 1337274"/>
              <a:gd name="connsiteY716" fmla="*/ 509892 h 509892"/>
              <a:gd name="connsiteX717" fmla="*/ 620472 w 1337274"/>
              <a:gd name="connsiteY717" fmla="*/ 509892 h 509892"/>
              <a:gd name="connsiteX718" fmla="*/ 620461 w 1337274"/>
              <a:gd name="connsiteY718" fmla="*/ 509892 h 509892"/>
              <a:gd name="connsiteX719" fmla="*/ 618249 w 1337274"/>
              <a:gd name="connsiteY719" fmla="*/ 509892 h 509892"/>
              <a:gd name="connsiteX720" fmla="*/ 618247 w 1337274"/>
              <a:gd name="connsiteY720" fmla="*/ 509892 h 509892"/>
              <a:gd name="connsiteX721" fmla="*/ 610353 w 1337274"/>
              <a:gd name="connsiteY721" fmla="*/ 509892 h 509892"/>
              <a:gd name="connsiteX722" fmla="*/ 610352 w 1337274"/>
              <a:gd name="connsiteY722" fmla="*/ 509892 h 509892"/>
              <a:gd name="connsiteX723" fmla="*/ 606735 w 1337274"/>
              <a:gd name="connsiteY723" fmla="*/ 509892 h 509892"/>
              <a:gd name="connsiteX724" fmla="*/ 606734 w 1337274"/>
              <a:gd name="connsiteY724" fmla="*/ 509892 h 509892"/>
              <a:gd name="connsiteX725" fmla="*/ 602364 w 1337274"/>
              <a:gd name="connsiteY725" fmla="*/ 509892 h 509892"/>
              <a:gd name="connsiteX726" fmla="*/ 602363 w 1337274"/>
              <a:gd name="connsiteY726" fmla="*/ 509892 h 509892"/>
              <a:gd name="connsiteX727" fmla="*/ 592401 w 1337274"/>
              <a:gd name="connsiteY727" fmla="*/ 509892 h 509892"/>
              <a:gd name="connsiteX728" fmla="*/ 592399 w 1337274"/>
              <a:gd name="connsiteY728" fmla="*/ 509892 h 509892"/>
              <a:gd name="connsiteX729" fmla="*/ 588029 w 1337274"/>
              <a:gd name="connsiteY729" fmla="*/ 509892 h 509892"/>
              <a:gd name="connsiteX730" fmla="*/ 588027 w 1337274"/>
              <a:gd name="connsiteY730" fmla="*/ 509892 h 509892"/>
              <a:gd name="connsiteX731" fmla="*/ 585805 w 1337274"/>
              <a:gd name="connsiteY731" fmla="*/ 509892 h 509892"/>
              <a:gd name="connsiteX732" fmla="*/ 585802 w 1337274"/>
              <a:gd name="connsiteY732" fmla="*/ 509892 h 509892"/>
              <a:gd name="connsiteX733" fmla="*/ 581433 w 1337274"/>
              <a:gd name="connsiteY733" fmla="*/ 509892 h 509892"/>
              <a:gd name="connsiteX734" fmla="*/ 581430 w 1337274"/>
              <a:gd name="connsiteY734" fmla="*/ 509892 h 509892"/>
              <a:gd name="connsiteX735" fmla="*/ 572733 w 1337274"/>
              <a:gd name="connsiteY735" fmla="*/ 509892 h 509892"/>
              <a:gd name="connsiteX736" fmla="*/ 569414 w 1337274"/>
              <a:gd name="connsiteY736" fmla="*/ 509892 h 509892"/>
              <a:gd name="connsiteX737" fmla="*/ 566136 w 1337274"/>
              <a:gd name="connsiteY737" fmla="*/ 509892 h 509892"/>
              <a:gd name="connsiteX738" fmla="*/ 566135 w 1337274"/>
              <a:gd name="connsiteY738" fmla="*/ 509892 h 509892"/>
              <a:gd name="connsiteX739" fmla="*/ 562830 w 1337274"/>
              <a:gd name="connsiteY739" fmla="*/ 509892 h 509892"/>
              <a:gd name="connsiteX740" fmla="*/ 562828 w 1337274"/>
              <a:gd name="connsiteY740" fmla="*/ 509892 h 509892"/>
              <a:gd name="connsiteX741" fmla="*/ 562818 w 1337274"/>
              <a:gd name="connsiteY741" fmla="*/ 509892 h 509892"/>
              <a:gd name="connsiteX742" fmla="*/ 562817 w 1337274"/>
              <a:gd name="connsiteY742" fmla="*/ 509892 h 509892"/>
              <a:gd name="connsiteX743" fmla="*/ 559211 w 1337274"/>
              <a:gd name="connsiteY743" fmla="*/ 509892 h 509892"/>
              <a:gd name="connsiteX744" fmla="*/ 559210 w 1337274"/>
              <a:gd name="connsiteY744" fmla="*/ 509892 h 509892"/>
              <a:gd name="connsiteX745" fmla="*/ 554840 w 1337274"/>
              <a:gd name="connsiteY745" fmla="*/ 509892 h 509892"/>
              <a:gd name="connsiteX746" fmla="*/ 554838 w 1337274"/>
              <a:gd name="connsiteY746" fmla="*/ 509892 h 509892"/>
              <a:gd name="connsiteX747" fmla="*/ 536226 w 1337274"/>
              <a:gd name="connsiteY747" fmla="*/ 509892 h 509892"/>
              <a:gd name="connsiteX748" fmla="*/ 536225 w 1337274"/>
              <a:gd name="connsiteY748" fmla="*/ 509892 h 509892"/>
              <a:gd name="connsiteX749" fmla="*/ 525210 w 1337274"/>
              <a:gd name="connsiteY749" fmla="*/ 509892 h 509892"/>
              <a:gd name="connsiteX750" fmla="*/ 525208 w 1337274"/>
              <a:gd name="connsiteY750" fmla="*/ 509892 h 509892"/>
              <a:gd name="connsiteX751" fmla="*/ 525197 w 1337274"/>
              <a:gd name="connsiteY751" fmla="*/ 509892 h 509892"/>
              <a:gd name="connsiteX752" fmla="*/ 521893 w 1337274"/>
              <a:gd name="connsiteY752" fmla="*/ 509892 h 509892"/>
              <a:gd name="connsiteX753" fmla="*/ 521890 w 1337274"/>
              <a:gd name="connsiteY753" fmla="*/ 509892 h 509892"/>
              <a:gd name="connsiteX754" fmla="*/ 518614 w 1337274"/>
              <a:gd name="connsiteY754" fmla="*/ 509892 h 509892"/>
              <a:gd name="connsiteX755" fmla="*/ 518610 w 1337274"/>
              <a:gd name="connsiteY755" fmla="*/ 509892 h 509892"/>
              <a:gd name="connsiteX756" fmla="*/ 515296 w 1337274"/>
              <a:gd name="connsiteY756" fmla="*/ 509892 h 509892"/>
              <a:gd name="connsiteX757" fmla="*/ 515293 w 1337274"/>
              <a:gd name="connsiteY757" fmla="*/ 509892 h 509892"/>
              <a:gd name="connsiteX758" fmla="*/ 506595 w 1337274"/>
              <a:gd name="connsiteY758" fmla="*/ 509892 h 509892"/>
              <a:gd name="connsiteX759" fmla="*/ 506594 w 1337274"/>
              <a:gd name="connsiteY759" fmla="*/ 509892 h 509892"/>
              <a:gd name="connsiteX760" fmla="*/ 502224 w 1337274"/>
              <a:gd name="connsiteY760" fmla="*/ 509892 h 509892"/>
              <a:gd name="connsiteX761" fmla="*/ 499999 w 1337274"/>
              <a:gd name="connsiteY761" fmla="*/ 509892 h 509892"/>
              <a:gd name="connsiteX762" fmla="*/ 499998 w 1337274"/>
              <a:gd name="connsiteY762" fmla="*/ 509892 h 509892"/>
              <a:gd name="connsiteX763" fmla="*/ 495628 w 1337274"/>
              <a:gd name="connsiteY763" fmla="*/ 509892 h 509892"/>
              <a:gd name="connsiteX764" fmla="*/ 495627 w 1337274"/>
              <a:gd name="connsiteY764" fmla="*/ 509892 h 509892"/>
              <a:gd name="connsiteX765" fmla="*/ 488702 w 1337274"/>
              <a:gd name="connsiteY765" fmla="*/ 509892 h 509892"/>
              <a:gd name="connsiteX766" fmla="*/ 488701 w 1337274"/>
              <a:gd name="connsiteY766" fmla="*/ 509892 h 509892"/>
              <a:gd name="connsiteX767" fmla="*/ 477675 w 1337274"/>
              <a:gd name="connsiteY767" fmla="*/ 509892 h 509892"/>
              <a:gd name="connsiteX768" fmla="*/ 477672 w 1337274"/>
              <a:gd name="connsiteY768" fmla="*/ 509892 h 509892"/>
              <a:gd name="connsiteX769" fmla="*/ 459072 w 1337274"/>
              <a:gd name="connsiteY769" fmla="*/ 509892 h 509892"/>
              <a:gd name="connsiteX770" fmla="*/ 459070 w 1337274"/>
              <a:gd name="connsiteY770" fmla="*/ 509892 h 509892"/>
              <a:gd name="connsiteX771" fmla="*/ 459060 w 1337274"/>
              <a:gd name="connsiteY771" fmla="*/ 509892 h 509892"/>
              <a:gd name="connsiteX772" fmla="*/ 459059 w 1337274"/>
              <a:gd name="connsiteY772" fmla="*/ 509892 h 509892"/>
              <a:gd name="connsiteX773" fmla="*/ 454701 w 1337274"/>
              <a:gd name="connsiteY773" fmla="*/ 509892 h 509892"/>
              <a:gd name="connsiteX774" fmla="*/ 454699 w 1337274"/>
              <a:gd name="connsiteY774" fmla="*/ 509892 h 509892"/>
              <a:gd name="connsiteX775" fmla="*/ 454688 w 1337274"/>
              <a:gd name="connsiteY775" fmla="*/ 509892 h 509892"/>
              <a:gd name="connsiteX776" fmla="*/ 452476 w 1337274"/>
              <a:gd name="connsiteY776" fmla="*/ 509892 h 509892"/>
              <a:gd name="connsiteX777" fmla="*/ 452474 w 1337274"/>
              <a:gd name="connsiteY777" fmla="*/ 509892 h 509892"/>
              <a:gd name="connsiteX778" fmla="*/ 254947 w 1337274"/>
              <a:gd name="connsiteY778" fmla="*/ 509891 h 509892"/>
              <a:gd name="connsiteX779" fmla="*/ 5179 w 1337274"/>
              <a:gd name="connsiteY779" fmla="*/ 306326 h 509892"/>
              <a:gd name="connsiteX780" fmla="*/ 0 w 1337274"/>
              <a:gd name="connsiteY780" fmla="*/ 254947 h 509892"/>
              <a:gd name="connsiteX781" fmla="*/ 5179 w 1337274"/>
              <a:gd name="connsiteY781" fmla="*/ 203566 h 509892"/>
              <a:gd name="connsiteX782" fmla="*/ 254947 w 1337274"/>
              <a:gd name="connsiteY782" fmla="*/ 0 h 50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</a:cxnLst>
            <a:rect l="l" t="t" r="r" b="b"/>
            <a:pathLst>
              <a:path w="1337274" h="509892">
                <a:moveTo>
                  <a:pt x="254947" y="0"/>
                </a:moveTo>
                <a:lnTo>
                  <a:pt x="255223" y="0"/>
                </a:lnTo>
                <a:lnTo>
                  <a:pt x="257162" y="0"/>
                </a:lnTo>
                <a:lnTo>
                  <a:pt x="257172" y="0"/>
                </a:lnTo>
                <a:lnTo>
                  <a:pt x="261533" y="0"/>
                </a:lnTo>
                <a:lnTo>
                  <a:pt x="261544" y="0"/>
                </a:lnTo>
                <a:lnTo>
                  <a:pt x="273836" y="0"/>
                </a:lnTo>
                <a:lnTo>
                  <a:pt x="278208" y="0"/>
                </a:lnTo>
                <a:lnTo>
                  <a:pt x="280145" y="0"/>
                </a:lnTo>
                <a:lnTo>
                  <a:pt x="291174" y="0"/>
                </a:lnTo>
                <a:lnTo>
                  <a:pt x="298100" y="0"/>
                </a:lnTo>
                <a:lnTo>
                  <a:pt x="302471" y="0"/>
                </a:lnTo>
                <a:lnTo>
                  <a:pt x="304697" y="0"/>
                </a:lnTo>
                <a:lnTo>
                  <a:pt x="309068" y="0"/>
                </a:lnTo>
                <a:lnTo>
                  <a:pt x="317767" y="0"/>
                </a:lnTo>
                <a:lnTo>
                  <a:pt x="321084" y="0"/>
                </a:lnTo>
                <a:lnTo>
                  <a:pt x="321361" y="0"/>
                </a:lnTo>
                <a:lnTo>
                  <a:pt x="324363" y="0"/>
                </a:lnTo>
                <a:lnTo>
                  <a:pt x="325732" y="0"/>
                </a:lnTo>
                <a:lnTo>
                  <a:pt x="327670" y="0"/>
                </a:lnTo>
                <a:lnTo>
                  <a:pt x="327680" y="0"/>
                </a:lnTo>
                <a:lnTo>
                  <a:pt x="338698" y="0"/>
                </a:lnTo>
                <a:lnTo>
                  <a:pt x="341028" y="0"/>
                </a:lnTo>
                <a:lnTo>
                  <a:pt x="344345" y="0"/>
                </a:lnTo>
                <a:lnTo>
                  <a:pt x="357311" y="0"/>
                </a:lnTo>
                <a:lnTo>
                  <a:pt x="361682" y="0"/>
                </a:lnTo>
                <a:lnTo>
                  <a:pt x="365291" y="0"/>
                </a:lnTo>
                <a:lnTo>
                  <a:pt x="365302" y="0"/>
                </a:lnTo>
                <a:lnTo>
                  <a:pt x="368609" y="0"/>
                </a:lnTo>
                <a:lnTo>
                  <a:pt x="371887" y="0"/>
                </a:lnTo>
                <a:lnTo>
                  <a:pt x="375205" y="0"/>
                </a:lnTo>
                <a:lnTo>
                  <a:pt x="381966" y="0"/>
                </a:lnTo>
                <a:lnTo>
                  <a:pt x="383903" y="0"/>
                </a:lnTo>
                <a:lnTo>
                  <a:pt x="388275" y="0"/>
                </a:lnTo>
                <a:lnTo>
                  <a:pt x="388551" y="0"/>
                </a:lnTo>
                <a:lnTo>
                  <a:pt x="388562" y="0"/>
                </a:lnTo>
                <a:lnTo>
                  <a:pt x="390501" y="0"/>
                </a:lnTo>
                <a:lnTo>
                  <a:pt x="391870" y="0"/>
                </a:lnTo>
                <a:lnTo>
                  <a:pt x="394872" y="0"/>
                </a:lnTo>
                <a:lnTo>
                  <a:pt x="404836" y="0"/>
                </a:lnTo>
                <a:lnTo>
                  <a:pt x="407164" y="0"/>
                </a:lnTo>
                <a:lnTo>
                  <a:pt x="409206" y="0"/>
                </a:lnTo>
                <a:lnTo>
                  <a:pt x="411536" y="0"/>
                </a:lnTo>
                <a:lnTo>
                  <a:pt x="412826" y="0"/>
                </a:lnTo>
                <a:lnTo>
                  <a:pt x="420720" y="0"/>
                </a:lnTo>
                <a:lnTo>
                  <a:pt x="420996" y="0"/>
                </a:lnTo>
                <a:lnTo>
                  <a:pt x="422935" y="0"/>
                </a:lnTo>
                <a:lnTo>
                  <a:pt x="422945" y="0"/>
                </a:lnTo>
                <a:lnTo>
                  <a:pt x="424503" y="0"/>
                </a:lnTo>
                <a:lnTo>
                  <a:pt x="427306" y="0"/>
                </a:lnTo>
                <a:lnTo>
                  <a:pt x="427317" y="0"/>
                </a:lnTo>
                <a:lnTo>
                  <a:pt x="427820" y="0"/>
                </a:lnTo>
                <a:lnTo>
                  <a:pt x="429490" y="0"/>
                </a:lnTo>
                <a:lnTo>
                  <a:pt x="431428" y="0"/>
                </a:lnTo>
                <a:lnTo>
                  <a:pt x="431438" y="0"/>
                </a:lnTo>
                <a:lnTo>
                  <a:pt x="435799" y="0"/>
                </a:lnTo>
                <a:lnTo>
                  <a:pt x="435810" y="0"/>
                </a:lnTo>
                <a:lnTo>
                  <a:pt x="436086" y="0"/>
                </a:lnTo>
                <a:lnTo>
                  <a:pt x="438026" y="0"/>
                </a:lnTo>
                <a:lnTo>
                  <a:pt x="439609" y="0"/>
                </a:lnTo>
                <a:lnTo>
                  <a:pt x="442396" y="0"/>
                </a:lnTo>
                <a:lnTo>
                  <a:pt x="443981" y="0"/>
                </a:lnTo>
                <a:lnTo>
                  <a:pt x="445918" y="0"/>
                </a:lnTo>
                <a:lnTo>
                  <a:pt x="448103" y="0"/>
                </a:lnTo>
                <a:lnTo>
                  <a:pt x="452475" y="0"/>
                </a:lnTo>
                <a:lnTo>
                  <a:pt x="454412" y="0"/>
                </a:lnTo>
                <a:lnTo>
                  <a:pt x="454689" y="0"/>
                </a:lnTo>
                <a:lnTo>
                  <a:pt x="454699" y="0"/>
                </a:lnTo>
                <a:lnTo>
                  <a:pt x="456947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09" y="0"/>
                </a:lnTo>
                <a:lnTo>
                  <a:pt x="463873" y="0"/>
                </a:lnTo>
                <a:lnTo>
                  <a:pt x="465440" y="0"/>
                </a:lnTo>
                <a:lnTo>
                  <a:pt x="468244" y="0"/>
                </a:lnTo>
                <a:lnTo>
                  <a:pt x="470470" y="0"/>
                </a:lnTo>
                <a:lnTo>
                  <a:pt x="472027" y="0"/>
                </a:lnTo>
                <a:lnTo>
                  <a:pt x="472038" y="0"/>
                </a:lnTo>
                <a:lnTo>
                  <a:pt x="474841" y="0"/>
                </a:lnTo>
                <a:lnTo>
                  <a:pt x="475345" y="0"/>
                </a:lnTo>
                <a:lnTo>
                  <a:pt x="477673" y="0"/>
                </a:lnTo>
                <a:lnTo>
                  <a:pt x="478963" y="0"/>
                </a:lnTo>
                <a:lnTo>
                  <a:pt x="483334" y="0"/>
                </a:lnTo>
                <a:lnTo>
                  <a:pt x="483540" y="0"/>
                </a:lnTo>
                <a:lnTo>
                  <a:pt x="486857" y="0"/>
                </a:lnTo>
                <a:lnTo>
                  <a:pt x="487134" y="0"/>
                </a:lnTo>
                <a:lnTo>
                  <a:pt x="488701" y="0"/>
                </a:lnTo>
                <a:lnTo>
                  <a:pt x="490136" y="0"/>
                </a:lnTo>
                <a:lnTo>
                  <a:pt x="490639" y="0"/>
                </a:lnTo>
                <a:lnTo>
                  <a:pt x="491505" y="0"/>
                </a:lnTo>
                <a:lnTo>
                  <a:pt x="493443" y="0"/>
                </a:lnTo>
                <a:lnTo>
                  <a:pt x="493453" y="0"/>
                </a:lnTo>
                <a:lnTo>
                  <a:pt x="495012" y="0"/>
                </a:lnTo>
                <a:lnTo>
                  <a:pt x="495628" y="0"/>
                </a:lnTo>
                <a:lnTo>
                  <a:pt x="498630" y="0"/>
                </a:lnTo>
                <a:lnTo>
                  <a:pt x="499999" y="0"/>
                </a:lnTo>
                <a:lnTo>
                  <a:pt x="501937" y="0"/>
                </a:lnTo>
                <a:lnTo>
                  <a:pt x="501947" y="0"/>
                </a:lnTo>
                <a:lnTo>
                  <a:pt x="502224" y="0"/>
                </a:lnTo>
                <a:lnTo>
                  <a:pt x="504471" y="0"/>
                </a:lnTo>
                <a:lnTo>
                  <a:pt x="506595" y="0"/>
                </a:lnTo>
                <a:lnTo>
                  <a:pt x="506801" y="0"/>
                </a:lnTo>
                <a:lnTo>
                  <a:pt x="508534" y="0"/>
                </a:lnTo>
                <a:lnTo>
                  <a:pt x="510118" y="0"/>
                </a:lnTo>
                <a:lnTo>
                  <a:pt x="512964" y="0"/>
                </a:lnTo>
                <a:lnTo>
                  <a:pt x="515294" y="0"/>
                </a:lnTo>
                <a:lnTo>
                  <a:pt x="518611" y="0"/>
                </a:lnTo>
                <a:lnTo>
                  <a:pt x="519562" y="0"/>
                </a:lnTo>
                <a:lnTo>
                  <a:pt x="521890" y="0"/>
                </a:lnTo>
                <a:lnTo>
                  <a:pt x="523084" y="0"/>
                </a:lnTo>
                <a:lnTo>
                  <a:pt x="525198" y="0"/>
                </a:lnTo>
                <a:lnTo>
                  <a:pt x="525208" y="0"/>
                </a:lnTo>
                <a:lnTo>
                  <a:pt x="527455" y="0"/>
                </a:lnTo>
                <a:lnTo>
                  <a:pt x="531064" y="0"/>
                </a:lnTo>
                <a:lnTo>
                  <a:pt x="531075" y="0"/>
                </a:lnTo>
                <a:lnTo>
                  <a:pt x="531578" y="0"/>
                </a:lnTo>
                <a:lnTo>
                  <a:pt x="534382" y="0"/>
                </a:lnTo>
                <a:lnTo>
                  <a:pt x="535949" y="0"/>
                </a:lnTo>
                <a:lnTo>
                  <a:pt x="536226" y="0"/>
                </a:lnTo>
                <a:lnTo>
                  <a:pt x="537660" y="0"/>
                </a:lnTo>
                <a:lnTo>
                  <a:pt x="538165" y="0"/>
                </a:lnTo>
                <a:lnTo>
                  <a:pt x="538174" y="0"/>
                </a:lnTo>
                <a:lnTo>
                  <a:pt x="540978" y="0"/>
                </a:lnTo>
                <a:lnTo>
                  <a:pt x="542535" y="0"/>
                </a:lnTo>
                <a:lnTo>
                  <a:pt x="542546" y="0"/>
                </a:lnTo>
                <a:lnTo>
                  <a:pt x="546154" y="0"/>
                </a:lnTo>
                <a:lnTo>
                  <a:pt x="547739" y="0"/>
                </a:lnTo>
                <a:lnTo>
                  <a:pt x="549472" y="0"/>
                </a:lnTo>
                <a:lnTo>
                  <a:pt x="549676" y="0"/>
                </a:lnTo>
                <a:lnTo>
                  <a:pt x="554048" y="0"/>
                </a:lnTo>
                <a:lnTo>
                  <a:pt x="554324" y="0"/>
                </a:lnTo>
                <a:lnTo>
                  <a:pt x="554335" y="0"/>
                </a:lnTo>
                <a:lnTo>
                  <a:pt x="554839" y="0"/>
                </a:lnTo>
                <a:lnTo>
                  <a:pt x="556274" y="0"/>
                </a:lnTo>
                <a:lnTo>
                  <a:pt x="557643" y="0"/>
                </a:lnTo>
                <a:lnTo>
                  <a:pt x="559210" y="0"/>
                </a:lnTo>
                <a:lnTo>
                  <a:pt x="560645" y="0"/>
                </a:lnTo>
                <a:lnTo>
                  <a:pt x="561148" y="0"/>
                </a:lnTo>
                <a:lnTo>
                  <a:pt x="562818" y="0"/>
                </a:lnTo>
                <a:lnTo>
                  <a:pt x="562829" y="0"/>
                </a:lnTo>
                <a:lnTo>
                  <a:pt x="564768" y="0"/>
                </a:lnTo>
                <a:lnTo>
                  <a:pt x="566136" y="0"/>
                </a:lnTo>
                <a:lnTo>
                  <a:pt x="569138" y="0"/>
                </a:lnTo>
                <a:lnTo>
                  <a:pt x="569414" y="0"/>
                </a:lnTo>
                <a:lnTo>
                  <a:pt x="570609" y="0"/>
                </a:lnTo>
                <a:lnTo>
                  <a:pt x="572733" y="0"/>
                </a:lnTo>
                <a:lnTo>
                  <a:pt x="572937" y="0"/>
                </a:lnTo>
                <a:lnTo>
                  <a:pt x="574979" y="0"/>
                </a:lnTo>
                <a:lnTo>
                  <a:pt x="577309" y="0"/>
                </a:lnTo>
                <a:lnTo>
                  <a:pt x="578599" y="0"/>
                </a:lnTo>
                <a:lnTo>
                  <a:pt x="579103" y="0"/>
                </a:lnTo>
                <a:lnTo>
                  <a:pt x="581431" y="0"/>
                </a:lnTo>
                <a:lnTo>
                  <a:pt x="583473" y="0"/>
                </a:lnTo>
                <a:lnTo>
                  <a:pt x="585699" y="0"/>
                </a:lnTo>
                <a:lnTo>
                  <a:pt x="585803" y="0"/>
                </a:lnTo>
                <a:lnTo>
                  <a:pt x="588028" y="0"/>
                </a:lnTo>
                <a:lnTo>
                  <a:pt x="590070" y="0"/>
                </a:lnTo>
                <a:lnTo>
                  <a:pt x="590276" y="0"/>
                </a:lnTo>
                <a:lnTo>
                  <a:pt x="592399" y="0"/>
                </a:lnTo>
                <a:lnTo>
                  <a:pt x="593593" y="0"/>
                </a:lnTo>
                <a:lnTo>
                  <a:pt x="595263" y="0"/>
                </a:lnTo>
                <a:lnTo>
                  <a:pt x="597201" y="0"/>
                </a:lnTo>
                <a:lnTo>
                  <a:pt x="597211" y="0"/>
                </a:lnTo>
                <a:lnTo>
                  <a:pt x="598770" y="0"/>
                </a:lnTo>
                <a:lnTo>
                  <a:pt x="601572" y="0"/>
                </a:lnTo>
                <a:lnTo>
                  <a:pt x="601583" y="0"/>
                </a:lnTo>
                <a:lnTo>
                  <a:pt x="601859" y="0"/>
                </a:lnTo>
                <a:lnTo>
                  <a:pt x="602087" y="0"/>
                </a:lnTo>
                <a:lnTo>
                  <a:pt x="602364" y="0"/>
                </a:lnTo>
                <a:lnTo>
                  <a:pt x="603799" y="0"/>
                </a:lnTo>
                <a:lnTo>
                  <a:pt x="605366" y="0"/>
                </a:lnTo>
                <a:lnTo>
                  <a:pt x="606735" y="0"/>
                </a:lnTo>
                <a:lnTo>
                  <a:pt x="608169" y="0"/>
                </a:lnTo>
                <a:lnTo>
                  <a:pt x="608673" y="0"/>
                </a:lnTo>
                <a:lnTo>
                  <a:pt x="608683" y="0"/>
                </a:lnTo>
                <a:lnTo>
                  <a:pt x="610353" y="0"/>
                </a:lnTo>
                <a:lnTo>
                  <a:pt x="612293" y="0"/>
                </a:lnTo>
                <a:lnTo>
                  <a:pt x="613876" y="0"/>
                </a:lnTo>
                <a:lnTo>
                  <a:pt x="616662" y="0"/>
                </a:lnTo>
                <a:lnTo>
                  <a:pt x="618248" y="0"/>
                </a:lnTo>
                <a:lnTo>
                  <a:pt x="620185" y="0"/>
                </a:lnTo>
                <a:lnTo>
                  <a:pt x="620462" y="0"/>
                </a:lnTo>
                <a:lnTo>
                  <a:pt x="620472" y="0"/>
                </a:lnTo>
                <a:lnTo>
                  <a:pt x="622030" y="0"/>
                </a:lnTo>
                <a:lnTo>
                  <a:pt x="624833" y="0"/>
                </a:lnTo>
                <a:lnTo>
                  <a:pt x="624844" y="0"/>
                </a:lnTo>
                <a:lnTo>
                  <a:pt x="625347" y="0"/>
                </a:lnTo>
                <a:lnTo>
                  <a:pt x="626782" y="0"/>
                </a:lnTo>
                <a:lnTo>
                  <a:pt x="628956" y="0"/>
                </a:lnTo>
                <a:lnTo>
                  <a:pt x="628966" y="0"/>
                </a:lnTo>
                <a:lnTo>
                  <a:pt x="631213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5553" y="0"/>
                </a:lnTo>
                <a:lnTo>
                  <a:pt x="637800" y="0"/>
                </a:lnTo>
                <a:lnTo>
                  <a:pt x="637811" y="0"/>
                </a:lnTo>
                <a:lnTo>
                  <a:pt x="639923" y="0"/>
                </a:lnTo>
                <a:lnTo>
                  <a:pt x="641118" y="0"/>
                </a:lnTo>
                <a:lnTo>
                  <a:pt x="643446" y="0"/>
                </a:lnTo>
                <a:lnTo>
                  <a:pt x="644736" y="0"/>
                </a:lnTo>
                <a:lnTo>
                  <a:pt x="646293" y="0"/>
                </a:lnTo>
                <a:lnTo>
                  <a:pt x="646304" y="0"/>
                </a:lnTo>
                <a:lnTo>
                  <a:pt x="649107" y="0"/>
                </a:lnTo>
                <a:lnTo>
                  <a:pt x="649612" y="0"/>
                </a:lnTo>
                <a:lnTo>
                  <a:pt x="651940" y="0"/>
                </a:lnTo>
                <a:lnTo>
                  <a:pt x="652890" y="0"/>
                </a:lnTo>
                <a:lnTo>
                  <a:pt x="654474" y="0"/>
                </a:lnTo>
                <a:lnTo>
                  <a:pt x="656208" y="0"/>
                </a:lnTo>
                <a:lnTo>
                  <a:pt x="656412" y="0"/>
                </a:lnTo>
                <a:lnTo>
                  <a:pt x="658537" y="0"/>
                </a:lnTo>
                <a:lnTo>
                  <a:pt x="660785" y="0"/>
                </a:lnTo>
                <a:lnTo>
                  <a:pt x="661401" y="0"/>
                </a:lnTo>
                <a:lnTo>
                  <a:pt x="662968" y="0"/>
                </a:lnTo>
                <a:lnTo>
                  <a:pt x="664403" y="0"/>
                </a:lnTo>
                <a:lnTo>
                  <a:pt x="664906" y="0"/>
                </a:lnTo>
                <a:lnTo>
                  <a:pt x="665772" y="0"/>
                </a:lnTo>
                <a:lnTo>
                  <a:pt x="667710" y="0"/>
                </a:lnTo>
                <a:lnTo>
                  <a:pt x="667720" y="0"/>
                </a:lnTo>
                <a:lnTo>
                  <a:pt x="667997" y="0"/>
                </a:lnTo>
                <a:lnTo>
                  <a:pt x="669278" y="0"/>
                </a:lnTo>
                <a:lnTo>
                  <a:pt x="669554" y="0"/>
                </a:lnTo>
                <a:lnTo>
                  <a:pt x="669565" y="0"/>
                </a:lnTo>
                <a:lnTo>
                  <a:pt x="671502" y="0"/>
                </a:lnTo>
                <a:lnTo>
                  <a:pt x="672368" y="0"/>
                </a:lnTo>
                <a:lnTo>
                  <a:pt x="672872" y="0"/>
                </a:lnTo>
                <a:lnTo>
                  <a:pt x="674307" y="0"/>
                </a:lnTo>
                <a:lnTo>
                  <a:pt x="675874" y="0"/>
                </a:lnTo>
                <a:lnTo>
                  <a:pt x="676491" y="0"/>
                </a:lnTo>
                <a:lnTo>
                  <a:pt x="678737" y="0"/>
                </a:lnTo>
                <a:lnTo>
                  <a:pt x="680862" y="0"/>
                </a:lnTo>
                <a:lnTo>
                  <a:pt x="681067" y="0"/>
                </a:lnTo>
                <a:lnTo>
                  <a:pt x="682801" y="0"/>
                </a:lnTo>
                <a:lnTo>
                  <a:pt x="684384" y="0"/>
                </a:lnTo>
                <a:lnTo>
                  <a:pt x="685335" y="0"/>
                </a:lnTo>
                <a:lnTo>
                  <a:pt x="687663" y="0"/>
                </a:lnTo>
                <a:lnTo>
                  <a:pt x="688167" y="0"/>
                </a:lnTo>
                <a:lnTo>
                  <a:pt x="690971" y="0"/>
                </a:lnTo>
                <a:lnTo>
                  <a:pt x="690981" y="0"/>
                </a:lnTo>
                <a:lnTo>
                  <a:pt x="692539" y="0"/>
                </a:lnTo>
                <a:lnTo>
                  <a:pt x="693828" y="0"/>
                </a:lnTo>
                <a:lnTo>
                  <a:pt x="696157" y="0"/>
                </a:lnTo>
                <a:lnTo>
                  <a:pt x="697351" y="0"/>
                </a:lnTo>
                <a:lnTo>
                  <a:pt x="699465" y="0"/>
                </a:lnTo>
                <a:lnTo>
                  <a:pt x="699474" y="0"/>
                </a:lnTo>
                <a:lnTo>
                  <a:pt x="701722" y="0"/>
                </a:lnTo>
                <a:lnTo>
                  <a:pt x="701999" y="0"/>
                </a:lnTo>
                <a:lnTo>
                  <a:pt x="703938" y="0"/>
                </a:lnTo>
                <a:lnTo>
                  <a:pt x="703947" y="0"/>
                </a:lnTo>
                <a:lnTo>
                  <a:pt x="706062" y="0"/>
                </a:lnTo>
                <a:lnTo>
                  <a:pt x="708308" y="0"/>
                </a:lnTo>
                <a:lnTo>
                  <a:pt x="708319" y="0"/>
                </a:lnTo>
                <a:lnTo>
                  <a:pt x="710493" y="0"/>
                </a:lnTo>
                <a:lnTo>
                  <a:pt x="711927" y="0"/>
                </a:lnTo>
                <a:lnTo>
                  <a:pt x="712431" y="0"/>
                </a:lnTo>
                <a:lnTo>
                  <a:pt x="712441" y="0"/>
                </a:lnTo>
                <a:lnTo>
                  <a:pt x="715245" y="0"/>
                </a:lnTo>
                <a:lnTo>
                  <a:pt x="716802" y="0"/>
                </a:lnTo>
                <a:lnTo>
                  <a:pt x="716813" y="0"/>
                </a:lnTo>
                <a:lnTo>
                  <a:pt x="717089" y="0"/>
                </a:lnTo>
                <a:lnTo>
                  <a:pt x="719027" y="0"/>
                </a:lnTo>
                <a:lnTo>
                  <a:pt x="720612" y="0"/>
                </a:lnTo>
                <a:lnTo>
                  <a:pt x="723398" y="0"/>
                </a:lnTo>
                <a:lnTo>
                  <a:pt x="724983" y="0"/>
                </a:lnTo>
                <a:lnTo>
                  <a:pt x="726921" y="0"/>
                </a:lnTo>
                <a:lnTo>
                  <a:pt x="728591" y="0"/>
                </a:lnTo>
                <a:lnTo>
                  <a:pt x="728602" y="0"/>
                </a:lnTo>
                <a:lnTo>
                  <a:pt x="729106" y="0"/>
                </a:lnTo>
                <a:lnTo>
                  <a:pt x="730541" y="0"/>
                </a:lnTo>
                <a:lnTo>
                  <a:pt x="731909" y="0"/>
                </a:lnTo>
                <a:lnTo>
                  <a:pt x="733476" y="0"/>
                </a:lnTo>
                <a:lnTo>
                  <a:pt x="734911" y="0"/>
                </a:lnTo>
                <a:lnTo>
                  <a:pt x="735187" y="0"/>
                </a:lnTo>
                <a:lnTo>
                  <a:pt x="735415" y="0"/>
                </a:lnTo>
                <a:lnTo>
                  <a:pt x="735692" y="0"/>
                </a:lnTo>
                <a:lnTo>
                  <a:pt x="735702" y="0"/>
                </a:lnTo>
                <a:lnTo>
                  <a:pt x="738506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3681" y="0"/>
                </a:lnTo>
                <a:lnTo>
                  <a:pt x="744876" y="0"/>
                </a:lnTo>
                <a:lnTo>
                  <a:pt x="746999" y="0"/>
                </a:lnTo>
                <a:lnTo>
                  <a:pt x="747204" y="0"/>
                </a:lnTo>
                <a:lnTo>
                  <a:pt x="749246" y="0"/>
                </a:lnTo>
                <a:lnTo>
                  <a:pt x="751472" y="0"/>
                </a:lnTo>
                <a:lnTo>
                  <a:pt x="751576" y="0"/>
                </a:lnTo>
                <a:lnTo>
                  <a:pt x="753801" y="0"/>
                </a:lnTo>
                <a:lnTo>
                  <a:pt x="755843" y="0"/>
                </a:lnTo>
                <a:lnTo>
                  <a:pt x="758172" y="0"/>
                </a:lnTo>
                <a:lnTo>
                  <a:pt x="758676" y="0"/>
                </a:lnTo>
                <a:lnTo>
                  <a:pt x="759966" y="0"/>
                </a:lnTo>
                <a:lnTo>
                  <a:pt x="762295" y="0"/>
                </a:lnTo>
                <a:lnTo>
                  <a:pt x="764337" y="0"/>
                </a:lnTo>
                <a:lnTo>
                  <a:pt x="764543" y="0"/>
                </a:lnTo>
                <a:lnTo>
                  <a:pt x="766666" y="0"/>
                </a:lnTo>
                <a:lnTo>
                  <a:pt x="767860" y="0"/>
                </a:lnTo>
                <a:lnTo>
                  <a:pt x="768137" y="0"/>
                </a:lnTo>
                <a:lnTo>
                  <a:pt x="771139" y="0"/>
                </a:lnTo>
                <a:lnTo>
                  <a:pt x="772508" y="0"/>
                </a:lnTo>
                <a:lnTo>
                  <a:pt x="774446" y="0"/>
                </a:lnTo>
                <a:lnTo>
                  <a:pt x="774456" y="0"/>
                </a:lnTo>
                <a:lnTo>
                  <a:pt x="776126" y="0"/>
                </a:lnTo>
                <a:lnTo>
                  <a:pt x="776631" y="0"/>
                </a:lnTo>
                <a:lnTo>
                  <a:pt x="778066" y="0"/>
                </a:lnTo>
                <a:lnTo>
                  <a:pt x="779633" y="0"/>
                </a:lnTo>
                <a:lnTo>
                  <a:pt x="781001" y="0"/>
                </a:lnTo>
                <a:lnTo>
                  <a:pt x="782435" y="0"/>
                </a:lnTo>
                <a:lnTo>
                  <a:pt x="782940" y="0"/>
                </a:lnTo>
                <a:lnTo>
                  <a:pt x="782950" y="0"/>
                </a:lnTo>
                <a:lnTo>
                  <a:pt x="783227" y="0"/>
                </a:lnTo>
                <a:lnTo>
                  <a:pt x="787598" y="0"/>
                </a:lnTo>
                <a:lnTo>
                  <a:pt x="787803" y="0"/>
                </a:lnTo>
                <a:lnTo>
                  <a:pt x="789536" y="0"/>
                </a:lnTo>
                <a:lnTo>
                  <a:pt x="791120" y="0"/>
                </a:lnTo>
                <a:lnTo>
                  <a:pt x="794729" y="0"/>
                </a:lnTo>
                <a:lnTo>
                  <a:pt x="794739" y="0"/>
                </a:lnTo>
                <a:lnTo>
                  <a:pt x="796297" y="0"/>
                </a:lnTo>
                <a:lnTo>
                  <a:pt x="799100" y="0"/>
                </a:lnTo>
                <a:lnTo>
                  <a:pt x="799111" y="0"/>
                </a:lnTo>
                <a:lnTo>
                  <a:pt x="799614" y="0"/>
                </a:lnTo>
                <a:lnTo>
                  <a:pt x="801049" y="0"/>
                </a:lnTo>
                <a:lnTo>
                  <a:pt x="801326" y="0"/>
                </a:lnTo>
                <a:lnTo>
                  <a:pt x="802893" y="0"/>
                </a:lnTo>
                <a:lnTo>
                  <a:pt x="805696" y="0"/>
                </a:lnTo>
                <a:lnTo>
                  <a:pt x="806201" y="0"/>
                </a:lnTo>
                <a:lnTo>
                  <a:pt x="806210" y="0"/>
                </a:lnTo>
                <a:lnTo>
                  <a:pt x="809820" y="0"/>
                </a:lnTo>
                <a:lnTo>
                  <a:pt x="812066" y="0"/>
                </a:lnTo>
                <a:lnTo>
                  <a:pt x="812077" y="0"/>
                </a:lnTo>
                <a:lnTo>
                  <a:pt x="814190" y="0"/>
                </a:lnTo>
                <a:lnTo>
                  <a:pt x="815385" y="0"/>
                </a:lnTo>
                <a:lnTo>
                  <a:pt x="817713" y="0"/>
                </a:lnTo>
                <a:lnTo>
                  <a:pt x="818663" y="0"/>
                </a:lnTo>
                <a:lnTo>
                  <a:pt x="821981" y="0"/>
                </a:lnTo>
                <a:lnTo>
                  <a:pt x="824310" y="0"/>
                </a:lnTo>
                <a:lnTo>
                  <a:pt x="827156" y="0"/>
                </a:lnTo>
                <a:lnTo>
                  <a:pt x="828741" y="0"/>
                </a:lnTo>
                <a:lnTo>
                  <a:pt x="830475" y="0"/>
                </a:lnTo>
                <a:lnTo>
                  <a:pt x="830679" y="0"/>
                </a:lnTo>
                <a:lnTo>
                  <a:pt x="832804" y="0"/>
                </a:lnTo>
                <a:lnTo>
                  <a:pt x="835051" y="0"/>
                </a:lnTo>
                <a:lnTo>
                  <a:pt x="835327" y="0"/>
                </a:lnTo>
                <a:lnTo>
                  <a:pt x="835338" y="0"/>
                </a:lnTo>
                <a:lnTo>
                  <a:pt x="837275" y="0"/>
                </a:lnTo>
                <a:lnTo>
                  <a:pt x="838645" y="0"/>
                </a:lnTo>
                <a:lnTo>
                  <a:pt x="841647" y="0"/>
                </a:lnTo>
                <a:lnTo>
                  <a:pt x="842264" y="0"/>
                </a:lnTo>
                <a:lnTo>
                  <a:pt x="843821" y="0"/>
                </a:lnTo>
                <a:lnTo>
                  <a:pt x="843832" y="0"/>
                </a:lnTo>
                <a:lnTo>
                  <a:pt x="845769" y="0"/>
                </a:lnTo>
                <a:lnTo>
                  <a:pt x="846635" y="0"/>
                </a:lnTo>
                <a:lnTo>
                  <a:pt x="847139" y="0"/>
                </a:lnTo>
                <a:lnTo>
                  <a:pt x="848574" y="0"/>
                </a:lnTo>
                <a:lnTo>
                  <a:pt x="850141" y="0"/>
                </a:lnTo>
                <a:lnTo>
                  <a:pt x="850417" y="0"/>
                </a:lnTo>
                <a:lnTo>
                  <a:pt x="853735" y="0"/>
                </a:lnTo>
                <a:lnTo>
                  <a:pt x="853940" y="0"/>
                </a:lnTo>
                <a:lnTo>
                  <a:pt x="858312" y="0"/>
                </a:lnTo>
                <a:lnTo>
                  <a:pt x="859601" y="0"/>
                </a:lnTo>
                <a:lnTo>
                  <a:pt x="861930" y="0"/>
                </a:lnTo>
                <a:lnTo>
                  <a:pt x="862434" y="0"/>
                </a:lnTo>
                <a:lnTo>
                  <a:pt x="865238" y="0"/>
                </a:lnTo>
                <a:lnTo>
                  <a:pt x="865247" y="0"/>
                </a:lnTo>
                <a:lnTo>
                  <a:pt x="866806" y="0"/>
                </a:lnTo>
                <a:lnTo>
                  <a:pt x="869030" y="0"/>
                </a:lnTo>
                <a:lnTo>
                  <a:pt x="871835" y="0"/>
                </a:lnTo>
                <a:lnTo>
                  <a:pt x="873402" y="0"/>
                </a:lnTo>
                <a:lnTo>
                  <a:pt x="876266" y="0"/>
                </a:lnTo>
                <a:lnTo>
                  <a:pt x="878204" y="0"/>
                </a:lnTo>
                <a:lnTo>
                  <a:pt x="878214" y="0"/>
                </a:lnTo>
                <a:lnTo>
                  <a:pt x="880329" y="0"/>
                </a:lnTo>
                <a:lnTo>
                  <a:pt x="882575" y="0"/>
                </a:lnTo>
                <a:lnTo>
                  <a:pt x="882586" y="0"/>
                </a:lnTo>
                <a:lnTo>
                  <a:pt x="882862" y="0"/>
                </a:lnTo>
                <a:lnTo>
                  <a:pt x="884800" y="0"/>
                </a:lnTo>
                <a:lnTo>
                  <a:pt x="889171" y="0"/>
                </a:lnTo>
                <a:lnTo>
                  <a:pt x="891356" y="0"/>
                </a:lnTo>
                <a:lnTo>
                  <a:pt x="893294" y="0"/>
                </a:lnTo>
                <a:lnTo>
                  <a:pt x="894879" y="0"/>
                </a:lnTo>
                <a:lnTo>
                  <a:pt x="897665" y="0"/>
                </a:lnTo>
                <a:lnTo>
                  <a:pt x="899249" y="0"/>
                </a:lnTo>
                <a:lnTo>
                  <a:pt x="901188" y="0"/>
                </a:lnTo>
                <a:lnTo>
                  <a:pt x="901465" y="0"/>
                </a:lnTo>
                <a:lnTo>
                  <a:pt x="901475" y="0"/>
                </a:lnTo>
                <a:lnTo>
                  <a:pt x="905836" y="0"/>
                </a:lnTo>
                <a:lnTo>
                  <a:pt x="905847" y="0"/>
                </a:lnTo>
                <a:lnTo>
                  <a:pt x="907784" y="0"/>
                </a:lnTo>
                <a:lnTo>
                  <a:pt x="909454" y="0"/>
                </a:lnTo>
                <a:lnTo>
                  <a:pt x="909959" y="0"/>
                </a:lnTo>
                <a:lnTo>
                  <a:pt x="909968" y="0"/>
                </a:lnTo>
                <a:lnTo>
                  <a:pt x="912772" y="0"/>
                </a:lnTo>
                <a:lnTo>
                  <a:pt x="914330" y="0"/>
                </a:lnTo>
                <a:lnTo>
                  <a:pt x="914341" y="0"/>
                </a:lnTo>
                <a:lnTo>
                  <a:pt x="916278" y="0"/>
                </a:lnTo>
                <a:lnTo>
                  <a:pt x="916555" y="0"/>
                </a:lnTo>
                <a:lnTo>
                  <a:pt x="924449" y="0"/>
                </a:lnTo>
                <a:lnTo>
                  <a:pt x="925739" y="0"/>
                </a:lnTo>
                <a:lnTo>
                  <a:pt x="928068" y="0"/>
                </a:lnTo>
                <a:lnTo>
                  <a:pt x="930110" y="0"/>
                </a:lnTo>
                <a:lnTo>
                  <a:pt x="932439" y="0"/>
                </a:lnTo>
                <a:lnTo>
                  <a:pt x="942404" y="0"/>
                </a:lnTo>
                <a:lnTo>
                  <a:pt x="945406" y="0"/>
                </a:lnTo>
                <a:lnTo>
                  <a:pt x="946774" y="0"/>
                </a:lnTo>
                <a:lnTo>
                  <a:pt x="948713" y="0"/>
                </a:lnTo>
                <a:lnTo>
                  <a:pt x="948723" y="0"/>
                </a:lnTo>
                <a:lnTo>
                  <a:pt x="949000" y="0"/>
                </a:lnTo>
                <a:lnTo>
                  <a:pt x="953371" y="0"/>
                </a:lnTo>
                <a:lnTo>
                  <a:pt x="955309" y="0"/>
                </a:lnTo>
                <a:lnTo>
                  <a:pt x="962070" y="0"/>
                </a:lnTo>
                <a:lnTo>
                  <a:pt x="965387" y="0"/>
                </a:lnTo>
                <a:lnTo>
                  <a:pt x="968666" y="0"/>
                </a:lnTo>
                <a:lnTo>
                  <a:pt x="971974" y="0"/>
                </a:lnTo>
                <a:lnTo>
                  <a:pt x="971983" y="0"/>
                </a:lnTo>
                <a:lnTo>
                  <a:pt x="975593" y="0"/>
                </a:lnTo>
                <a:lnTo>
                  <a:pt x="979963" y="0"/>
                </a:lnTo>
                <a:lnTo>
                  <a:pt x="992929" y="0"/>
                </a:lnTo>
                <a:lnTo>
                  <a:pt x="996248" y="0"/>
                </a:lnTo>
                <a:lnTo>
                  <a:pt x="998577" y="0"/>
                </a:lnTo>
                <a:lnTo>
                  <a:pt x="1009594" y="0"/>
                </a:lnTo>
                <a:lnTo>
                  <a:pt x="1009605" y="0"/>
                </a:lnTo>
                <a:lnTo>
                  <a:pt x="1011542" y="0"/>
                </a:lnTo>
                <a:lnTo>
                  <a:pt x="1012912" y="0"/>
                </a:lnTo>
                <a:lnTo>
                  <a:pt x="1015914" y="0"/>
                </a:lnTo>
                <a:lnTo>
                  <a:pt x="1016190" y="0"/>
                </a:lnTo>
                <a:lnTo>
                  <a:pt x="1019508" y="0"/>
                </a:lnTo>
                <a:lnTo>
                  <a:pt x="1028207" y="0"/>
                </a:lnTo>
                <a:lnTo>
                  <a:pt x="1032579" y="0"/>
                </a:lnTo>
                <a:lnTo>
                  <a:pt x="1034803" y="0"/>
                </a:lnTo>
                <a:lnTo>
                  <a:pt x="1039175" y="0"/>
                </a:lnTo>
                <a:lnTo>
                  <a:pt x="1046102" y="0"/>
                </a:lnTo>
                <a:lnTo>
                  <a:pt x="1057129" y="0"/>
                </a:lnTo>
                <a:lnTo>
                  <a:pt x="1059067" y="0"/>
                </a:lnTo>
                <a:lnTo>
                  <a:pt x="1063438" y="0"/>
                </a:lnTo>
                <a:lnTo>
                  <a:pt x="1075732" y="0"/>
                </a:lnTo>
                <a:lnTo>
                  <a:pt x="1075741" y="0"/>
                </a:lnTo>
                <a:lnTo>
                  <a:pt x="1080103" y="0"/>
                </a:lnTo>
                <a:lnTo>
                  <a:pt x="1080114" y="0"/>
                </a:lnTo>
                <a:lnTo>
                  <a:pt x="1082051" y="0"/>
                </a:lnTo>
                <a:lnTo>
                  <a:pt x="1082328" y="0"/>
                </a:lnTo>
                <a:cubicBezTo>
                  <a:pt x="1223131" y="0"/>
                  <a:pt x="1337274" y="114144"/>
                  <a:pt x="1337274" y="254947"/>
                </a:cubicBezTo>
                <a:lnTo>
                  <a:pt x="1337273" y="254947"/>
                </a:lnTo>
                <a:cubicBezTo>
                  <a:pt x="1337273" y="395750"/>
                  <a:pt x="1223130" y="509892"/>
                  <a:pt x="1082328" y="509892"/>
                </a:cubicBezTo>
                <a:lnTo>
                  <a:pt x="1080115" y="509892"/>
                </a:lnTo>
                <a:lnTo>
                  <a:pt x="1080112" y="509892"/>
                </a:lnTo>
                <a:lnTo>
                  <a:pt x="1080103" y="509892"/>
                </a:lnTo>
                <a:lnTo>
                  <a:pt x="1080102" y="509892"/>
                </a:lnTo>
                <a:lnTo>
                  <a:pt x="1075744" y="509892"/>
                </a:lnTo>
                <a:lnTo>
                  <a:pt x="1075740" y="509892"/>
                </a:lnTo>
                <a:lnTo>
                  <a:pt x="1075731" y="509892"/>
                </a:lnTo>
                <a:lnTo>
                  <a:pt x="1057129" y="509892"/>
                </a:lnTo>
                <a:lnTo>
                  <a:pt x="1057128" y="509892"/>
                </a:lnTo>
                <a:lnTo>
                  <a:pt x="1046101" y="509892"/>
                </a:lnTo>
                <a:lnTo>
                  <a:pt x="1039177" y="509892"/>
                </a:lnTo>
                <a:lnTo>
                  <a:pt x="1039174" y="509892"/>
                </a:lnTo>
                <a:lnTo>
                  <a:pt x="1034805" y="509892"/>
                </a:lnTo>
                <a:lnTo>
                  <a:pt x="1034803" y="509892"/>
                </a:lnTo>
                <a:lnTo>
                  <a:pt x="1032580" y="509892"/>
                </a:lnTo>
                <a:lnTo>
                  <a:pt x="1032578" y="509892"/>
                </a:lnTo>
                <a:lnTo>
                  <a:pt x="1028209" y="509892"/>
                </a:lnTo>
                <a:lnTo>
                  <a:pt x="1028206" y="509892"/>
                </a:lnTo>
                <a:lnTo>
                  <a:pt x="1019508" y="509892"/>
                </a:lnTo>
                <a:lnTo>
                  <a:pt x="1019507" y="509892"/>
                </a:lnTo>
                <a:lnTo>
                  <a:pt x="1016190" y="509892"/>
                </a:lnTo>
                <a:lnTo>
                  <a:pt x="1016189" y="509892"/>
                </a:lnTo>
                <a:lnTo>
                  <a:pt x="1012912" y="509892"/>
                </a:lnTo>
                <a:lnTo>
                  <a:pt x="1012911" y="509892"/>
                </a:lnTo>
                <a:lnTo>
                  <a:pt x="1009606" y="509892"/>
                </a:lnTo>
                <a:lnTo>
                  <a:pt x="1009604" y="509892"/>
                </a:lnTo>
                <a:lnTo>
                  <a:pt x="1009594" y="509892"/>
                </a:lnTo>
                <a:lnTo>
                  <a:pt x="1009593" y="509892"/>
                </a:lnTo>
                <a:lnTo>
                  <a:pt x="998578" y="509892"/>
                </a:lnTo>
                <a:lnTo>
                  <a:pt x="998576" y="509892"/>
                </a:lnTo>
                <a:lnTo>
                  <a:pt x="979963" y="509892"/>
                </a:lnTo>
                <a:lnTo>
                  <a:pt x="975592" y="509892"/>
                </a:lnTo>
                <a:lnTo>
                  <a:pt x="971986" y="509892"/>
                </a:lnTo>
                <a:lnTo>
                  <a:pt x="971982" y="509892"/>
                </a:lnTo>
                <a:lnTo>
                  <a:pt x="971973" y="509892"/>
                </a:lnTo>
                <a:lnTo>
                  <a:pt x="968668" y="509892"/>
                </a:lnTo>
                <a:lnTo>
                  <a:pt x="968665" y="509892"/>
                </a:lnTo>
                <a:lnTo>
                  <a:pt x="965388" y="509892"/>
                </a:lnTo>
                <a:lnTo>
                  <a:pt x="965386" y="509892"/>
                </a:lnTo>
                <a:lnTo>
                  <a:pt x="962071" y="509892"/>
                </a:lnTo>
                <a:lnTo>
                  <a:pt x="962069" y="509892"/>
                </a:lnTo>
                <a:lnTo>
                  <a:pt x="953371" y="509892"/>
                </a:lnTo>
                <a:lnTo>
                  <a:pt x="953370" y="509892"/>
                </a:lnTo>
                <a:lnTo>
                  <a:pt x="949000" y="509892"/>
                </a:lnTo>
                <a:lnTo>
                  <a:pt x="948999" y="509892"/>
                </a:lnTo>
                <a:lnTo>
                  <a:pt x="946774" y="509892"/>
                </a:lnTo>
                <a:lnTo>
                  <a:pt x="946773" y="509892"/>
                </a:lnTo>
                <a:lnTo>
                  <a:pt x="942404" y="509892"/>
                </a:lnTo>
                <a:lnTo>
                  <a:pt x="942402" y="509892"/>
                </a:lnTo>
                <a:lnTo>
                  <a:pt x="932441" y="509892"/>
                </a:lnTo>
                <a:lnTo>
                  <a:pt x="932439" y="509892"/>
                </a:lnTo>
                <a:lnTo>
                  <a:pt x="928069" y="509892"/>
                </a:lnTo>
                <a:lnTo>
                  <a:pt x="928067" y="509892"/>
                </a:lnTo>
                <a:lnTo>
                  <a:pt x="924451" y="509892"/>
                </a:lnTo>
                <a:lnTo>
                  <a:pt x="924448" y="509892"/>
                </a:lnTo>
                <a:lnTo>
                  <a:pt x="916555" y="509892"/>
                </a:lnTo>
                <a:lnTo>
                  <a:pt x="914342" y="509892"/>
                </a:lnTo>
                <a:lnTo>
                  <a:pt x="914339" y="509892"/>
                </a:lnTo>
                <a:lnTo>
                  <a:pt x="914330" y="509892"/>
                </a:lnTo>
                <a:lnTo>
                  <a:pt x="914329" y="509892"/>
                </a:lnTo>
                <a:lnTo>
                  <a:pt x="912772" y="509892"/>
                </a:lnTo>
                <a:lnTo>
                  <a:pt x="909971" y="509892"/>
                </a:lnTo>
                <a:lnTo>
                  <a:pt x="909967" y="509892"/>
                </a:lnTo>
                <a:lnTo>
                  <a:pt x="909958" y="509892"/>
                </a:lnTo>
                <a:lnTo>
                  <a:pt x="909454" y="509892"/>
                </a:lnTo>
                <a:lnTo>
                  <a:pt x="905848" y="509892"/>
                </a:lnTo>
                <a:lnTo>
                  <a:pt x="905846" y="509892"/>
                </a:lnTo>
                <a:lnTo>
                  <a:pt x="905836" y="509892"/>
                </a:lnTo>
                <a:lnTo>
                  <a:pt x="905835" y="509892"/>
                </a:lnTo>
                <a:lnTo>
                  <a:pt x="901477" y="509892"/>
                </a:lnTo>
                <a:lnTo>
                  <a:pt x="901474" y="509892"/>
                </a:lnTo>
                <a:lnTo>
                  <a:pt x="901464" y="509892"/>
                </a:lnTo>
                <a:lnTo>
                  <a:pt x="899251" y="509892"/>
                </a:lnTo>
                <a:lnTo>
                  <a:pt x="899249" y="509892"/>
                </a:lnTo>
                <a:lnTo>
                  <a:pt x="894880" y="509892"/>
                </a:lnTo>
                <a:lnTo>
                  <a:pt x="894877" y="509892"/>
                </a:lnTo>
                <a:lnTo>
                  <a:pt x="891356" y="509892"/>
                </a:lnTo>
                <a:lnTo>
                  <a:pt x="891355" y="509892"/>
                </a:lnTo>
                <a:lnTo>
                  <a:pt x="882862" y="509892"/>
                </a:lnTo>
                <a:lnTo>
                  <a:pt x="882861" y="509892"/>
                </a:lnTo>
                <a:lnTo>
                  <a:pt x="880328" y="509892"/>
                </a:lnTo>
                <a:lnTo>
                  <a:pt x="876266" y="509892"/>
                </a:lnTo>
                <a:lnTo>
                  <a:pt x="876265" y="509892"/>
                </a:lnTo>
                <a:lnTo>
                  <a:pt x="873404" y="509892"/>
                </a:lnTo>
                <a:lnTo>
                  <a:pt x="873401" y="509892"/>
                </a:lnTo>
                <a:lnTo>
                  <a:pt x="871834" y="509892"/>
                </a:lnTo>
                <a:lnTo>
                  <a:pt x="869032" y="509892"/>
                </a:lnTo>
                <a:lnTo>
                  <a:pt x="869030" y="509892"/>
                </a:lnTo>
                <a:lnTo>
                  <a:pt x="866807" y="509892"/>
                </a:lnTo>
                <a:lnTo>
                  <a:pt x="866805" y="509892"/>
                </a:lnTo>
                <a:lnTo>
                  <a:pt x="865250" y="509892"/>
                </a:lnTo>
                <a:lnTo>
                  <a:pt x="865247" y="509892"/>
                </a:lnTo>
                <a:lnTo>
                  <a:pt x="865237" y="509892"/>
                </a:lnTo>
                <a:lnTo>
                  <a:pt x="862436" y="509892"/>
                </a:lnTo>
                <a:lnTo>
                  <a:pt x="862433" y="509892"/>
                </a:lnTo>
                <a:lnTo>
                  <a:pt x="861932" y="509892"/>
                </a:lnTo>
                <a:lnTo>
                  <a:pt x="861930" y="509892"/>
                </a:lnTo>
                <a:lnTo>
                  <a:pt x="858313" y="509892"/>
                </a:lnTo>
                <a:lnTo>
                  <a:pt x="858311" y="509892"/>
                </a:lnTo>
                <a:lnTo>
                  <a:pt x="853942" y="509892"/>
                </a:lnTo>
                <a:lnTo>
                  <a:pt x="853939" y="509892"/>
                </a:lnTo>
                <a:lnTo>
                  <a:pt x="853735" y="509892"/>
                </a:lnTo>
                <a:lnTo>
                  <a:pt x="853734" y="509892"/>
                </a:lnTo>
                <a:lnTo>
                  <a:pt x="850417" y="509892"/>
                </a:lnTo>
                <a:lnTo>
                  <a:pt x="850416" y="509892"/>
                </a:lnTo>
                <a:lnTo>
                  <a:pt x="847139" y="509892"/>
                </a:lnTo>
                <a:lnTo>
                  <a:pt x="847138" y="509892"/>
                </a:lnTo>
                <a:lnTo>
                  <a:pt x="846635" y="509892"/>
                </a:lnTo>
                <a:lnTo>
                  <a:pt x="846634" y="509892"/>
                </a:lnTo>
                <a:lnTo>
                  <a:pt x="843833" y="509892"/>
                </a:lnTo>
                <a:lnTo>
                  <a:pt x="843831" y="509892"/>
                </a:lnTo>
                <a:lnTo>
                  <a:pt x="843821" y="509892"/>
                </a:lnTo>
                <a:lnTo>
                  <a:pt x="843820" y="509892"/>
                </a:lnTo>
                <a:lnTo>
                  <a:pt x="842264" y="509892"/>
                </a:lnTo>
                <a:lnTo>
                  <a:pt x="838645" y="509892"/>
                </a:lnTo>
                <a:lnTo>
                  <a:pt x="838644" y="509892"/>
                </a:lnTo>
                <a:lnTo>
                  <a:pt x="835339" y="509892"/>
                </a:lnTo>
                <a:lnTo>
                  <a:pt x="835337" y="509892"/>
                </a:lnTo>
                <a:lnTo>
                  <a:pt x="835327" y="509892"/>
                </a:lnTo>
                <a:lnTo>
                  <a:pt x="835326" y="509892"/>
                </a:lnTo>
                <a:lnTo>
                  <a:pt x="832805" y="509892"/>
                </a:lnTo>
                <a:lnTo>
                  <a:pt x="832803" y="509892"/>
                </a:lnTo>
                <a:lnTo>
                  <a:pt x="828742" y="509892"/>
                </a:lnTo>
                <a:lnTo>
                  <a:pt x="828741" y="509892"/>
                </a:lnTo>
                <a:lnTo>
                  <a:pt x="824311" y="509892"/>
                </a:lnTo>
                <a:lnTo>
                  <a:pt x="824309" y="509892"/>
                </a:lnTo>
                <a:lnTo>
                  <a:pt x="817715" y="509892"/>
                </a:lnTo>
                <a:lnTo>
                  <a:pt x="817712" y="509892"/>
                </a:lnTo>
                <a:lnTo>
                  <a:pt x="814190" y="509892"/>
                </a:lnTo>
                <a:lnTo>
                  <a:pt x="809819" y="509892"/>
                </a:lnTo>
                <a:lnTo>
                  <a:pt x="806213" y="509892"/>
                </a:lnTo>
                <a:lnTo>
                  <a:pt x="806209" y="509892"/>
                </a:lnTo>
                <a:lnTo>
                  <a:pt x="806200" y="509892"/>
                </a:lnTo>
                <a:lnTo>
                  <a:pt x="805696" y="509892"/>
                </a:lnTo>
                <a:lnTo>
                  <a:pt x="802895" y="509892"/>
                </a:lnTo>
                <a:lnTo>
                  <a:pt x="802892" y="509892"/>
                </a:lnTo>
                <a:lnTo>
                  <a:pt x="801325" y="509892"/>
                </a:lnTo>
                <a:lnTo>
                  <a:pt x="799615" y="509892"/>
                </a:lnTo>
                <a:lnTo>
                  <a:pt x="799613" y="509892"/>
                </a:lnTo>
                <a:lnTo>
                  <a:pt x="799112" y="509892"/>
                </a:lnTo>
                <a:lnTo>
                  <a:pt x="799110" y="509892"/>
                </a:lnTo>
                <a:lnTo>
                  <a:pt x="799100" y="509892"/>
                </a:lnTo>
                <a:lnTo>
                  <a:pt x="799099" y="509892"/>
                </a:lnTo>
                <a:lnTo>
                  <a:pt x="796298" y="509892"/>
                </a:lnTo>
                <a:lnTo>
                  <a:pt x="796296" y="509892"/>
                </a:lnTo>
                <a:lnTo>
                  <a:pt x="794741" y="509892"/>
                </a:lnTo>
                <a:lnTo>
                  <a:pt x="794739" y="509892"/>
                </a:lnTo>
                <a:lnTo>
                  <a:pt x="794728" y="509892"/>
                </a:lnTo>
                <a:lnTo>
                  <a:pt x="791122" y="509892"/>
                </a:lnTo>
                <a:lnTo>
                  <a:pt x="791119" y="509892"/>
                </a:lnTo>
                <a:lnTo>
                  <a:pt x="787804" y="509892"/>
                </a:lnTo>
                <a:lnTo>
                  <a:pt x="787802" y="509892"/>
                </a:lnTo>
                <a:lnTo>
                  <a:pt x="787598" y="509892"/>
                </a:lnTo>
                <a:lnTo>
                  <a:pt x="787597" y="509892"/>
                </a:lnTo>
                <a:lnTo>
                  <a:pt x="783227" y="509892"/>
                </a:lnTo>
                <a:lnTo>
                  <a:pt x="783226" y="509892"/>
                </a:lnTo>
                <a:lnTo>
                  <a:pt x="781001" y="509892"/>
                </a:lnTo>
                <a:lnTo>
                  <a:pt x="781000" y="509892"/>
                </a:lnTo>
                <a:lnTo>
                  <a:pt x="776631" y="509892"/>
                </a:lnTo>
                <a:lnTo>
                  <a:pt x="776629" y="509892"/>
                </a:lnTo>
                <a:lnTo>
                  <a:pt x="776126" y="509892"/>
                </a:lnTo>
                <a:lnTo>
                  <a:pt x="776125" y="509892"/>
                </a:lnTo>
                <a:lnTo>
                  <a:pt x="772508" y="509892"/>
                </a:lnTo>
                <a:lnTo>
                  <a:pt x="772507" y="509892"/>
                </a:lnTo>
                <a:lnTo>
                  <a:pt x="768137" y="509892"/>
                </a:lnTo>
                <a:lnTo>
                  <a:pt x="768136" y="509892"/>
                </a:lnTo>
                <a:lnTo>
                  <a:pt x="766668" y="509892"/>
                </a:lnTo>
                <a:lnTo>
                  <a:pt x="766666" y="509892"/>
                </a:lnTo>
                <a:lnTo>
                  <a:pt x="762296" y="509892"/>
                </a:lnTo>
                <a:lnTo>
                  <a:pt x="762294" y="509892"/>
                </a:lnTo>
                <a:lnTo>
                  <a:pt x="758678" y="509892"/>
                </a:lnTo>
                <a:lnTo>
                  <a:pt x="758675" y="509892"/>
                </a:lnTo>
                <a:lnTo>
                  <a:pt x="758174" y="509892"/>
                </a:lnTo>
                <a:lnTo>
                  <a:pt x="758172" y="509892"/>
                </a:lnTo>
                <a:lnTo>
                  <a:pt x="753802" y="509892"/>
                </a:lnTo>
                <a:lnTo>
                  <a:pt x="753800" y="509892"/>
                </a:lnTo>
                <a:lnTo>
                  <a:pt x="751578" y="509892"/>
                </a:lnTo>
                <a:lnTo>
                  <a:pt x="751575" y="509892"/>
                </a:lnTo>
                <a:lnTo>
                  <a:pt x="747206" y="509892"/>
                </a:lnTo>
                <a:lnTo>
                  <a:pt x="747203" y="509892"/>
                </a:lnTo>
                <a:lnTo>
                  <a:pt x="746999" y="509892"/>
                </a:lnTo>
                <a:lnTo>
                  <a:pt x="743681" y="509892"/>
                </a:lnTo>
                <a:lnTo>
                  <a:pt x="740075" y="509892"/>
                </a:lnTo>
                <a:lnTo>
                  <a:pt x="740073" y="509892"/>
                </a:lnTo>
                <a:lnTo>
                  <a:pt x="740063" y="509892"/>
                </a:lnTo>
                <a:lnTo>
                  <a:pt x="740062" y="509892"/>
                </a:lnTo>
                <a:lnTo>
                  <a:pt x="738506" y="509892"/>
                </a:lnTo>
                <a:lnTo>
                  <a:pt x="735704" y="509892"/>
                </a:lnTo>
                <a:lnTo>
                  <a:pt x="735701" y="509892"/>
                </a:lnTo>
                <a:lnTo>
                  <a:pt x="735691" y="509892"/>
                </a:lnTo>
                <a:lnTo>
                  <a:pt x="735187" y="509892"/>
                </a:lnTo>
                <a:lnTo>
                  <a:pt x="733478" y="509892"/>
                </a:lnTo>
                <a:lnTo>
                  <a:pt x="733476" y="509892"/>
                </a:lnTo>
                <a:lnTo>
                  <a:pt x="731909" y="509892"/>
                </a:lnTo>
                <a:lnTo>
                  <a:pt x="731908" y="509892"/>
                </a:lnTo>
                <a:lnTo>
                  <a:pt x="729107" y="509892"/>
                </a:lnTo>
                <a:lnTo>
                  <a:pt x="729104" y="509892"/>
                </a:lnTo>
                <a:lnTo>
                  <a:pt x="728603" y="509892"/>
                </a:lnTo>
                <a:lnTo>
                  <a:pt x="728601" y="509892"/>
                </a:lnTo>
                <a:lnTo>
                  <a:pt x="728591" y="509892"/>
                </a:lnTo>
                <a:lnTo>
                  <a:pt x="728590" y="509892"/>
                </a:lnTo>
                <a:lnTo>
                  <a:pt x="724984" y="509892"/>
                </a:lnTo>
                <a:lnTo>
                  <a:pt x="724983" y="509892"/>
                </a:lnTo>
                <a:lnTo>
                  <a:pt x="720613" y="509892"/>
                </a:lnTo>
                <a:lnTo>
                  <a:pt x="720611" y="509892"/>
                </a:lnTo>
                <a:lnTo>
                  <a:pt x="717089" y="509892"/>
                </a:lnTo>
                <a:lnTo>
                  <a:pt x="717088" y="509892"/>
                </a:lnTo>
                <a:lnTo>
                  <a:pt x="710493" y="509892"/>
                </a:lnTo>
                <a:lnTo>
                  <a:pt x="710492" y="509892"/>
                </a:lnTo>
                <a:lnTo>
                  <a:pt x="706061" y="509892"/>
                </a:lnTo>
                <a:lnTo>
                  <a:pt x="701999" y="509892"/>
                </a:lnTo>
                <a:lnTo>
                  <a:pt x="701998" y="509892"/>
                </a:lnTo>
                <a:lnTo>
                  <a:pt x="699477" y="509892"/>
                </a:lnTo>
                <a:lnTo>
                  <a:pt x="699474" y="509892"/>
                </a:lnTo>
                <a:lnTo>
                  <a:pt x="699464" y="509892"/>
                </a:lnTo>
                <a:lnTo>
                  <a:pt x="696159" y="509892"/>
                </a:lnTo>
                <a:lnTo>
                  <a:pt x="696157" y="509892"/>
                </a:lnTo>
                <a:lnTo>
                  <a:pt x="692540" y="509892"/>
                </a:lnTo>
                <a:lnTo>
                  <a:pt x="692538" y="509892"/>
                </a:lnTo>
                <a:lnTo>
                  <a:pt x="690983" y="509892"/>
                </a:lnTo>
                <a:lnTo>
                  <a:pt x="690981" y="509892"/>
                </a:lnTo>
                <a:lnTo>
                  <a:pt x="690970" y="509892"/>
                </a:lnTo>
                <a:lnTo>
                  <a:pt x="688169" y="509892"/>
                </a:lnTo>
                <a:lnTo>
                  <a:pt x="688166" y="509892"/>
                </a:lnTo>
                <a:lnTo>
                  <a:pt x="687666" y="509892"/>
                </a:lnTo>
                <a:lnTo>
                  <a:pt x="687663" y="509892"/>
                </a:lnTo>
                <a:lnTo>
                  <a:pt x="684387" y="509892"/>
                </a:lnTo>
                <a:lnTo>
                  <a:pt x="684383" y="509892"/>
                </a:lnTo>
                <a:lnTo>
                  <a:pt x="681069" y="509892"/>
                </a:lnTo>
                <a:lnTo>
                  <a:pt x="681066" y="509892"/>
                </a:lnTo>
                <a:lnTo>
                  <a:pt x="680862" y="509892"/>
                </a:lnTo>
                <a:lnTo>
                  <a:pt x="680861" y="509892"/>
                </a:lnTo>
                <a:lnTo>
                  <a:pt x="676491" y="509892"/>
                </a:lnTo>
                <a:lnTo>
                  <a:pt x="672872" y="509892"/>
                </a:lnTo>
                <a:lnTo>
                  <a:pt x="672871" y="509892"/>
                </a:lnTo>
                <a:lnTo>
                  <a:pt x="672368" y="509892"/>
                </a:lnTo>
                <a:lnTo>
                  <a:pt x="672367" y="509892"/>
                </a:lnTo>
                <a:lnTo>
                  <a:pt x="669566" y="509892"/>
                </a:lnTo>
                <a:lnTo>
                  <a:pt x="669564" y="509892"/>
                </a:lnTo>
                <a:lnTo>
                  <a:pt x="669554" y="509892"/>
                </a:lnTo>
                <a:lnTo>
                  <a:pt x="669553" y="509892"/>
                </a:lnTo>
                <a:lnTo>
                  <a:pt x="667997" y="509892"/>
                </a:lnTo>
                <a:lnTo>
                  <a:pt x="665772" y="509892"/>
                </a:lnTo>
                <a:lnTo>
                  <a:pt x="665771" y="509892"/>
                </a:lnTo>
                <a:lnTo>
                  <a:pt x="662969" y="509892"/>
                </a:lnTo>
                <a:lnTo>
                  <a:pt x="662968" y="509892"/>
                </a:lnTo>
                <a:lnTo>
                  <a:pt x="661401" y="509892"/>
                </a:lnTo>
                <a:lnTo>
                  <a:pt x="661400" y="509892"/>
                </a:lnTo>
                <a:lnTo>
                  <a:pt x="658538" y="509892"/>
                </a:lnTo>
                <a:lnTo>
                  <a:pt x="658536" y="509892"/>
                </a:lnTo>
                <a:lnTo>
                  <a:pt x="654475" y="509892"/>
                </a:lnTo>
                <a:lnTo>
                  <a:pt x="654474" y="509892"/>
                </a:lnTo>
                <a:lnTo>
                  <a:pt x="651942" y="509892"/>
                </a:lnTo>
                <a:lnTo>
                  <a:pt x="651939" y="509892"/>
                </a:lnTo>
                <a:lnTo>
                  <a:pt x="643448" y="509892"/>
                </a:lnTo>
                <a:lnTo>
                  <a:pt x="643445" y="509892"/>
                </a:lnTo>
                <a:lnTo>
                  <a:pt x="639923" y="509892"/>
                </a:lnTo>
                <a:lnTo>
                  <a:pt x="635552" y="509892"/>
                </a:lnTo>
                <a:lnTo>
                  <a:pt x="633339" y="509892"/>
                </a:lnTo>
                <a:lnTo>
                  <a:pt x="633337" y="509892"/>
                </a:lnTo>
                <a:lnTo>
                  <a:pt x="633327" y="509892"/>
                </a:lnTo>
                <a:lnTo>
                  <a:pt x="633326" y="509892"/>
                </a:lnTo>
                <a:lnTo>
                  <a:pt x="628968" y="509892"/>
                </a:lnTo>
                <a:lnTo>
                  <a:pt x="628966" y="509892"/>
                </a:lnTo>
                <a:lnTo>
                  <a:pt x="628955" y="509892"/>
                </a:lnTo>
                <a:lnTo>
                  <a:pt x="625349" y="509892"/>
                </a:lnTo>
                <a:lnTo>
                  <a:pt x="625346" y="509892"/>
                </a:lnTo>
                <a:lnTo>
                  <a:pt x="624845" y="509892"/>
                </a:lnTo>
                <a:lnTo>
                  <a:pt x="624843" y="509892"/>
                </a:lnTo>
                <a:lnTo>
                  <a:pt x="624833" y="509892"/>
                </a:lnTo>
                <a:lnTo>
                  <a:pt x="624832" y="509892"/>
                </a:lnTo>
                <a:lnTo>
                  <a:pt x="622031" y="509892"/>
                </a:lnTo>
                <a:lnTo>
                  <a:pt x="622029" y="509892"/>
                </a:lnTo>
                <a:lnTo>
                  <a:pt x="620474" y="509892"/>
                </a:lnTo>
                <a:lnTo>
                  <a:pt x="620472" y="509892"/>
                </a:lnTo>
                <a:lnTo>
                  <a:pt x="620461" y="509892"/>
                </a:lnTo>
                <a:lnTo>
                  <a:pt x="618249" y="509892"/>
                </a:lnTo>
                <a:lnTo>
                  <a:pt x="618247" y="509892"/>
                </a:lnTo>
                <a:lnTo>
                  <a:pt x="610353" y="509892"/>
                </a:lnTo>
                <a:lnTo>
                  <a:pt x="610352" y="509892"/>
                </a:lnTo>
                <a:lnTo>
                  <a:pt x="606735" y="509892"/>
                </a:lnTo>
                <a:lnTo>
                  <a:pt x="606734" y="509892"/>
                </a:lnTo>
                <a:lnTo>
                  <a:pt x="602364" y="509892"/>
                </a:lnTo>
                <a:lnTo>
                  <a:pt x="602363" y="509892"/>
                </a:lnTo>
                <a:lnTo>
                  <a:pt x="592401" y="509892"/>
                </a:lnTo>
                <a:lnTo>
                  <a:pt x="592399" y="509892"/>
                </a:lnTo>
                <a:lnTo>
                  <a:pt x="588029" y="509892"/>
                </a:lnTo>
                <a:lnTo>
                  <a:pt x="588027" y="509892"/>
                </a:lnTo>
                <a:lnTo>
                  <a:pt x="585805" y="509892"/>
                </a:lnTo>
                <a:lnTo>
                  <a:pt x="585802" y="509892"/>
                </a:lnTo>
                <a:lnTo>
                  <a:pt x="581433" y="509892"/>
                </a:lnTo>
                <a:lnTo>
                  <a:pt x="581430" y="509892"/>
                </a:lnTo>
                <a:lnTo>
                  <a:pt x="572733" y="509892"/>
                </a:lnTo>
                <a:lnTo>
                  <a:pt x="569414" y="509892"/>
                </a:lnTo>
                <a:lnTo>
                  <a:pt x="566136" y="509892"/>
                </a:lnTo>
                <a:lnTo>
                  <a:pt x="566135" y="509892"/>
                </a:lnTo>
                <a:lnTo>
                  <a:pt x="562830" y="509892"/>
                </a:lnTo>
                <a:lnTo>
                  <a:pt x="562828" y="509892"/>
                </a:lnTo>
                <a:lnTo>
                  <a:pt x="562818" y="509892"/>
                </a:lnTo>
                <a:lnTo>
                  <a:pt x="562817" y="509892"/>
                </a:lnTo>
                <a:lnTo>
                  <a:pt x="559211" y="509892"/>
                </a:lnTo>
                <a:lnTo>
                  <a:pt x="559210" y="509892"/>
                </a:lnTo>
                <a:lnTo>
                  <a:pt x="554840" y="509892"/>
                </a:lnTo>
                <a:lnTo>
                  <a:pt x="554838" y="509892"/>
                </a:lnTo>
                <a:lnTo>
                  <a:pt x="536226" y="509892"/>
                </a:lnTo>
                <a:lnTo>
                  <a:pt x="536225" y="509892"/>
                </a:lnTo>
                <a:lnTo>
                  <a:pt x="525210" y="509892"/>
                </a:lnTo>
                <a:lnTo>
                  <a:pt x="525208" y="509892"/>
                </a:lnTo>
                <a:lnTo>
                  <a:pt x="525197" y="509892"/>
                </a:lnTo>
                <a:lnTo>
                  <a:pt x="521893" y="509892"/>
                </a:lnTo>
                <a:lnTo>
                  <a:pt x="521890" y="509892"/>
                </a:lnTo>
                <a:lnTo>
                  <a:pt x="518614" y="509892"/>
                </a:lnTo>
                <a:lnTo>
                  <a:pt x="518610" y="509892"/>
                </a:lnTo>
                <a:lnTo>
                  <a:pt x="515296" y="509892"/>
                </a:lnTo>
                <a:lnTo>
                  <a:pt x="515293" y="509892"/>
                </a:lnTo>
                <a:lnTo>
                  <a:pt x="506595" y="509892"/>
                </a:lnTo>
                <a:lnTo>
                  <a:pt x="506594" y="509892"/>
                </a:lnTo>
                <a:lnTo>
                  <a:pt x="502224" y="509892"/>
                </a:lnTo>
                <a:lnTo>
                  <a:pt x="499999" y="509892"/>
                </a:lnTo>
                <a:lnTo>
                  <a:pt x="499998" y="509892"/>
                </a:lnTo>
                <a:lnTo>
                  <a:pt x="495628" y="509892"/>
                </a:lnTo>
                <a:lnTo>
                  <a:pt x="495627" y="509892"/>
                </a:lnTo>
                <a:lnTo>
                  <a:pt x="488702" y="509892"/>
                </a:lnTo>
                <a:lnTo>
                  <a:pt x="488701" y="509892"/>
                </a:lnTo>
                <a:lnTo>
                  <a:pt x="477675" y="509892"/>
                </a:lnTo>
                <a:lnTo>
                  <a:pt x="477672" y="509892"/>
                </a:lnTo>
                <a:lnTo>
                  <a:pt x="459072" y="509892"/>
                </a:lnTo>
                <a:lnTo>
                  <a:pt x="459070" y="509892"/>
                </a:lnTo>
                <a:lnTo>
                  <a:pt x="459060" y="509892"/>
                </a:lnTo>
                <a:lnTo>
                  <a:pt x="459059" y="509892"/>
                </a:lnTo>
                <a:lnTo>
                  <a:pt x="454701" y="509892"/>
                </a:lnTo>
                <a:lnTo>
                  <a:pt x="454699" y="509892"/>
                </a:lnTo>
                <a:lnTo>
                  <a:pt x="454688" y="509892"/>
                </a:lnTo>
                <a:lnTo>
                  <a:pt x="452476" y="509892"/>
                </a:lnTo>
                <a:lnTo>
                  <a:pt x="452474" y="509892"/>
                </a:lnTo>
                <a:lnTo>
                  <a:pt x="254947" y="509891"/>
                </a:lnTo>
                <a:cubicBezTo>
                  <a:pt x="131743" y="509891"/>
                  <a:pt x="28953" y="422501"/>
                  <a:pt x="5179" y="306326"/>
                </a:cubicBezTo>
                <a:lnTo>
                  <a:pt x="0" y="254947"/>
                </a:lnTo>
                <a:lnTo>
                  <a:pt x="5179" y="203566"/>
                </a:lnTo>
                <a:cubicBezTo>
                  <a:pt x="28953" y="87392"/>
                  <a:pt x="131743" y="0"/>
                  <a:pt x="254947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0383" y="3157478"/>
            <a:ext cx="1048656" cy="131082"/>
          </a:xfrm>
          <a:prstGeom prst="rect">
            <a:avLst/>
          </a:prstGeom>
        </p:spPr>
      </p:pic>
      <p:sp>
        <p:nvSpPr>
          <p:cNvPr id="64" name="Полилиния 63"/>
          <p:cNvSpPr/>
          <p:nvPr/>
        </p:nvSpPr>
        <p:spPr>
          <a:xfrm>
            <a:off x="5942111" y="3493024"/>
            <a:ext cx="952779" cy="383345"/>
          </a:xfrm>
          <a:custGeom>
            <a:avLst/>
            <a:gdLst>
              <a:gd name="connsiteX0" fmla="*/ 254947 w 1337274"/>
              <a:gd name="connsiteY0" fmla="*/ 0 h 509892"/>
              <a:gd name="connsiteX1" fmla="*/ 255223 w 1337274"/>
              <a:gd name="connsiteY1" fmla="*/ 0 h 509892"/>
              <a:gd name="connsiteX2" fmla="*/ 257162 w 1337274"/>
              <a:gd name="connsiteY2" fmla="*/ 0 h 509892"/>
              <a:gd name="connsiteX3" fmla="*/ 257172 w 1337274"/>
              <a:gd name="connsiteY3" fmla="*/ 0 h 509892"/>
              <a:gd name="connsiteX4" fmla="*/ 261533 w 1337274"/>
              <a:gd name="connsiteY4" fmla="*/ 0 h 509892"/>
              <a:gd name="connsiteX5" fmla="*/ 261544 w 1337274"/>
              <a:gd name="connsiteY5" fmla="*/ 0 h 509892"/>
              <a:gd name="connsiteX6" fmla="*/ 273836 w 1337274"/>
              <a:gd name="connsiteY6" fmla="*/ 0 h 509892"/>
              <a:gd name="connsiteX7" fmla="*/ 278208 w 1337274"/>
              <a:gd name="connsiteY7" fmla="*/ 0 h 509892"/>
              <a:gd name="connsiteX8" fmla="*/ 280145 w 1337274"/>
              <a:gd name="connsiteY8" fmla="*/ 0 h 509892"/>
              <a:gd name="connsiteX9" fmla="*/ 291174 w 1337274"/>
              <a:gd name="connsiteY9" fmla="*/ 0 h 509892"/>
              <a:gd name="connsiteX10" fmla="*/ 298100 w 1337274"/>
              <a:gd name="connsiteY10" fmla="*/ 0 h 509892"/>
              <a:gd name="connsiteX11" fmla="*/ 302471 w 1337274"/>
              <a:gd name="connsiteY11" fmla="*/ 0 h 509892"/>
              <a:gd name="connsiteX12" fmla="*/ 304697 w 1337274"/>
              <a:gd name="connsiteY12" fmla="*/ 0 h 509892"/>
              <a:gd name="connsiteX13" fmla="*/ 309068 w 1337274"/>
              <a:gd name="connsiteY13" fmla="*/ 0 h 509892"/>
              <a:gd name="connsiteX14" fmla="*/ 317767 w 1337274"/>
              <a:gd name="connsiteY14" fmla="*/ 0 h 509892"/>
              <a:gd name="connsiteX15" fmla="*/ 321084 w 1337274"/>
              <a:gd name="connsiteY15" fmla="*/ 0 h 509892"/>
              <a:gd name="connsiteX16" fmla="*/ 321361 w 1337274"/>
              <a:gd name="connsiteY16" fmla="*/ 0 h 509892"/>
              <a:gd name="connsiteX17" fmla="*/ 324363 w 1337274"/>
              <a:gd name="connsiteY17" fmla="*/ 0 h 509892"/>
              <a:gd name="connsiteX18" fmla="*/ 325732 w 1337274"/>
              <a:gd name="connsiteY18" fmla="*/ 0 h 509892"/>
              <a:gd name="connsiteX19" fmla="*/ 327670 w 1337274"/>
              <a:gd name="connsiteY19" fmla="*/ 0 h 509892"/>
              <a:gd name="connsiteX20" fmla="*/ 327680 w 1337274"/>
              <a:gd name="connsiteY20" fmla="*/ 0 h 509892"/>
              <a:gd name="connsiteX21" fmla="*/ 338698 w 1337274"/>
              <a:gd name="connsiteY21" fmla="*/ 0 h 509892"/>
              <a:gd name="connsiteX22" fmla="*/ 341028 w 1337274"/>
              <a:gd name="connsiteY22" fmla="*/ 0 h 509892"/>
              <a:gd name="connsiteX23" fmla="*/ 344345 w 1337274"/>
              <a:gd name="connsiteY23" fmla="*/ 0 h 509892"/>
              <a:gd name="connsiteX24" fmla="*/ 357311 w 1337274"/>
              <a:gd name="connsiteY24" fmla="*/ 0 h 509892"/>
              <a:gd name="connsiteX25" fmla="*/ 361682 w 1337274"/>
              <a:gd name="connsiteY25" fmla="*/ 0 h 509892"/>
              <a:gd name="connsiteX26" fmla="*/ 365291 w 1337274"/>
              <a:gd name="connsiteY26" fmla="*/ 0 h 509892"/>
              <a:gd name="connsiteX27" fmla="*/ 365302 w 1337274"/>
              <a:gd name="connsiteY27" fmla="*/ 0 h 509892"/>
              <a:gd name="connsiteX28" fmla="*/ 368609 w 1337274"/>
              <a:gd name="connsiteY28" fmla="*/ 0 h 509892"/>
              <a:gd name="connsiteX29" fmla="*/ 371887 w 1337274"/>
              <a:gd name="connsiteY29" fmla="*/ 0 h 509892"/>
              <a:gd name="connsiteX30" fmla="*/ 375205 w 1337274"/>
              <a:gd name="connsiteY30" fmla="*/ 0 h 509892"/>
              <a:gd name="connsiteX31" fmla="*/ 381966 w 1337274"/>
              <a:gd name="connsiteY31" fmla="*/ 0 h 509892"/>
              <a:gd name="connsiteX32" fmla="*/ 383903 w 1337274"/>
              <a:gd name="connsiteY32" fmla="*/ 0 h 509892"/>
              <a:gd name="connsiteX33" fmla="*/ 388275 w 1337274"/>
              <a:gd name="connsiteY33" fmla="*/ 0 h 509892"/>
              <a:gd name="connsiteX34" fmla="*/ 388551 w 1337274"/>
              <a:gd name="connsiteY34" fmla="*/ 0 h 509892"/>
              <a:gd name="connsiteX35" fmla="*/ 388562 w 1337274"/>
              <a:gd name="connsiteY35" fmla="*/ 0 h 509892"/>
              <a:gd name="connsiteX36" fmla="*/ 390501 w 1337274"/>
              <a:gd name="connsiteY36" fmla="*/ 0 h 509892"/>
              <a:gd name="connsiteX37" fmla="*/ 391870 w 1337274"/>
              <a:gd name="connsiteY37" fmla="*/ 0 h 509892"/>
              <a:gd name="connsiteX38" fmla="*/ 394872 w 1337274"/>
              <a:gd name="connsiteY38" fmla="*/ 0 h 509892"/>
              <a:gd name="connsiteX39" fmla="*/ 404836 w 1337274"/>
              <a:gd name="connsiteY39" fmla="*/ 0 h 509892"/>
              <a:gd name="connsiteX40" fmla="*/ 407164 w 1337274"/>
              <a:gd name="connsiteY40" fmla="*/ 0 h 509892"/>
              <a:gd name="connsiteX41" fmla="*/ 409206 w 1337274"/>
              <a:gd name="connsiteY41" fmla="*/ 0 h 509892"/>
              <a:gd name="connsiteX42" fmla="*/ 411536 w 1337274"/>
              <a:gd name="connsiteY42" fmla="*/ 0 h 509892"/>
              <a:gd name="connsiteX43" fmla="*/ 412826 w 1337274"/>
              <a:gd name="connsiteY43" fmla="*/ 0 h 509892"/>
              <a:gd name="connsiteX44" fmla="*/ 420720 w 1337274"/>
              <a:gd name="connsiteY44" fmla="*/ 0 h 509892"/>
              <a:gd name="connsiteX45" fmla="*/ 420996 w 1337274"/>
              <a:gd name="connsiteY45" fmla="*/ 0 h 509892"/>
              <a:gd name="connsiteX46" fmla="*/ 422935 w 1337274"/>
              <a:gd name="connsiteY46" fmla="*/ 0 h 509892"/>
              <a:gd name="connsiteX47" fmla="*/ 422945 w 1337274"/>
              <a:gd name="connsiteY47" fmla="*/ 0 h 509892"/>
              <a:gd name="connsiteX48" fmla="*/ 424503 w 1337274"/>
              <a:gd name="connsiteY48" fmla="*/ 0 h 509892"/>
              <a:gd name="connsiteX49" fmla="*/ 427306 w 1337274"/>
              <a:gd name="connsiteY49" fmla="*/ 0 h 509892"/>
              <a:gd name="connsiteX50" fmla="*/ 427317 w 1337274"/>
              <a:gd name="connsiteY50" fmla="*/ 0 h 509892"/>
              <a:gd name="connsiteX51" fmla="*/ 427820 w 1337274"/>
              <a:gd name="connsiteY51" fmla="*/ 0 h 509892"/>
              <a:gd name="connsiteX52" fmla="*/ 429490 w 1337274"/>
              <a:gd name="connsiteY52" fmla="*/ 0 h 509892"/>
              <a:gd name="connsiteX53" fmla="*/ 431428 w 1337274"/>
              <a:gd name="connsiteY53" fmla="*/ 0 h 509892"/>
              <a:gd name="connsiteX54" fmla="*/ 431438 w 1337274"/>
              <a:gd name="connsiteY54" fmla="*/ 0 h 509892"/>
              <a:gd name="connsiteX55" fmla="*/ 435799 w 1337274"/>
              <a:gd name="connsiteY55" fmla="*/ 0 h 509892"/>
              <a:gd name="connsiteX56" fmla="*/ 435810 w 1337274"/>
              <a:gd name="connsiteY56" fmla="*/ 0 h 509892"/>
              <a:gd name="connsiteX57" fmla="*/ 436086 w 1337274"/>
              <a:gd name="connsiteY57" fmla="*/ 0 h 509892"/>
              <a:gd name="connsiteX58" fmla="*/ 438026 w 1337274"/>
              <a:gd name="connsiteY58" fmla="*/ 0 h 509892"/>
              <a:gd name="connsiteX59" fmla="*/ 439609 w 1337274"/>
              <a:gd name="connsiteY59" fmla="*/ 0 h 509892"/>
              <a:gd name="connsiteX60" fmla="*/ 442396 w 1337274"/>
              <a:gd name="connsiteY60" fmla="*/ 0 h 509892"/>
              <a:gd name="connsiteX61" fmla="*/ 443981 w 1337274"/>
              <a:gd name="connsiteY61" fmla="*/ 0 h 509892"/>
              <a:gd name="connsiteX62" fmla="*/ 445918 w 1337274"/>
              <a:gd name="connsiteY62" fmla="*/ 0 h 509892"/>
              <a:gd name="connsiteX63" fmla="*/ 448103 w 1337274"/>
              <a:gd name="connsiteY63" fmla="*/ 0 h 509892"/>
              <a:gd name="connsiteX64" fmla="*/ 452475 w 1337274"/>
              <a:gd name="connsiteY64" fmla="*/ 0 h 509892"/>
              <a:gd name="connsiteX65" fmla="*/ 454412 w 1337274"/>
              <a:gd name="connsiteY65" fmla="*/ 0 h 509892"/>
              <a:gd name="connsiteX66" fmla="*/ 454689 w 1337274"/>
              <a:gd name="connsiteY66" fmla="*/ 0 h 509892"/>
              <a:gd name="connsiteX67" fmla="*/ 454699 w 1337274"/>
              <a:gd name="connsiteY67" fmla="*/ 0 h 509892"/>
              <a:gd name="connsiteX68" fmla="*/ 456947 w 1337274"/>
              <a:gd name="connsiteY68" fmla="*/ 0 h 509892"/>
              <a:gd name="connsiteX69" fmla="*/ 459060 w 1337274"/>
              <a:gd name="connsiteY69" fmla="*/ 0 h 509892"/>
              <a:gd name="connsiteX70" fmla="*/ 459071 w 1337274"/>
              <a:gd name="connsiteY70" fmla="*/ 0 h 509892"/>
              <a:gd name="connsiteX71" fmla="*/ 461009 w 1337274"/>
              <a:gd name="connsiteY71" fmla="*/ 0 h 509892"/>
              <a:gd name="connsiteX72" fmla="*/ 463873 w 1337274"/>
              <a:gd name="connsiteY72" fmla="*/ 0 h 509892"/>
              <a:gd name="connsiteX73" fmla="*/ 465440 w 1337274"/>
              <a:gd name="connsiteY73" fmla="*/ 0 h 509892"/>
              <a:gd name="connsiteX74" fmla="*/ 468244 w 1337274"/>
              <a:gd name="connsiteY74" fmla="*/ 0 h 509892"/>
              <a:gd name="connsiteX75" fmla="*/ 470470 w 1337274"/>
              <a:gd name="connsiteY75" fmla="*/ 0 h 509892"/>
              <a:gd name="connsiteX76" fmla="*/ 472027 w 1337274"/>
              <a:gd name="connsiteY76" fmla="*/ 0 h 509892"/>
              <a:gd name="connsiteX77" fmla="*/ 472038 w 1337274"/>
              <a:gd name="connsiteY77" fmla="*/ 0 h 509892"/>
              <a:gd name="connsiteX78" fmla="*/ 474841 w 1337274"/>
              <a:gd name="connsiteY78" fmla="*/ 0 h 509892"/>
              <a:gd name="connsiteX79" fmla="*/ 475345 w 1337274"/>
              <a:gd name="connsiteY79" fmla="*/ 0 h 509892"/>
              <a:gd name="connsiteX80" fmla="*/ 477673 w 1337274"/>
              <a:gd name="connsiteY80" fmla="*/ 0 h 509892"/>
              <a:gd name="connsiteX81" fmla="*/ 478963 w 1337274"/>
              <a:gd name="connsiteY81" fmla="*/ 0 h 509892"/>
              <a:gd name="connsiteX82" fmla="*/ 483334 w 1337274"/>
              <a:gd name="connsiteY82" fmla="*/ 0 h 509892"/>
              <a:gd name="connsiteX83" fmla="*/ 483540 w 1337274"/>
              <a:gd name="connsiteY83" fmla="*/ 0 h 509892"/>
              <a:gd name="connsiteX84" fmla="*/ 486857 w 1337274"/>
              <a:gd name="connsiteY84" fmla="*/ 0 h 509892"/>
              <a:gd name="connsiteX85" fmla="*/ 487134 w 1337274"/>
              <a:gd name="connsiteY85" fmla="*/ 0 h 509892"/>
              <a:gd name="connsiteX86" fmla="*/ 488701 w 1337274"/>
              <a:gd name="connsiteY86" fmla="*/ 0 h 509892"/>
              <a:gd name="connsiteX87" fmla="*/ 490136 w 1337274"/>
              <a:gd name="connsiteY87" fmla="*/ 0 h 509892"/>
              <a:gd name="connsiteX88" fmla="*/ 490639 w 1337274"/>
              <a:gd name="connsiteY88" fmla="*/ 0 h 509892"/>
              <a:gd name="connsiteX89" fmla="*/ 491505 w 1337274"/>
              <a:gd name="connsiteY89" fmla="*/ 0 h 509892"/>
              <a:gd name="connsiteX90" fmla="*/ 493443 w 1337274"/>
              <a:gd name="connsiteY90" fmla="*/ 0 h 509892"/>
              <a:gd name="connsiteX91" fmla="*/ 493453 w 1337274"/>
              <a:gd name="connsiteY91" fmla="*/ 0 h 509892"/>
              <a:gd name="connsiteX92" fmla="*/ 495012 w 1337274"/>
              <a:gd name="connsiteY92" fmla="*/ 0 h 509892"/>
              <a:gd name="connsiteX93" fmla="*/ 495628 w 1337274"/>
              <a:gd name="connsiteY93" fmla="*/ 0 h 509892"/>
              <a:gd name="connsiteX94" fmla="*/ 498630 w 1337274"/>
              <a:gd name="connsiteY94" fmla="*/ 0 h 509892"/>
              <a:gd name="connsiteX95" fmla="*/ 499999 w 1337274"/>
              <a:gd name="connsiteY95" fmla="*/ 0 h 509892"/>
              <a:gd name="connsiteX96" fmla="*/ 501937 w 1337274"/>
              <a:gd name="connsiteY96" fmla="*/ 0 h 509892"/>
              <a:gd name="connsiteX97" fmla="*/ 501947 w 1337274"/>
              <a:gd name="connsiteY97" fmla="*/ 0 h 509892"/>
              <a:gd name="connsiteX98" fmla="*/ 502224 w 1337274"/>
              <a:gd name="connsiteY98" fmla="*/ 0 h 509892"/>
              <a:gd name="connsiteX99" fmla="*/ 504471 w 1337274"/>
              <a:gd name="connsiteY99" fmla="*/ 0 h 509892"/>
              <a:gd name="connsiteX100" fmla="*/ 506595 w 1337274"/>
              <a:gd name="connsiteY100" fmla="*/ 0 h 509892"/>
              <a:gd name="connsiteX101" fmla="*/ 506801 w 1337274"/>
              <a:gd name="connsiteY101" fmla="*/ 0 h 509892"/>
              <a:gd name="connsiteX102" fmla="*/ 508534 w 1337274"/>
              <a:gd name="connsiteY102" fmla="*/ 0 h 509892"/>
              <a:gd name="connsiteX103" fmla="*/ 510118 w 1337274"/>
              <a:gd name="connsiteY103" fmla="*/ 0 h 509892"/>
              <a:gd name="connsiteX104" fmla="*/ 512964 w 1337274"/>
              <a:gd name="connsiteY104" fmla="*/ 0 h 509892"/>
              <a:gd name="connsiteX105" fmla="*/ 515294 w 1337274"/>
              <a:gd name="connsiteY105" fmla="*/ 0 h 509892"/>
              <a:gd name="connsiteX106" fmla="*/ 518611 w 1337274"/>
              <a:gd name="connsiteY106" fmla="*/ 0 h 509892"/>
              <a:gd name="connsiteX107" fmla="*/ 519562 w 1337274"/>
              <a:gd name="connsiteY107" fmla="*/ 0 h 509892"/>
              <a:gd name="connsiteX108" fmla="*/ 521890 w 1337274"/>
              <a:gd name="connsiteY108" fmla="*/ 0 h 509892"/>
              <a:gd name="connsiteX109" fmla="*/ 523084 w 1337274"/>
              <a:gd name="connsiteY109" fmla="*/ 0 h 509892"/>
              <a:gd name="connsiteX110" fmla="*/ 525198 w 1337274"/>
              <a:gd name="connsiteY110" fmla="*/ 0 h 509892"/>
              <a:gd name="connsiteX111" fmla="*/ 525208 w 1337274"/>
              <a:gd name="connsiteY111" fmla="*/ 0 h 509892"/>
              <a:gd name="connsiteX112" fmla="*/ 527455 w 1337274"/>
              <a:gd name="connsiteY112" fmla="*/ 0 h 509892"/>
              <a:gd name="connsiteX113" fmla="*/ 531064 w 1337274"/>
              <a:gd name="connsiteY113" fmla="*/ 0 h 509892"/>
              <a:gd name="connsiteX114" fmla="*/ 531075 w 1337274"/>
              <a:gd name="connsiteY114" fmla="*/ 0 h 509892"/>
              <a:gd name="connsiteX115" fmla="*/ 531578 w 1337274"/>
              <a:gd name="connsiteY115" fmla="*/ 0 h 509892"/>
              <a:gd name="connsiteX116" fmla="*/ 534382 w 1337274"/>
              <a:gd name="connsiteY116" fmla="*/ 0 h 509892"/>
              <a:gd name="connsiteX117" fmla="*/ 535949 w 1337274"/>
              <a:gd name="connsiteY117" fmla="*/ 0 h 509892"/>
              <a:gd name="connsiteX118" fmla="*/ 536226 w 1337274"/>
              <a:gd name="connsiteY118" fmla="*/ 0 h 509892"/>
              <a:gd name="connsiteX119" fmla="*/ 537660 w 1337274"/>
              <a:gd name="connsiteY119" fmla="*/ 0 h 509892"/>
              <a:gd name="connsiteX120" fmla="*/ 538165 w 1337274"/>
              <a:gd name="connsiteY120" fmla="*/ 0 h 509892"/>
              <a:gd name="connsiteX121" fmla="*/ 538174 w 1337274"/>
              <a:gd name="connsiteY121" fmla="*/ 0 h 509892"/>
              <a:gd name="connsiteX122" fmla="*/ 540978 w 1337274"/>
              <a:gd name="connsiteY122" fmla="*/ 0 h 509892"/>
              <a:gd name="connsiteX123" fmla="*/ 542535 w 1337274"/>
              <a:gd name="connsiteY123" fmla="*/ 0 h 509892"/>
              <a:gd name="connsiteX124" fmla="*/ 542546 w 1337274"/>
              <a:gd name="connsiteY124" fmla="*/ 0 h 509892"/>
              <a:gd name="connsiteX125" fmla="*/ 546154 w 1337274"/>
              <a:gd name="connsiteY125" fmla="*/ 0 h 509892"/>
              <a:gd name="connsiteX126" fmla="*/ 547739 w 1337274"/>
              <a:gd name="connsiteY126" fmla="*/ 0 h 509892"/>
              <a:gd name="connsiteX127" fmla="*/ 549472 w 1337274"/>
              <a:gd name="connsiteY127" fmla="*/ 0 h 509892"/>
              <a:gd name="connsiteX128" fmla="*/ 549676 w 1337274"/>
              <a:gd name="connsiteY128" fmla="*/ 0 h 509892"/>
              <a:gd name="connsiteX129" fmla="*/ 554048 w 1337274"/>
              <a:gd name="connsiteY129" fmla="*/ 0 h 509892"/>
              <a:gd name="connsiteX130" fmla="*/ 554324 w 1337274"/>
              <a:gd name="connsiteY130" fmla="*/ 0 h 509892"/>
              <a:gd name="connsiteX131" fmla="*/ 554335 w 1337274"/>
              <a:gd name="connsiteY131" fmla="*/ 0 h 509892"/>
              <a:gd name="connsiteX132" fmla="*/ 554839 w 1337274"/>
              <a:gd name="connsiteY132" fmla="*/ 0 h 509892"/>
              <a:gd name="connsiteX133" fmla="*/ 556274 w 1337274"/>
              <a:gd name="connsiteY133" fmla="*/ 0 h 509892"/>
              <a:gd name="connsiteX134" fmla="*/ 557643 w 1337274"/>
              <a:gd name="connsiteY134" fmla="*/ 0 h 509892"/>
              <a:gd name="connsiteX135" fmla="*/ 559210 w 1337274"/>
              <a:gd name="connsiteY135" fmla="*/ 0 h 509892"/>
              <a:gd name="connsiteX136" fmla="*/ 560645 w 1337274"/>
              <a:gd name="connsiteY136" fmla="*/ 0 h 509892"/>
              <a:gd name="connsiteX137" fmla="*/ 561148 w 1337274"/>
              <a:gd name="connsiteY137" fmla="*/ 0 h 509892"/>
              <a:gd name="connsiteX138" fmla="*/ 562818 w 1337274"/>
              <a:gd name="connsiteY138" fmla="*/ 0 h 509892"/>
              <a:gd name="connsiteX139" fmla="*/ 562829 w 1337274"/>
              <a:gd name="connsiteY139" fmla="*/ 0 h 509892"/>
              <a:gd name="connsiteX140" fmla="*/ 564768 w 1337274"/>
              <a:gd name="connsiteY140" fmla="*/ 0 h 509892"/>
              <a:gd name="connsiteX141" fmla="*/ 566136 w 1337274"/>
              <a:gd name="connsiteY141" fmla="*/ 0 h 509892"/>
              <a:gd name="connsiteX142" fmla="*/ 569138 w 1337274"/>
              <a:gd name="connsiteY142" fmla="*/ 0 h 509892"/>
              <a:gd name="connsiteX143" fmla="*/ 569414 w 1337274"/>
              <a:gd name="connsiteY143" fmla="*/ 0 h 509892"/>
              <a:gd name="connsiteX144" fmla="*/ 570609 w 1337274"/>
              <a:gd name="connsiteY144" fmla="*/ 0 h 509892"/>
              <a:gd name="connsiteX145" fmla="*/ 572733 w 1337274"/>
              <a:gd name="connsiteY145" fmla="*/ 0 h 509892"/>
              <a:gd name="connsiteX146" fmla="*/ 572937 w 1337274"/>
              <a:gd name="connsiteY146" fmla="*/ 0 h 509892"/>
              <a:gd name="connsiteX147" fmla="*/ 574979 w 1337274"/>
              <a:gd name="connsiteY147" fmla="*/ 0 h 509892"/>
              <a:gd name="connsiteX148" fmla="*/ 577309 w 1337274"/>
              <a:gd name="connsiteY148" fmla="*/ 0 h 509892"/>
              <a:gd name="connsiteX149" fmla="*/ 578599 w 1337274"/>
              <a:gd name="connsiteY149" fmla="*/ 0 h 509892"/>
              <a:gd name="connsiteX150" fmla="*/ 579103 w 1337274"/>
              <a:gd name="connsiteY150" fmla="*/ 0 h 509892"/>
              <a:gd name="connsiteX151" fmla="*/ 581431 w 1337274"/>
              <a:gd name="connsiteY151" fmla="*/ 0 h 509892"/>
              <a:gd name="connsiteX152" fmla="*/ 583473 w 1337274"/>
              <a:gd name="connsiteY152" fmla="*/ 0 h 509892"/>
              <a:gd name="connsiteX153" fmla="*/ 585699 w 1337274"/>
              <a:gd name="connsiteY153" fmla="*/ 0 h 509892"/>
              <a:gd name="connsiteX154" fmla="*/ 585803 w 1337274"/>
              <a:gd name="connsiteY154" fmla="*/ 0 h 509892"/>
              <a:gd name="connsiteX155" fmla="*/ 588028 w 1337274"/>
              <a:gd name="connsiteY155" fmla="*/ 0 h 509892"/>
              <a:gd name="connsiteX156" fmla="*/ 590070 w 1337274"/>
              <a:gd name="connsiteY156" fmla="*/ 0 h 509892"/>
              <a:gd name="connsiteX157" fmla="*/ 590276 w 1337274"/>
              <a:gd name="connsiteY157" fmla="*/ 0 h 509892"/>
              <a:gd name="connsiteX158" fmla="*/ 592399 w 1337274"/>
              <a:gd name="connsiteY158" fmla="*/ 0 h 509892"/>
              <a:gd name="connsiteX159" fmla="*/ 593593 w 1337274"/>
              <a:gd name="connsiteY159" fmla="*/ 0 h 509892"/>
              <a:gd name="connsiteX160" fmla="*/ 595263 w 1337274"/>
              <a:gd name="connsiteY160" fmla="*/ 0 h 509892"/>
              <a:gd name="connsiteX161" fmla="*/ 597201 w 1337274"/>
              <a:gd name="connsiteY161" fmla="*/ 0 h 509892"/>
              <a:gd name="connsiteX162" fmla="*/ 597211 w 1337274"/>
              <a:gd name="connsiteY162" fmla="*/ 0 h 509892"/>
              <a:gd name="connsiteX163" fmla="*/ 598770 w 1337274"/>
              <a:gd name="connsiteY163" fmla="*/ 0 h 509892"/>
              <a:gd name="connsiteX164" fmla="*/ 601572 w 1337274"/>
              <a:gd name="connsiteY164" fmla="*/ 0 h 509892"/>
              <a:gd name="connsiteX165" fmla="*/ 601583 w 1337274"/>
              <a:gd name="connsiteY165" fmla="*/ 0 h 509892"/>
              <a:gd name="connsiteX166" fmla="*/ 601859 w 1337274"/>
              <a:gd name="connsiteY166" fmla="*/ 0 h 509892"/>
              <a:gd name="connsiteX167" fmla="*/ 602087 w 1337274"/>
              <a:gd name="connsiteY167" fmla="*/ 0 h 509892"/>
              <a:gd name="connsiteX168" fmla="*/ 602364 w 1337274"/>
              <a:gd name="connsiteY168" fmla="*/ 0 h 509892"/>
              <a:gd name="connsiteX169" fmla="*/ 603799 w 1337274"/>
              <a:gd name="connsiteY169" fmla="*/ 0 h 509892"/>
              <a:gd name="connsiteX170" fmla="*/ 605366 w 1337274"/>
              <a:gd name="connsiteY170" fmla="*/ 0 h 509892"/>
              <a:gd name="connsiteX171" fmla="*/ 606735 w 1337274"/>
              <a:gd name="connsiteY171" fmla="*/ 0 h 509892"/>
              <a:gd name="connsiteX172" fmla="*/ 608169 w 1337274"/>
              <a:gd name="connsiteY172" fmla="*/ 0 h 509892"/>
              <a:gd name="connsiteX173" fmla="*/ 608673 w 1337274"/>
              <a:gd name="connsiteY173" fmla="*/ 0 h 509892"/>
              <a:gd name="connsiteX174" fmla="*/ 608683 w 1337274"/>
              <a:gd name="connsiteY174" fmla="*/ 0 h 509892"/>
              <a:gd name="connsiteX175" fmla="*/ 610353 w 1337274"/>
              <a:gd name="connsiteY175" fmla="*/ 0 h 509892"/>
              <a:gd name="connsiteX176" fmla="*/ 612293 w 1337274"/>
              <a:gd name="connsiteY176" fmla="*/ 0 h 509892"/>
              <a:gd name="connsiteX177" fmla="*/ 613876 w 1337274"/>
              <a:gd name="connsiteY177" fmla="*/ 0 h 509892"/>
              <a:gd name="connsiteX178" fmla="*/ 616662 w 1337274"/>
              <a:gd name="connsiteY178" fmla="*/ 0 h 509892"/>
              <a:gd name="connsiteX179" fmla="*/ 618248 w 1337274"/>
              <a:gd name="connsiteY179" fmla="*/ 0 h 509892"/>
              <a:gd name="connsiteX180" fmla="*/ 620185 w 1337274"/>
              <a:gd name="connsiteY180" fmla="*/ 0 h 509892"/>
              <a:gd name="connsiteX181" fmla="*/ 620462 w 1337274"/>
              <a:gd name="connsiteY181" fmla="*/ 0 h 509892"/>
              <a:gd name="connsiteX182" fmla="*/ 620472 w 1337274"/>
              <a:gd name="connsiteY182" fmla="*/ 0 h 509892"/>
              <a:gd name="connsiteX183" fmla="*/ 622030 w 1337274"/>
              <a:gd name="connsiteY183" fmla="*/ 0 h 509892"/>
              <a:gd name="connsiteX184" fmla="*/ 624833 w 1337274"/>
              <a:gd name="connsiteY184" fmla="*/ 0 h 509892"/>
              <a:gd name="connsiteX185" fmla="*/ 624844 w 1337274"/>
              <a:gd name="connsiteY185" fmla="*/ 0 h 509892"/>
              <a:gd name="connsiteX186" fmla="*/ 625347 w 1337274"/>
              <a:gd name="connsiteY186" fmla="*/ 0 h 509892"/>
              <a:gd name="connsiteX187" fmla="*/ 626782 w 1337274"/>
              <a:gd name="connsiteY187" fmla="*/ 0 h 509892"/>
              <a:gd name="connsiteX188" fmla="*/ 628956 w 1337274"/>
              <a:gd name="connsiteY188" fmla="*/ 0 h 509892"/>
              <a:gd name="connsiteX189" fmla="*/ 628966 w 1337274"/>
              <a:gd name="connsiteY189" fmla="*/ 0 h 509892"/>
              <a:gd name="connsiteX190" fmla="*/ 631213 w 1337274"/>
              <a:gd name="connsiteY190" fmla="*/ 0 h 509892"/>
              <a:gd name="connsiteX191" fmla="*/ 633327 w 1337274"/>
              <a:gd name="connsiteY191" fmla="*/ 0 h 509892"/>
              <a:gd name="connsiteX192" fmla="*/ 633338 w 1337274"/>
              <a:gd name="connsiteY192" fmla="*/ 0 h 509892"/>
              <a:gd name="connsiteX193" fmla="*/ 635276 w 1337274"/>
              <a:gd name="connsiteY193" fmla="*/ 0 h 509892"/>
              <a:gd name="connsiteX194" fmla="*/ 635553 w 1337274"/>
              <a:gd name="connsiteY194" fmla="*/ 0 h 509892"/>
              <a:gd name="connsiteX195" fmla="*/ 637800 w 1337274"/>
              <a:gd name="connsiteY195" fmla="*/ 0 h 509892"/>
              <a:gd name="connsiteX196" fmla="*/ 637811 w 1337274"/>
              <a:gd name="connsiteY196" fmla="*/ 0 h 509892"/>
              <a:gd name="connsiteX197" fmla="*/ 639923 w 1337274"/>
              <a:gd name="connsiteY197" fmla="*/ 0 h 509892"/>
              <a:gd name="connsiteX198" fmla="*/ 641118 w 1337274"/>
              <a:gd name="connsiteY198" fmla="*/ 0 h 509892"/>
              <a:gd name="connsiteX199" fmla="*/ 643446 w 1337274"/>
              <a:gd name="connsiteY199" fmla="*/ 0 h 509892"/>
              <a:gd name="connsiteX200" fmla="*/ 644736 w 1337274"/>
              <a:gd name="connsiteY200" fmla="*/ 0 h 509892"/>
              <a:gd name="connsiteX201" fmla="*/ 646293 w 1337274"/>
              <a:gd name="connsiteY201" fmla="*/ 0 h 509892"/>
              <a:gd name="connsiteX202" fmla="*/ 646304 w 1337274"/>
              <a:gd name="connsiteY202" fmla="*/ 0 h 509892"/>
              <a:gd name="connsiteX203" fmla="*/ 649107 w 1337274"/>
              <a:gd name="connsiteY203" fmla="*/ 0 h 509892"/>
              <a:gd name="connsiteX204" fmla="*/ 649612 w 1337274"/>
              <a:gd name="connsiteY204" fmla="*/ 0 h 509892"/>
              <a:gd name="connsiteX205" fmla="*/ 651940 w 1337274"/>
              <a:gd name="connsiteY205" fmla="*/ 0 h 509892"/>
              <a:gd name="connsiteX206" fmla="*/ 652890 w 1337274"/>
              <a:gd name="connsiteY206" fmla="*/ 0 h 509892"/>
              <a:gd name="connsiteX207" fmla="*/ 654474 w 1337274"/>
              <a:gd name="connsiteY207" fmla="*/ 0 h 509892"/>
              <a:gd name="connsiteX208" fmla="*/ 656208 w 1337274"/>
              <a:gd name="connsiteY208" fmla="*/ 0 h 509892"/>
              <a:gd name="connsiteX209" fmla="*/ 656412 w 1337274"/>
              <a:gd name="connsiteY209" fmla="*/ 0 h 509892"/>
              <a:gd name="connsiteX210" fmla="*/ 658537 w 1337274"/>
              <a:gd name="connsiteY210" fmla="*/ 0 h 509892"/>
              <a:gd name="connsiteX211" fmla="*/ 660785 w 1337274"/>
              <a:gd name="connsiteY211" fmla="*/ 0 h 509892"/>
              <a:gd name="connsiteX212" fmla="*/ 661401 w 1337274"/>
              <a:gd name="connsiteY212" fmla="*/ 0 h 509892"/>
              <a:gd name="connsiteX213" fmla="*/ 662968 w 1337274"/>
              <a:gd name="connsiteY213" fmla="*/ 0 h 509892"/>
              <a:gd name="connsiteX214" fmla="*/ 664403 w 1337274"/>
              <a:gd name="connsiteY214" fmla="*/ 0 h 509892"/>
              <a:gd name="connsiteX215" fmla="*/ 664906 w 1337274"/>
              <a:gd name="connsiteY215" fmla="*/ 0 h 509892"/>
              <a:gd name="connsiteX216" fmla="*/ 665772 w 1337274"/>
              <a:gd name="connsiteY216" fmla="*/ 0 h 509892"/>
              <a:gd name="connsiteX217" fmla="*/ 667710 w 1337274"/>
              <a:gd name="connsiteY217" fmla="*/ 0 h 509892"/>
              <a:gd name="connsiteX218" fmla="*/ 667720 w 1337274"/>
              <a:gd name="connsiteY218" fmla="*/ 0 h 509892"/>
              <a:gd name="connsiteX219" fmla="*/ 667997 w 1337274"/>
              <a:gd name="connsiteY219" fmla="*/ 0 h 509892"/>
              <a:gd name="connsiteX220" fmla="*/ 669278 w 1337274"/>
              <a:gd name="connsiteY220" fmla="*/ 0 h 509892"/>
              <a:gd name="connsiteX221" fmla="*/ 669554 w 1337274"/>
              <a:gd name="connsiteY221" fmla="*/ 0 h 509892"/>
              <a:gd name="connsiteX222" fmla="*/ 669565 w 1337274"/>
              <a:gd name="connsiteY222" fmla="*/ 0 h 509892"/>
              <a:gd name="connsiteX223" fmla="*/ 671502 w 1337274"/>
              <a:gd name="connsiteY223" fmla="*/ 0 h 509892"/>
              <a:gd name="connsiteX224" fmla="*/ 672368 w 1337274"/>
              <a:gd name="connsiteY224" fmla="*/ 0 h 509892"/>
              <a:gd name="connsiteX225" fmla="*/ 672872 w 1337274"/>
              <a:gd name="connsiteY225" fmla="*/ 0 h 509892"/>
              <a:gd name="connsiteX226" fmla="*/ 674307 w 1337274"/>
              <a:gd name="connsiteY226" fmla="*/ 0 h 509892"/>
              <a:gd name="connsiteX227" fmla="*/ 675874 w 1337274"/>
              <a:gd name="connsiteY227" fmla="*/ 0 h 509892"/>
              <a:gd name="connsiteX228" fmla="*/ 676491 w 1337274"/>
              <a:gd name="connsiteY228" fmla="*/ 0 h 509892"/>
              <a:gd name="connsiteX229" fmla="*/ 678737 w 1337274"/>
              <a:gd name="connsiteY229" fmla="*/ 0 h 509892"/>
              <a:gd name="connsiteX230" fmla="*/ 680862 w 1337274"/>
              <a:gd name="connsiteY230" fmla="*/ 0 h 509892"/>
              <a:gd name="connsiteX231" fmla="*/ 681067 w 1337274"/>
              <a:gd name="connsiteY231" fmla="*/ 0 h 509892"/>
              <a:gd name="connsiteX232" fmla="*/ 682801 w 1337274"/>
              <a:gd name="connsiteY232" fmla="*/ 0 h 509892"/>
              <a:gd name="connsiteX233" fmla="*/ 684384 w 1337274"/>
              <a:gd name="connsiteY233" fmla="*/ 0 h 509892"/>
              <a:gd name="connsiteX234" fmla="*/ 685335 w 1337274"/>
              <a:gd name="connsiteY234" fmla="*/ 0 h 509892"/>
              <a:gd name="connsiteX235" fmla="*/ 687663 w 1337274"/>
              <a:gd name="connsiteY235" fmla="*/ 0 h 509892"/>
              <a:gd name="connsiteX236" fmla="*/ 688167 w 1337274"/>
              <a:gd name="connsiteY236" fmla="*/ 0 h 509892"/>
              <a:gd name="connsiteX237" fmla="*/ 690971 w 1337274"/>
              <a:gd name="connsiteY237" fmla="*/ 0 h 509892"/>
              <a:gd name="connsiteX238" fmla="*/ 690981 w 1337274"/>
              <a:gd name="connsiteY238" fmla="*/ 0 h 509892"/>
              <a:gd name="connsiteX239" fmla="*/ 692539 w 1337274"/>
              <a:gd name="connsiteY239" fmla="*/ 0 h 509892"/>
              <a:gd name="connsiteX240" fmla="*/ 693828 w 1337274"/>
              <a:gd name="connsiteY240" fmla="*/ 0 h 509892"/>
              <a:gd name="connsiteX241" fmla="*/ 696157 w 1337274"/>
              <a:gd name="connsiteY241" fmla="*/ 0 h 509892"/>
              <a:gd name="connsiteX242" fmla="*/ 697351 w 1337274"/>
              <a:gd name="connsiteY242" fmla="*/ 0 h 509892"/>
              <a:gd name="connsiteX243" fmla="*/ 699465 w 1337274"/>
              <a:gd name="connsiteY243" fmla="*/ 0 h 509892"/>
              <a:gd name="connsiteX244" fmla="*/ 699474 w 1337274"/>
              <a:gd name="connsiteY244" fmla="*/ 0 h 509892"/>
              <a:gd name="connsiteX245" fmla="*/ 701722 w 1337274"/>
              <a:gd name="connsiteY245" fmla="*/ 0 h 509892"/>
              <a:gd name="connsiteX246" fmla="*/ 701999 w 1337274"/>
              <a:gd name="connsiteY246" fmla="*/ 0 h 509892"/>
              <a:gd name="connsiteX247" fmla="*/ 703938 w 1337274"/>
              <a:gd name="connsiteY247" fmla="*/ 0 h 509892"/>
              <a:gd name="connsiteX248" fmla="*/ 703947 w 1337274"/>
              <a:gd name="connsiteY248" fmla="*/ 0 h 509892"/>
              <a:gd name="connsiteX249" fmla="*/ 706062 w 1337274"/>
              <a:gd name="connsiteY249" fmla="*/ 0 h 509892"/>
              <a:gd name="connsiteX250" fmla="*/ 708308 w 1337274"/>
              <a:gd name="connsiteY250" fmla="*/ 0 h 509892"/>
              <a:gd name="connsiteX251" fmla="*/ 708319 w 1337274"/>
              <a:gd name="connsiteY251" fmla="*/ 0 h 509892"/>
              <a:gd name="connsiteX252" fmla="*/ 710493 w 1337274"/>
              <a:gd name="connsiteY252" fmla="*/ 0 h 509892"/>
              <a:gd name="connsiteX253" fmla="*/ 711927 w 1337274"/>
              <a:gd name="connsiteY253" fmla="*/ 0 h 509892"/>
              <a:gd name="connsiteX254" fmla="*/ 712431 w 1337274"/>
              <a:gd name="connsiteY254" fmla="*/ 0 h 509892"/>
              <a:gd name="connsiteX255" fmla="*/ 712441 w 1337274"/>
              <a:gd name="connsiteY255" fmla="*/ 0 h 509892"/>
              <a:gd name="connsiteX256" fmla="*/ 715245 w 1337274"/>
              <a:gd name="connsiteY256" fmla="*/ 0 h 509892"/>
              <a:gd name="connsiteX257" fmla="*/ 716802 w 1337274"/>
              <a:gd name="connsiteY257" fmla="*/ 0 h 509892"/>
              <a:gd name="connsiteX258" fmla="*/ 716813 w 1337274"/>
              <a:gd name="connsiteY258" fmla="*/ 0 h 509892"/>
              <a:gd name="connsiteX259" fmla="*/ 717089 w 1337274"/>
              <a:gd name="connsiteY259" fmla="*/ 0 h 509892"/>
              <a:gd name="connsiteX260" fmla="*/ 719027 w 1337274"/>
              <a:gd name="connsiteY260" fmla="*/ 0 h 509892"/>
              <a:gd name="connsiteX261" fmla="*/ 720612 w 1337274"/>
              <a:gd name="connsiteY261" fmla="*/ 0 h 509892"/>
              <a:gd name="connsiteX262" fmla="*/ 723398 w 1337274"/>
              <a:gd name="connsiteY262" fmla="*/ 0 h 509892"/>
              <a:gd name="connsiteX263" fmla="*/ 724983 w 1337274"/>
              <a:gd name="connsiteY263" fmla="*/ 0 h 509892"/>
              <a:gd name="connsiteX264" fmla="*/ 726921 w 1337274"/>
              <a:gd name="connsiteY264" fmla="*/ 0 h 509892"/>
              <a:gd name="connsiteX265" fmla="*/ 728591 w 1337274"/>
              <a:gd name="connsiteY265" fmla="*/ 0 h 509892"/>
              <a:gd name="connsiteX266" fmla="*/ 728602 w 1337274"/>
              <a:gd name="connsiteY266" fmla="*/ 0 h 509892"/>
              <a:gd name="connsiteX267" fmla="*/ 729106 w 1337274"/>
              <a:gd name="connsiteY267" fmla="*/ 0 h 509892"/>
              <a:gd name="connsiteX268" fmla="*/ 730541 w 1337274"/>
              <a:gd name="connsiteY268" fmla="*/ 0 h 509892"/>
              <a:gd name="connsiteX269" fmla="*/ 731909 w 1337274"/>
              <a:gd name="connsiteY269" fmla="*/ 0 h 509892"/>
              <a:gd name="connsiteX270" fmla="*/ 733476 w 1337274"/>
              <a:gd name="connsiteY270" fmla="*/ 0 h 509892"/>
              <a:gd name="connsiteX271" fmla="*/ 734911 w 1337274"/>
              <a:gd name="connsiteY271" fmla="*/ 0 h 509892"/>
              <a:gd name="connsiteX272" fmla="*/ 735187 w 1337274"/>
              <a:gd name="connsiteY272" fmla="*/ 0 h 509892"/>
              <a:gd name="connsiteX273" fmla="*/ 735415 w 1337274"/>
              <a:gd name="connsiteY273" fmla="*/ 0 h 509892"/>
              <a:gd name="connsiteX274" fmla="*/ 735692 w 1337274"/>
              <a:gd name="connsiteY274" fmla="*/ 0 h 509892"/>
              <a:gd name="connsiteX275" fmla="*/ 735702 w 1337274"/>
              <a:gd name="connsiteY275" fmla="*/ 0 h 509892"/>
              <a:gd name="connsiteX276" fmla="*/ 738506 w 1337274"/>
              <a:gd name="connsiteY276" fmla="*/ 0 h 509892"/>
              <a:gd name="connsiteX277" fmla="*/ 740063 w 1337274"/>
              <a:gd name="connsiteY277" fmla="*/ 0 h 509892"/>
              <a:gd name="connsiteX278" fmla="*/ 740074 w 1337274"/>
              <a:gd name="connsiteY278" fmla="*/ 0 h 509892"/>
              <a:gd name="connsiteX279" fmla="*/ 742011 w 1337274"/>
              <a:gd name="connsiteY279" fmla="*/ 0 h 509892"/>
              <a:gd name="connsiteX280" fmla="*/ 743681 w 1337274"/>
              <a:gd name="connsiteY280" fmla="*/ 0 h 509892"/>
              <a:gd name="connsiteX281" fmla="*/ 744876 w 1337274"/>
              <a:gd name="connsiteY281" fmla="*/ 0 h 509892"/>
              <a:gd name="connsiteX282" fmla="*/ 746999 w 1337274"/>
              <a:gd name="connsiteY282" fmla="*/ 0 h 509892"/>
              <a:gd name="connsiteX283" fmla="*/ 747204 w 1337274"/>
              <a:gd name="connsiteY283" fmla="*/ 0 h 509892"/>
              <a:gd name="connsiteX284" fmla="*/ 749246 w 1337274"/>
              <a:gd name="connsiteY284" fmla="*/ 0 h 509892"/>
              <a:gd name="connsiteX285" fmla="*/ 751472 w 1337274"/>
              <a:gd name="connsiteY285" fmla="*/ 0 h 509892"/>
              <a:gd name="connsiteX286" fmla="*/ 751576 w 1337274"/>
              <a:gd name="connsiteY286" fmla="*/ 0 h 509892"/>
              <a:gd name="connsiteX287" fmla="*/ 753801 w 1337274"/>
              <a:gd name="connsiteY287" fmla="*/ 0 h 509892"/>
              <a:gd name="connsiteX288" fmla="*/ 755843 w 1337274"/>
              <a:gd name="connsiteY288" fmla="*/ 0 h 509892"/>
              <a:gd name="connsiteX289" fmla="*/ 758172 w 1337274"/>
              <a:gd name="connsiteY289" fmla="*/ 0 h 509892"/>
              <a:gd name="connsiteX290" fmla="*/ 758676 w 1337274"/>
              <a:gd name="connsiteY290" fmla="*/ 0 h 509892"/>
              <a:gd name="connsiteX291" fmla="*/ 759966 w 1337274"/>
              <a:gd name="connsiteY291" fmla="*/ 0 h 509892"/>
              <a:gd name="connsiteX292" fmla="*/ 762295 w 1337274"/>
              <a:gd name="connsiteY292" fmla="*/ 0 h 509892"/>
              <a:gd name="connsiteX293" fmla="*/ 764337 w 1337274"/>
              <a:gd name="connsiteY293" fmla="*/ 0 h 509892"/>
              <a:gd name="connsiteX294" fmla="*/ 764543 w 1337274"/>
              <a:gd name="connsiteY294" fmla="*/ 0 h 509892"/>
              <a:gd name="connsiteX295" fmla="*/ 766666 w 1337274"/>
              <a:gd name="connsiteY295" fmla="*/ 0 h 509892"/>
              <a:gd name="connsiteX296" fmla="*/ 767860 w 1337274"/>
              <a:gd name="connsiteY296" fmla="*/ 0 h 509892"/>
              <a:gd name="connsiteX297" fmla="*/ 768137 w 1337274"/>
              <a:gd name="connsiteY297" fmla="*/ 0 h 509892"/>
              <a:gd name="connsiteX298" fmla="*/ 771139 w 1337274"/>
              <a:gd name="connsiteY298" fmla="*/ 0 h 509892"/>
              <a:gd name="connsiteX299" fmla="*/ 772508 w 1337274"/>
              <a:gd name="connsiteY299" fmla="*/ 0 h 509892"/>
              <a:gd name="connsiteX300" fmla="*/ 774446 w 1337274"/>
              <a:gd name="connsiteY300" fmla="*/ 0 h 509892"/>
              <a:gd name="connsiteX301" fmla="*/ 774456 w 1337274"/>
              <a:gd name="connsiteY301" fmla="*/ 0 h 509892"/>
              <a:gd name="connsiteX302" fmla="*/ 776126 w 1337274"/>
              <a:gd name="connsiteY302" fmla="*/ 0 h 509892"/>
              <a:gd name="connsiteX303" fmla="*/ 776631 w 1337274"/>
              <a:gd name="connsiteY303" fmla="*/ 0 h 509892"/>
              <a:gd name="connsiteX304" fmla="*/ 778066 w 1337274"/>
              <a:gd name="connsiteY304" fmla="*/ 0 h 509892"/>
              <a:gd name="connsiteX305" fmla="*/ 779633 w 1337274"/>
              <a:gd name="connsiteY305" fmla="*/ 0 h 509892"/>
              <a:gd name="connsiteX306" fmla="*/ 781001 w 1337274"/>
              <a:gd name="connsiteY306" fmla="*/ 0 h 509892"/>
              <a:gd name="connsiteX307" fmla="*/ 782435 w 1337274"/>
              <a:gd name="connsiteY307" fmla="*/ 0 h 509892"/>
              <a:gd name="connsiteX308" fmla="*/ 782940 w 1337274"/>
              <a:gd name="connsiteY308" fmla="*/ 0 h 509892"/>
              <a:gd name="connsiteX309" fmla="*/ 782950 w 1337274"/>
              <a:gd name="connsiteY309" fmla="*/ 0 h 509892"/>
              <a:gd name="connsiteX310" fmla="*/ 783227 w 1337274"/>
              <a:gd name="connsiteY310" fmla="*/ 0 h 509892"/>
              <a:gd name="connsiteX311" fmla="*/ 787598 w 1337274"/>
              <a:gd name="connsiteY311" fmla="*/ 0 h 509892"/>
              <a:gd name="connsiteX312" fmla="*/ 787803 w 1337274"/>
              <a:gd name="connsiteY312" fmla="*/ 0 h 509892"/>
              <a:gd name="connsiteX313" fmla="*/ 789536 w 1337274"/>
              <a:gd name="connsiteY313" fmla="*/ 0 h 509892"/>
              <a:gd name="connsiteX314" fmla="*/ 791120 w 1337274"/>
              <a:gd name="connsiteY314" fmla="*/ 0 h 509892"/>
              <a:gd name="connsiteX315" fmla="*/ 794729 w 1337274"/>
              <a:gd name="connsiteY315" fmla="*/ 0 h 509892"/>
              <a:gd name="connsiteX316" fmla="*/ 794739 w 1337274"/>
              <a:gd name="connsiteY316" fmla="*/ 0 h 509892"/>
              <a:gd name="connsiteX317" fmla="*/ 796297 w 1337274"/>
              <a:gd name="connsiteY317" fmla="*/ 0 h 509892"/>
              <a:gd name="connsiteX318" fmla="*/ 799100 w 1337274"/>
              <a:gd name="connsiteY318" fmla="*/ 0 h 509892"/>
              <a:gd name="connsiteX319" fmla="*/ 799111 w 1337274"/>
              <a:gd name="connsiteY319" fmla="*/ 0 h 509892"/>
              <a:gd name="connsiteX320" fmla="*/ 799614 w 1337274"/>
              <a:gd name="connsiteY320" fmla="*/ 0 h 509892"/>
              <a:gd name="connsiteX321" fmla="*/ 801049 w 1337274"/>
              <a:gd name="connsiteY321" fmla="*/ 0 h 509892"/>
              <a:gd name="connsiteX322" fmla="*/ 801326 w 1337274"/>
              <a:gd name="connsiteY322" fmla="*/ 0 h 509892"/>
              <a:gd name="connsiteX323" fmla="*/ 802893 w 1337274"/>
              <a:gd name="connsiteY323" fmla="*/ 0 h 509892"/>
              <a:gd name="connsiteX324" fmla="*/ 805696 w 1337274"/>
              <a:gd name="connsiteY324" fmla="*/ 0 h 509892"/>
              <a:gd name="connsiteX325" fmla="*/ 806201 w 1337274"/>
              <a:gd name="connsiteY325" fmla="*/ 0 h 509892"/>
              <a:gd name="connsiteX326" fmla="*/ 806210 w 1337274"/>
              <a:gd name="connsiteY326" fmla="*/ 0 h 509892"/>
              <a:gd name="connsiteX327" fmla="*/ 809820 w 1337274"/>
              <a:gd name="connsiteY327" fmla="*/ 0 h 509892"/>
              <a:gd name="connsiteX328" fmla="*/ 812066 w 1337274"/>
              <a:gd name="connsiteY328" fmla="*/ 0 h 509892"/>
              <a:gd name="connsiteX329" fmla="*/ 812077 w 1337274"/>
              <a:gd name="connsiteY329" fmla="*/ 0 h 509892"/>
              <a:gd name="connsiteX330" fmla="*/ 814190 w 1337274"/>
              <a:gd name="connsiteY330" fmla="*/ 0 h 509892"/>
              <a:gd name="connsiteX331" fmla="*/ 815385 w 1337274"/>
              <a:gd name="connsiteY331" fmla="*/ 0 h 509892"/>
              <a:gd name="connsiteX332" fmla="*/ 817713 w 1337274"/>
              <a:gd name="connsiteY332" fmla="*/ 0 h 509892"/>
              <a:gd name="connsiteX333" fmla="*/ 818663 w 1337274"/>
              <a:gd name="connsiteY333" fmla="*/ 0 h 509892"/>
              <a:gd name="connsiteX334" fmla="*/ 821981 w 1337274"/>
              <a:gd name="connsiteY334" fmla="*/ 0 h 509892"/>
              <a:gd name="connsiteX335" fmla="*/ 824310 w 1337274"/>
              <a:gd name="connsiteY335" fmla="*/ 0 h 509892"/>
              <a:gd name="connsiteX336" fmla="*/ 827156 w 1337274"/>
              <a:gd name="connsiteY336" fmla="*/ 0 h 509892"/>
              <a:gd name="connsiteX337" fmla="*/ 828741 w 1337274"/>
              <a:gd name="connsiteY337" fmla="*/ 0 h 509892"/>
              <a:gd name="connsiteX338" fmla="*/ 830475 w 1337274"/>
              <a:gd name="connsiteY338" fmla="*/ 0 h 509892"/>
              <a:gd name="connsiteX339" fmla="*/ 830679 w 1337274"/>
              <a:gd name="connsiteY339" fmla="*/ 0 h 509892"/>
              <a:gd name="connsiteX340" fmla="*/ 832804 w 1337274"/>
              <a:gd name="connsiteY340" fmla="*/ 0 h 509892"/>
              <a:gd name="connsiteX341" fmla="*/ 835051 w 1337274"/>
              <a:gd name="connsiteY341" fmla="*/ 0 h 509892"/>
              <a:gd name="connsiteX342" fmla="*/ 835327 w 1337274"/>
              <a:gd name="connsiteY342" fmla="*/ 0 h 509892"/>
              <a:gd name="connsiteX343" fmla="*/ 835338 w 1337274"/>
              <a:gd name="connsiteY343" fmla="*/ 0 h 509892"/>
              <a:gd name="connsiteX344" fmla="*/ 837275 w 1337274"/>
              <a:gd name="connsiteY344" fmla="*/ 0 h 509892"/>
              <a:gd name="connsiteX345" fmla="*/ 838645 w 1337274"/>
              <a:gd name="connsiteY345" fmla="*/ 0 h 509892"/>
              <a:gd name="connsiteX346" fmla="*/ 841647 w 1337274"/>
              <a:gd name="connsiteY346" fmla="*/ 0 h 509892"/>
              <a:gd name="connsiteX347" fmla="*/ 842264 w 1337274"/>
              <a:gd name="connsiteY347" fmla="*/ 0 h 509892"/>
              <a:gd name="connsiteX348" fmla="*/ 843821 w 1337274"/>
              <a:gd name="connsiteY348" fmla="*/ 0 h 509892"/>
              <a:gd name="connsiteX349" fmla="*/ 843832 w 1337274"/>
              <a:gd name="connsiteY349" fmla="*/ 0 h 509892"/>
              <a:gd name="connsiteX350" fmla="*/ 845769 w 1337274"/>
              <a:gd name="connsiteY350" fmla="*/ 0 h 509892"/>
              <a:gd name="connsiteX351" fmla="*/ 846635 w 1337274"/>
              <a:gd name="connsiteY351" fmla="*/ 0 h 509892"/>
              <a:gd name="connsiteX352" fmla="*/ 847139 w 1337274"/>
              <a:gd name="connsiteY352" fmla="*/ 0 h 509892"/>
              <a:gd name="connsiteX353" fmla="*/ 848574 w 1337274"/>
              <a:gd name="connsiteY353" fmla="*/ 0 h 509892"/>
              <a:gd name="connsiteX354" fmla="*/ 850141 w 1337274"/>
              <a:gd name="connsiteY354" fmla="*/ 0 h 509892"/>
              <a:gd name="connsiteX355" fmla="*/ 850417 w 1337274"/>
              <a:gd name="connsiteY355" fmla="*/ 0 h 509892"/>
              <a:gd name="connsiteX356" fmla="*/ 853735 w 1337274"/>
              <a:gd name="connsiteY356" fmla="*/ 0 h 509892"/>
              <a:gd name="connsiteX357" fmla="*/ 853940 w 1337274"/>
              <a:gd name="connsiteY357" fmla="*/ 0 h 509892"/>
              <a:gd name="connsiteX358" fmla="*/ 858312 w 1337274"/>
              <a:gd name="connsiteY358" fmla="*/ 0 h 509892"/>
              <a:gd name="connsiteX359" fmla="*/ 859601 w 1337274"/>
              <a:gd name="connsiteY359" fmla="*/ 0 h 509892"/>
              <a:gd name="connsiteX360" fmla="*/ 861930 w 1337274"/>
              <a:gd name="connsiteY360" fmla="*/ 0 h 509892"/>
              <a:gd name="connsiteX361" fmla="*/ 862434 w 1337274"/>
              <a:gd name="connsiteY361" fmla="*/ 0 h 509892"/>
              <a:gd name="connsiteX362" fmla="*/ 865238 w 1337274"/>
              <a:gd name="connsiteY362" fmla="*/ 0 h 509892"/>
              <a:gd name="connsiteX363" fmla="*/ 865247 w 1337274"/>
              <a:gd name="connsiteY363" fmla="*/ 0 h 509892"/>
              <a:gd name="connsiteX364" fmla="*/ 866806 w 1337274"/>
              <a:gd name="connsiteY364" fmla="*/ 0 h 509892"/>
              <a:gd name="connsiteX365" fmla="*/ 869030 w 1337274"/>
              <a:gd name="connsiteY365" fmla="*/ 0 h 509892"/>
              <a:gd name="connsiteX366" fmla="*/ 871835 w 1337274"/>
              <a:gd name="connsiteY366" fmla="*/ 0 h 509892"/>
              <a:gd name="connsiteX367" fmla="*/ 873402 w 1337274"/>
              <a:gd name="connsiteY367" fmla="*/ 0 h 509892"/>
              <a:gd name="connsiteX368" fmla="*/ 876266 w 1337274"/>
              <a:gd name="connsiteY368" fmla="*/ 0 h 509892"/>
              <a:gd name="connsiteX369" fmla="*/ 878204 w 1337274"/>
              <a:gd name="connsiteY369" fmla="*/ 0 h 509892"/>
              <a:gd name="connsiteX370" fmla="*/ 878214 w 1337274"/>
              <a:gd name="connsiteY370" fmla="*/ 0 h 509892"/>
              <a:gd name="connsiteX371" fmla="*/ 880329 w 1337274"/>
              <a:gd name="connsiteY371" fmla="*/ 0 h 509892"/>
              <a:gd name="connsiteX372" fmla="*/ 882575 w 1337274"/>
              <a:gd name="connsiteY372" fmla="*/ 0 h 509892"/>
              <a:gd name="connsiteX373" fmla="*/ 882586 w 1337274"/>
              <a:gd name="connsiteY373" fmla="*/ 0 h 509892"/>
              <a:gd name="connsiteX374" fmla="*/ 882862 w 1337274"/>
              <a:gd name="connsiteY374" fmla="*/ 0 h 509892"/>
              <a:gd name="connsiteX375" fmla="*/ 884800 w 1337274"/>
              <a:gd name="connsiteY375" fmla="*/ 0 h 509892"/>
              <a:gd name="connsiteX376" fmla="*/ 889171 w 1337274"/>
              <a:gd name="connsiteY376" fmla="*/ 0 h 509892"/>
              <a:gd name="connsiteX377" fmla="*/ 891356 w 1337274"/>
              <a:gd name="connsiteY377" fmla="*/ 0 h 509892"/>
              <a:gd name="connsiteX378" fmla="*/ 893294 w 1337274"/>
              <a:gd name="connsiteY378" fmla="*/ 0 h 509892"/>
              <a:gd name="connsiteX379" fmla="*/ 894879 w 1337274"/>
              <a:gd name="connsiteY379" fmla="*/ 0 h 509892"/>
              <a:gd name="connsiteX380" fmla="*/ 897665 w 1337274"/>
              <a:gd name="connsiteY380" fmla="*/ 0 h 509892"/>
              <a:gd name="connsiteX381" fmla="*/ 899249 w 1337274"/>
              <a:gd name="connsiteY381" fmla="*/ 0 h 509892"/>
              <a:gd name="connsiteX382" fmla="*/ 901188 w 1337274"/>
              <a:gd name="connsiteY382" fmla="*/ 0 h 509892"/>
              <a:gd name="connsiteX383" fmla="*/ 901465 w 1337274"/>
              <a:gd name="connsiteY383" fmla="*/ 0 h 509892"/>
              <a:gd name="connsiteX384" fmla="*/ 901475 w 1337274"/>
              <a:gd name="connsiteY384" fmla="*/ 0 h 509892"/>
              <a:gd name="connsiteX385" fmla="*/ 905836 w 1337274"/>
              <a:gd name="connsiteY385" fmla="*/ 0 h 509892"/>
              <a:gd name="connsiteX386" fmla="*/ 905847 w 1337274"/>
              <a:gd name="connsiteY386" fmla="*/ 0 h 509892"/>
              <a:gd name="connsiteX387" fmla="*/ 907784 w 1337274"/>
              <a:gd name="connsiteY387" fmla="*/ 0 h 509892"/>
              <a:gd name="connsiteX388" fmla="*/ 909454 w 1337274"/>
              <a:gd name="connsiteY388" fmla="*/ 0 h 509892"/>
              <a:gd name="connsiteX389" fmla="*/ 909959 w 1337274"/>
              <a:gd name="connsiteY389" fmla="*/ 0 h 509892"/>
              <a:gd name="connsiteX390" fmla="*/ 909968 w 1337274"/>
              <a:gd name="connsiteY390" fmla="*/ 0 h 509892"/>
              <a:gd name="connsiteX391" fmla="*/ 912772 w 1337274"/>
              <a:gd name="connsiteY391" fmla="*/ 0 h 509892"/>
              <a:gd name="connsiteX392" fmla="*/ 914330 w 1337274"/>
              <a:gd name="connsiteY392" fmla="*/ 0 h 509892"/>
              <a:gd name="connsiteX393" fmla="*/ 914341 w 1337274"/>
              <a:gd name="connsiteY393" fmla="*/ 0 h 509892"/>
              <a:gd name="connsiteX394" fmla="*/ 916278 w 1337274"/>
              <a:gd name="connsiteY394" fmla="*/ 0 h 509892"/>
              <a:gd name="connsiteX395" fmla="*/ 916555 w 1337274"/>
              <a:gd name="connsiteY395" fmla="*/ 0 h 509892"/>
              <a:gd name="connsiteX396" fmla="*/ 924449 w 1337274"/>
              <a:gd name="connsiteY396" fmla="*/ 0 h 509892"/>
              <a:gd name="connsiteX397" fmla="*/ 925739 w 1337274"/>
              <a:gd name="connsiteY397" fmla="*/ 0 h 509892"/>
              <a:gd name="connsiteX398" fmla="*/ 928068 w 1337274"/>
              <a:gd name="connsiteY398" fmla="*/ 0 h 509892"/>
              <a:gd name="connsiteX399" fmla="*/ 930110 w 1337274"/>
              <a:gd name="connsiteY399" fmla="*/ 0 h 509892"/>
              <a:gd name="connsiteX400" fmla="*/ 932439 w 1337274"/>
              <a:gd name="connsiteY400" fmla="*/ 0 h 509892"/>
              <a:gd name="connsiteX401" fmla="*/ 942404 w 1337274"/>
              <a:gd name="connsiteY401" fmla="*/ 0 h 509892"/>
              <a:gd name="connsiteX402" fmla="*/ 945406 w 1337274"/>
              <a:gd name="connsiteY402" fmla="*/ 0 h 509892"/>
              <a:gd name="connsiteX403" fmla="*/ 946774 w 1337274"/>
              <a:gd name="connsiteY403" fmla="*/ 0 h 509892"/>
              <a:gd name="connsiteX404" fmla="*/ 948713 w 1337274"/>
              <a:gd name="connsiteY404" fmla="*/ 0 h 509892"/>
              <a:gd name="connsiteX405" fmla="*/ 948723 w 1337274"/>
              <a:gd name="connsiteY405" fmla="*/ 0 h 509892"/>
              <a:gd name="connsiteX406" fmla="*/ 949000 w 1337274"/>
              <a:gd name="connsiteY406" fmla="*/ 0 h 509892"/>
              <a:gd name="connsiteX407" fmla="*/ 953371 w 1337274"/>
              <a:gd name="connsiteY407" fmla="*/ 0 h 509892"/>
              <a:gd name="connsiteX408" fmla="*/ 955309 w 1337274"/>
              <a:gd name="connsiteY408" fmla="*/ 0 h 509892"/>
              <a:gd name="connsiteX409" fmla="*/ 962070 w 1337274"/>
              <a:gd name="connsiteY409" fmla="*/ 0 h 509892"/>
              <a:gd name="connsiteX410" fmla="*/ 965387 w 1337274"/>
              <a:gd name="connsiteY410" fmla="*/ 0 h 509892"/>
              <a:gd name="connsiteX411" fmla="*/ 968666 w 1337274"/>
              <a:gd name="connsiteY411" fmla="*/ 0 h 509892"/>
              <a:gd name="connsiteX412" fmla="*/ 971974 w 1337274"/>
              <a:gd name="connsiteY412" fmla="*/ 0 h 509892"/>
              <a:gd name="connsiteX413" fmla="*/ 971983 w 1337274"/>
              <a:gd name="connsiteY413" fmla="*/ 0 h 509892"/>
              <a:gd name="connsiteX414" fmla="*/ 975593 w 1337274"/>
              <a:gd name="connsiteY414" fmla="*/ 0 h 509892"/>
              <a:gd name="connsiteX415" fmla="*/ 979963 w 1337274"/>
              <a:gd name="connsiteY415" fmla="*/ 0 h 509892"/>
              <a:gd name="connsiteX416" fmla="*/ 992929 w 1337274"/>
              <a:gd name="connsiteY416" fmla="*/ 0 h 509892"/>
              <a:gd name="connsiteX417" fmla="*/ 996248 w 1337274"/>
              <a:gd name="connsiteY417" fmla="*/ 0 h 509892"/>
              <a:gd name="connsiteX418" fmla="*/ 998577 w 1337274"/>
              <a:gd name="connsiteY418" fmla="*/ 0 h 509892"/>
              <a:gd name="connsiteX419" fmla="*/ 1009594 w 1337274"/>
              <a:gd name="connsiteY419" fmla="*/ 0 h 509892"/>
              <a:gd name="connsiteX420" fmla="*/ 1009605 w 1337274"/>
              <a:gd name="connsiteY420" fmla="*/ 0 h 509892"/>
              <a:gd name="connsiteX421" fmla="*/ 1011542 w 1337274"/>
              <a:gd name="connsiteY421" fmla="*/ 0 h 509892"/>
              <a:gd name="connsiteX422" fmla="*/ 1012912 w 1337274"/>
              <a:gd name="connsiteY422" fmla="*/ 0 h 509892"/>
              <a:gd name="connsiteX423" fmla="*/ 1015914 w 1337274"/>
              <a:gd name="connsiteY423" fmla="*/ 0 h 509892"/>
              <a:gd name="connsiteX424" fmla="*/ 1016190 w 1337274"/>
              <a:gd name="connsiteY424" fmla="*/ 0 h 509892"/>
              <a:gd name="connsiteX425" fmla="*/ 1019508 w 1337274"/>
              <a:gd name="connsiteY425" fmla="*/ 0 h 509892"/>
              <a:gd name="connsiteX426" fmla="*/ 1028207 w 1337274"/>
              <a:gd name="connsiteY426" fmla="*/ 0 h 509892"/>
              <a:gd name="connsiteX427" fmla="*/ 1032579 w 1337274"/>
              <a:gd name="connsiteY427" fmla="*/ 0 h 509892"/>
              <a:gd name="connsiteX428" fmla="*/ 1034803 w 1337274"/>
              <a:gd name="connsiteY428" fmla="*/ 0 h 509892"/>
              <a:gd name="connsiteX429" fmla="*/ 1039175 w 1337274"/>
              <a:gd name="connsiteY429" fmla="*/ 0 h 509892"/>
              <a:gd name="connsiteX430" fmla="*/ 1046102 w 1337274"/>
              <a:gd name="connsiteY430" fmla="*/ 0 h 509892"/>
              <a:gd name="connsiteX431" fmla="*/ 1057129 w 1337274"/>
              <a:gd name="connsiteY431" fmla="*/ 0 h 509892"/>
              <a:gd name="connsiteX432" fmla="*/ 1059067 w 1337274"/>
              <a:gd name="connsiteY432" fmla="*/ 0 h 509892"/>
              <a:gd name="connsiteX433" fmla="*/ 1063438 w 1337274"/>
              <a:gd name="connsiteY433" fmla="*/ 0 h 509892"/>
              <a:gd name="connsiteX434" fmla="*/ 1075732 w 1337274"/>
              <a:gd name="connsiteY434" fmla="*/ 0 h 509892"/>
              <a:gd name="connsiteX435" fmla="*/ 1075741 w 1337274"/>
              <a:gd name="connsiteY435" fmla="*/ 0 h 509892"/>
              <a:gd name="connsiteX436" fmla="*/ 1080103 w 1337274"/>
              <a:gd name="connsiteY436" fmla="*/ 0 h 509892"/>
              <a:gd name="connsiteX437" fmla="*/ 1080114 w 1337274"/>
              <a:gd name="connsiteY437" fmla="*/ 0 h 509892"/>
              <a:gd name="connsiteX438" fmla="*/ 1082051 w 1337274"/>
              <a:gd name="connsiteY438" fmla="*/ 0 h 509892"/>
              <a:gd name="connsiteX439" fmla="*/ 1082328 w 1337274"/>
              <a:gd name="connsiteY439" fmla="*/ 0 h 509892"/>
              <a:gd name="connsiteX440" fmla="*/ 1337274 w 1337274"/>
              <a:gd name="connsiteY440" fmla="*/ 254947 h 509892"/>
              <a:gd name="connsiteX441" fmla="*/ 1337273 w 1337274"/>
              <a:gd name="connsiteY441" fmla="*/ 254947 h 509892"/>
              <a:gd name="connsiteX442" fmla="*/ 1082328 w 1337274"/>
              <a:gd name="connsiteY442" fmla="*/ 509892 h 509892"/>
              <a:gd name="connsiteX443" fmla="*/ 1080115 w 1337274"/>
              <a:gd name="connsiteY443" fmla="*/ 509892 h 509892"/>
              <a:gd name="connsiteX444" fmla="*/ 1080112 w 1337274"/>
              <a:gd name="connsiteY444" fmla="*/ 509892 h 509892"/>
              <a:gd name="connsiteX445" fmla="*/ 1080103 w 1337274"/>
              <a:gd name="connsiteY445" fmla="*/ 509892 h 509892"/>
              <a:gd name="connsiteX446" fmla="*/ 1080102 w 1337274"/>
              <a:gd name="connsiteY446" fmla="*/ 509892 h 509892"/>
              <a:gd name="connsiteX447" fmla="*/ 1075744 w 1337274"/>
              <a:gd name="connsiteY447" fmla="*/ 509892 h 509892"/>
              <a:gd name="connsiteX448" fmla="*/ 1075740 w 1337274"/>
              <a:gd name="connsiteY448" fmla="*/ 509892 h 509892"/>
              <a:gd name="connsiteX449" fmla="*/ 1075731 w 1337274"/>
              <a:gd name="connsiteY449" fmla="*/ 509892 h 509892"/>
              <a:gd name="connsiteX450" fmla="*/ 1057129 w 1337274"/>
              <a:gd name="connsiteY450" fmla="*/ 509892 h 509892"/>
              <a:gd name="connsiteX451" fmla="*/ 1057128 w 1337274"/>
              <a:gd name="connsiteY451" fmla="*/ 509892 h 509892"/>
              <a:gd name="connsiteX452" fmla="*/ 1046101 w 1337274"/>
              <a:gd name="connsiteY452" fmla="*/ 509892 h 509892"/>
              <a:gd name="connsiteX453" fmla="*/ 1039177 w 1337274"/>
              <a:gd name="connsiteY453" fmla="*/ 509892 h 509892"/>
              <a:gd name="connsiteX454" fmla="*/ 1039174 w 1337274"/>
              <a:gd name="connsiteY454" fmla="*/ 509892 h 509892"/>
              <a:gd name="connsiteX455" fmla="*/ 1034805 w 1337274"/>
              <a:gd name="connsiteY455" fmla="*/ 509892 h 509892"/>
              <a:gd name="connsiteX456" fmla="*/ 1034803 w 1337274"/>
              <a:gd name="connsiteY456" fmla="*/ 509892 h 509892"/>
              <a:gd name="connsiteX457" fmla="*/ 1032580 w 1337274"/>
              <a:gd name="connsiteY457" fmla="*/ 509892 h 509892"/>
              <a:gd name="connsiteX458" fmla="*/ 1032578 w 1337274"/>
              <a:gd name="connsiteY458" fmla="*/ 509892 h 509892"/>
              <a:gd name="connsiteX459" fmla="*/ 1028209 w 1337274"/>
              <a:gd name="connsiteY459" fmla="*/ 509892 h 509892"/>
              <a:gd name="connsiteX460" fmla="*/ 1028206 w 1337274"/>
              <a:gd name="connsiteY460" fmla="*/ 509892 h 509892"/>
              <a:gd name="connsiteX461" fmla="*/ 1019508 w 1337274"/>
              <a:gd name="connsiteY461" fmla="*/ 509892 h 509892"/>
              <a:gd name="connsiteX462" fmla="*/ 1019507 w 1337274"/>
              <a:gd name="connsiteY462" fmla="*/ 509892 h 509892"/>
              <a:gd name="connsiteX463" fmla="*/ 1016190 w 1337274"/>
              <a:gd name="connsiteY463" fmla="*/ 509892 h 509892"/>
              <a:gd name="connsiteX464" fmla="*/ 1016189 w 1337274"/>
              <a:gd name="connsiteY464" fmla="*/ 509892 h 509892"/>
              <a:gd name="connsiteX465" fmla="*/ 1012912 w 1337274"/>
              <a:gd name="connsiteY465" fmla="*/ 509892 h 509892"/>
              <a:gd name="connsiteX466" fmla="*/ 1012911 w 1337274"/>
              <a:gd name="connsiteY466" fmla="*/ 509892 h 509892"/>
              <a:gd name="connsiteX467" fmla="*/ 1009606 w 1337274"/>
              <a:gd name="connsiteY467" fmla="*/ 509892 h 509892"/>
              <a:gd name="connsiteX468" fmla="*/ 1009604 w 1337274"/>
              <a:gd name="connsiteY468" fmla="*/ 509892 h 509892"/>
              <a:gd name="connsiteX469" fmla="*/ 1009594 w 1337274"/>
              <a:gd name="connsiteY469" fmla="*/ 509892 h 509892"/>
              <a:gd name="connsiteX470" fmla="*/ 1009593 w 1337274"/>
              <a:gd name="connsiteY470" fmla="*/ 509892 h 509892"/>
              <a:gd name="connsiteX471" fmla="*/ 998578 w 1337274"/>
              <a:gd name="connsiteY471" fmla="*/ 509892 h 509892"/>
              <a:gd name="connsiteX472" fmla="*/ 998576 w 1337274"/>
              <a:gd name="connsiteY472" fmla="*/ 509892 h 509892"/>
              <a:gd name="connsiteX473" fmla="*/ 979963 w 1337274"/>
              <a:gd name="connsiteY473" fmla="*/ 509892 h 509892"/>
              <a:gd name="connsiteX474" fmla="*/ 975592 w 1337274"/>
              <a:gd name="connsiteY474" fmla="*/ 509892 h 509892"/>
              <a:gd name="connsiteX475" fmla="*/ 971986 w 1337274"/>
              <a:gd name="connsiteY475" fmla="*/ 509892 h 509892"/>
              <a:gd name="connsiteX476" fmla="*/ 971982 w 1337274"/>
              <a:gd name="connsiteY476" fmla="*/ 509892 h 509892"/>
              <a:gd name="connsiteX477" fmla="*/ 971973 w 1337274"/>
              <a:gd name="connsiteY477" fmla="*/ 509892 h 509892"/>
              <a:gd name="connsiteX478" fmla="*/ 968668 w 1337274"/>
              <a:gd name="connsiteY478" fmla="*/ 509892 h 509892"/>
              <a:gd name="connsiteX479" fmla="*/ 968665 w 1337274"/>
              <a:gd name="connsiteY479" fmla="*/ 509892 h 509892"/>
              <a:gd name="connsiteX480" fmla="*/ 965388 w 1337274"/>
              <a:gd name="connsiteY480" fmla="*/ 509892 h 509892"/>
              <a:gd name="connsiteX481" fmla="*/ 965386 w 1337274"/>
              <a:gd name="connsiteY481" fmla="*/ 509892 h 509892"/>
              <a:gd name="connsiteX482" fmla="*/ 962071 w 1337274"/>
              <a:gd name="connsiteY482" fmla="*/ 509892 h 509892"/>
              <a:gd name="connsiteX483" fmla="*/ 962069 w 1337274"/>
              <a:gd name="connsiteY483" fmla="*/ 509892 h 509892"/>
              <a:gd name="connsiteX484" fmla="*/ 953371 w 1337274"/>
              <a:gd name="connsiteY484" fmla="*/ 509892 h 509892"/>
              <a:gd name="connsiteX485" fmla="*/ 953370 w 1337274"/>
              <a:gd name="connsiteY485" fmla="*/ 509892 h 509892"/>
              <a:gd name="connsiteX486" fmla="*/ 949000 w 1337274"/>
              <a:gd name="connsiteY486" fmla="*/ 509892 h 509892"/>
              <a:gd name="connsiteX487" fmla="*/ 948999 w 1337274"/>
              <a:gd name="connsiteY487" fmla="*/ 509892 h 509892"/>
              <a:gd name="connsiteX488" fmla="*/ 946774 w 1337274"/>
              <a:gd name="connsiteY488" fmla="*/ 509892 h 509892"/>
              <a:gd name="connsiteX489" fmla="*/ 946773 w 1337274"/>
              <a:gd name="connsiteY489" fmla="*/ 509892 h 509892"/>
              <a:gd name="connsiteX490" fmla="*/ 942404 w 1337274"/>
              <a:gd name="connsiteY490" fmla="*/ 509892 h 509892"/>
              <a:gd name="connsiteX491" fmla="*/ 942402 w 1337274"/>
              <a:gd name="connsiteY491" fmla="*/ 509892 h 509892"/>
              <a:gd name="connsiteX492" fmla="*/ 932441 w 1337274"/>
              <a:gd name="connsiteY492" fmla="*/ 509892 h 509892"/>
              <a:gd name="connsiteX493" fmla="*/ 932439 w 1337274"/>
              <a:gd name="connsiteY493" fmla="*/ 509892 h 509892"/>
              <a:gd name="connsiteX494" fmla="*/ 928069 w 1337274"/>
              <a:gd name="connsiteY494" fmla="*/ 509892 h 509892"/>
              <a:gd name="connsiteX495" fmla="*/ 928067 w 1337274"/>
              <a:gd name="connsiteY495" fmla="*/ 509892 h 509892"/>
              <a:gd name="connsiteX496" fmla="*/ 924451 w 1337274"/>
              <a:gd name="connsiteY496" fmla="*/ 509892 h 509892"/>
              <a:gd name="connsiteX497" fmla="*/ 924448 w 1337274"/>
              <a:gd name="connsiteY497" fmla="*/ 509892 h 509892"/>
              <a:gd name="connsiteX498" fmla="*/ 916555 w 1337274"/>
              <a:gd name="connsiteY498" fmla="*/ 509892 h 509892"/>
              <a:gd name="connsiteX499" fmla="*/ 914342 w 1337274"/>
              <a:gd name="connsiteY499" fmla="*/ 509892 h 509892"/>
              <a:gd name="connsiteX500" fmla="*/ 914339 w 1337274"/>
              <a:gd name="connsiteY500" fmla="*/ 509892 h 509892"/>
              <a:gd name="connsiteX501" fmla="*/ 914330 w 1337274"/>
              <a:gd name="connsiteY501" fmla="*/ 509892 h 509892"/>
              <a:gd name="connsiteX502" fmla="*/ 914329 w 1337274"/>
              <a:gd name="connsiteY502" fmla="*/ 509892 h 509892"/>
              <a:gd name="connsiteX503" fmla="*/ 912772 w 1337274"/>
              <a:gd name="connsiteY503" fmla="*/ 509892 h 509892"/>
              <a:gd name="connsiteX504" fmla="*/ 909971 w 1337274"/>
              <a:gd name="connsiteY504" fmla="*/ 509892 h 509892"/>
              <a:gd name="connsiteX505" fmla="*/ 909967 w 1337274"/>
              <a:gd name="connsiteY505" fmla="*/ 509892 h 509892"/>
              <a:gd name="connsiteX506" fmla="*/ 909958 w 1337274"/>
              <a:gd name="connsiteY506" fmla="*/ 509892 h 509892"/>
              <a:gd name="connsiteX507" fmla="*/ 909454 w 1337274"/>
              <a:gd name="connsiteY507" fmla="*/ 509892 h 509892"/>
              <a:gd name="connsiteX508" fmla="*/ 905848 w 1337274"/>
              <a:gd name="connsiteY508" fmla="*/ 509892 h 509892"/>
              <a:gd name="connsiteX509" fmla="*/ 905846 w 1337274"/>
              <a:gd name="connsiteY509" fmla="*/ 509892 h 509892"/>
              <a:gd name="connsiteX510" fmla="*/ 905836 w 1337274"/>
              <a:gd name="connsiteY510" fmla="*/ 509892 h 509892"/>
              <a:gd name="connsiteX511" fmla="*/ 905835 w 1337274"/>
              <a:gd name="connsiteY511" fmla="*/ 509892 h 509892"/>
              <a:gd name="connsiteX512" fmla="*/ 901477 w 1337274"/>
              <a:gd name="connsiteY512" fmla="*/ 509892 h 509892"/>
              <a:gd name="connsiteX513" fmla="*/ 901474 w 1337274"/>
              <a:gd name="connsiteY513" fmla="*/ 509892 h 509892"/>
              <a:gd name="connsiteX514" fmla="*/ 901464 w 1337274"/>
              <a:gd name="connsiteY514" fmla="*/ 509892 h 509892"/>
              <a:gd name="connsiteX515" fmla="*/ 899251 w 1337274"/>
              <a:gd name="connsiteY515" fmla="*/ 509892 h 509892"/>
              <a:gd name="connsiteX516" fmla="*/ 899249 w 1337274"/>
              <a:gd name="connsiteY516" fmla="*/ 509892 h 509892"/>
              <a:gd name="connsiteX517" fmla="*/ 894880 w 1337274"/>
              <a:gd name="connsiteY517" fmla="*/ 509892 h 509892"/>
              <a:gd name="connsiteX518" fmla="*/ 894877 w 1337274"/>
              <a:gd name="connsiteY518" fmla="*/ 509892 h 509892"/>
              <a:gd name="connsiteX519" fmla="*/ 891356 w 1337274"/>
              <a:gd name="connsiteY519" fmla="*/ 509892 h 509892"/>
              <a:gd name="connsiteX520" fmla="*/ 891355 w 1337274"/>
              <a:gd name="connsiteY520" fmla="*/ 509892 h 509892"/>
              <a:gd name="connsiteX521" fmla="*/ 882862 w 1337274"/>
              <a:gd name="connsiteY521" fmla="*/ 509892 h 509892"/>
              <a:gd name="connsiteX522" fmla="*/ 882861 w 1337274"/>
              <a:gd name="connsiteY522" fmla="*/ 509892 h 509892"/>
              <a:gd name="connsiteX523" fmla="*/ 880328 w 1337274"/>
              <a:gd name="connsiteY523" fmla="*/ 509892 h 509892"/>
              <a:gd name="connsiteX524" fmla="*/ 876266 w 1337274"/>
              <a:gd name="connsiteY524" fmla="*/ 509892 h 509892"/>
              <a:gd name="connsiteX525" fmla="*/ 876265 w 1337274"/>
              <a:gd name="connsiteY525" fmla="*/ 509892 h 509892"/>
              <a:gd name="connsiteX526" fmla="*/ 873404 w 1337274"/>
              <a:gd name="connsiteY526" fmla="*/ 509892 h 509892"/>
              <a:gd name="connsiteX527" fmla="*/ 873401 w 1337274"/>
              <a:gd name="connsiteY527" fmla="*/ 509892 h 509892"/>
              <a:gd name="connsiteX528" fmla="*/ 871834 w 1337274"/>
              <a:gd name="connsiteY528" fmla="*/ 509892 h 509892"/>
              <a:gd name="connsiteX529" fmla="*/ 869032 w 1337274"/>
              <a:gd name="connsiteY529" fmla="*/ 509892 h 509892"/>
              <a:gd name="connsiteX530" fmla="*/ 869030 w 1337274"/>
              <a:gd name="connsiteY530" fmla="*/ 509892 h 509892"/>
              <a:gd name="connsiteX531" fmla="*/ 866807 w 1337274"/>
              <a:gd name="connsiteY531" fmla="*/ 509892 h 509892"/>
              <a:gd name="connsiteX532" fmla="*/ 866805 w 1337274"/>
              <a:gd name="connsiteY532" fmla="*/ 509892 h 509892"/>
              <a:gd name="connsiteX533" fmla="*/ 865250 w 1337274"/>
              <a:gd name="connsiteY533" fmla="*/ 509892 h 509892"/>
              <a:gd name="connsiteX534" fmla="*/ 865247 w 1337274"/>
              <a:gd name="connsiteY534" fmla="*/ 509892 h 509892"/>
              <a:gd name="connsiteX535" fmla="*/ 865237 w 1337274"/>
              <a:gd name="connsiteY535" fmla="*/ 509892 h 509892"/>
              <a:gd name="connsiteX536" fmla="*/ 862436 w 1337274"/>
              <a:gd name="connsiteY536" fmla="*/ 509892 h 509892"/>
              <a:gd name="connsiteX537" fmla="*/ 862433 w 1337274"/>
              <a:gd name="connsiteY537" fmla="*/ 509892 h 509892"/>
              <a:gd name="connsiteX538" fmla="*/ 861932 w 1337274"/>
              <a:gd name="connsiteY538" fmla="*/ 509892 h 509892"/>
              <a:gd name="connsiteX539" fmla="*/ 861930 w 1337274"/>
              <a:gd name="connsiteY539" fmla="*/ 509892 h 509892"/>
              <a:gd name="connsiteX540" fmla="*/ 858313 w 1337274"/>
              <a:gd name="connsiteY540" fmla="*/ 509892 h 509892"/>
              <a:gd name="connsiteX541" fmla="*/ 858311 w 1337274"/>
              <a:gd name="connsiteY541" fmla="*/ 509892 h 509892"/>
              <a:gd name="connsiteX542" fmla="*/ 853942 w 1337274"/>
              <a:gd name="connsiteY542" fmla="*/ 509892 h 509892"/>
              <a:gd name="connsiteX543" fmla="*/ 853939 w 1337274"/>
              <a:gd name="connsiteY543" fmla="*/ 509892 h 509892"/>
              <a:gd name="connsiteX544" fmla="*/ 853735 w 1337274"/>
              <a:gd name="connsiteY544" fmla="*/ 509892 h 509892"/>
              <a:gd name="connsiteX545" fmla="*/ 853734 w 1337274"/>
              <a:gd name="connsiteY545" fmla="*/ 509892 h 509892"/>
              <a:gd name="connsiteX546" fmla="*/ 850417 w 1337274"/>
              <a:gd name="connsiteY546" fmla="*/ 509892 h 509892"/>
              <a:gd name="connsiteX547" fmla="*/ 850416 w 1337274"/>
              <a:gd name="connsiteY547" fmla="*/ 509892 h 509892"/>
              <a:gd name="connsiteX548" fmla="*/ 847139 w 1337274"/>
              <a:gd name="connsiteY548" fmla="*/ 509892 h 509892"/>
              <a:gd name="connsiteX549" fmla="*/ 847138 w 1337274"/>
              <a:gd name="connsiteY549" fmla="*/ 509892 h 509892"/>
              <a:gd name="connsiteX550" fmla="*/ 846635 w 1337274"/>
              <a:gd name="connsiteY550" fmla="*/ 509892 h 509892"/>
              <a:gd name="connsiteX551" fmla="*/ 846634 w 1337274"/>
              <a:gd name="connsiteY551" fmla="*/ 509892 h 509892"/>
              <a:gd name="connsiteX552" fmla="*/ 843833 w 1337274"/>
              <a:gd name="connsiteY552" fmla="*/ 509892 h 509892"/>
              <a:gd name="connsiteX553" fmla="*/ 843831 w 1337274"/>
              <a:gd name="connsiteY553" fmla="*/ 509892 h 509892"/>
              <a:gd name="connsiteX554" fmla="*/ 843821 w 1337274"/>
              <a:gd name="connsiteY554" fmla="*/ 509892 h 509892"/>
              <a:gd name="connsiteX555" fmla="*/ 843820 w 1337274"/>
              <a:gd name="connsiteY555" fmla="*/ 509892 h 509892"/>
              <a:gd name="connsiteX556" fmla="*/ 842264 w 1337274"/>
              <a:gd name="connsiteY556" fmla="*/ 509892 h 509892"/>
              <a:gd name="connsiteX557" fmla="*/ 838645 w 1337274"/>
              <a:gd name="connsiteY557" fmla="*/ 509892 h 509892"/>
              <a:gd name="connsiteX558" fmla="*/ 838644 w 1337274"/>
              <a:gd name="connsiteY558" fmla="*/ 509892 h 509892"/>
              <a:gd name="connsiteX559" fmla="*/ 835339 w 1337274"/>
              <a:gd name="connsiteY559" fmla="*/ 509892 h 509892"/>
              <a:gd name="connsiteX560" fmla="*/ 835337 w 1337274"/>
              <a:gd name="connsiteY560" fmla="*/ 509892 h 509892"/>
              <a:gd name="connsiteX561" fmla="*/ 835327 w 1337274"/>
              <a:gd name="connsiteY561" fmla="*/ 509892 h 509892"/>
              <a:gd name="connsiteX562" fmla="*/ 835326 w 1337274"/>
              <a:gd name="connsiteY562" fmla="*/ 509892 h 509892"/>
              <a:gd name="connsiteX563" fmla="*/ 832805 w 1337274"/>
              <a:gd name="connsiteY563" fmla="*/ 509892 h 509892"/>
              <a:gd name="connsiteX564" fmla="*/ 832803 w 1337274"/>
              <a:gd name="connsiteY564" fmla="*/ 509892 h 509892"/>
              <a:gd name="connsiteX565" fmla="*/ 828742 w 1337274"/>
              <a:gd name="connsiteY565" fmla="*/ 509892 h 509892"/>
              <a:gd name="connsiteX566" fmla="*/ 828741 w 1337274"/>
              <a:gd name="connsiteY566" fmla="*/ 509892 h 509892"/>
              <a:gd name="connsiteX567" fmla="*/ 824311 w 1337274"/>
              <a:gd name="connsiteY567" fmla="*/ 509892 h 509892"/>
              <a:gd name="connsiteX568" fmla="*/ 824309 w 1337274"/>
              <a:gd name="connsiteY568" fmla="*/ 509892 h 509892"/>
              <a:gd name="connsiteX569" fmla="*/ 817715 w 1337274"/>
              <a:gd name="connsiteY569" fmla="*/ 509892 h 509892"/>
              <a:gd name="connsiteX570" fmla="*/ 817712 w 1337274"/>
              <a:gd name="connsiteY570" fmla="*/ 509892 h 509892"/>
              <a:gd name="connsiteX571" fmla="*/ 814190 w 1337274"/>
              <a:gd name="connsiteY571" fmla="*/ 509892 h 509892"/>
              <a:gd name="connsiteX572" fmla="*/ 809819 w 1337274"/>
              <a:gd name="connsiteY572" fmla="*/ 509892 h 509892"/>
              <a:gd name="connsiteX573" fmla="*/ 806213 w 1337274"/>
              <a:gd name="connsiteY573" fmla="*/ 509892 h 509892"/>
              <a:gd name="connsiteX574" fmla="*/ 806209 w 1337274"/>
              <a:gd name="connsiteY574" fmla="*/ 509892 h 509892"/>
              <a:gd name="connsiteX575" fmla="*/ 806200 w 1337274"/>
              <a:gd name="connsiteY575" fmla="*/ 509892 h 509892"/>
              <a:gd name="connsiteX576" fmla="*/ 805696 w 1337274"/>
              <a:gd name="connsiteY576" fmla="*/ 509892 h 509892"/>
              <a:gd name="connsiteX577" fmla="*/ 802895 w 1337274"/>
              <a:gd name="connsiteY577" fmla="*/ 509892 h 509892"/>
              <a:gd name="connsiteX578" fmla="*/ 802892 w 1337274"/>
              <a:gd name="connsiteY578" fmla="*/ 509892 h 509892"/>
              <a:gd name="connsiteX579" fmla="*/ 801325 w 1337274"/>
              <a:gd name="connsiteY579" fmla="*/ 509892 h 509892"/>
              <a:gd name="connsiteX580" fmla="*/ 799615 w 1337274"/>
              <a:gd name="connsiteY580" fmla="*/ 509892 h 509892"/>
              <a:gd name="connsiteX581" fmla="*/ 799613 w 1337274"/>
              <a:gd name="connsiteY581" fmla="*/ 509892 h 509892"/>
              <a:gd name="connsiteX582" fmla="*/ 799112 w 1337274"/>
              <a:gd name="connsiteY582" fmla="*/ 509892 h 509892"/>
              <a:gd name="connsiteX583" fmla="*/ 799110 w 1337274"/>
              <a:gd name="connsiteY583" fmla="*/ 509892 h 509892"/>
              <a:gd name="connsiteX584" fmla="*/ 799100 w 1337274"/>
              <a:gd name="connsiteY584" fmla="*/ 509892 h 509892"/>
              <a:gd name="connsiteX585" fmla="*/ 799099 w 1337274"/>
              <a:gd name="connsiteY585" fmla="*/ 509892 h 509892"/>
              <a:gd name="connsiteX586" fmla="*/ 796298 w 1337274"/>
              <a:gd name="connsiteY586" fmla="*/ 509892 h 509892"/>
              <a:gd name="connsiteX587" fmla="*/ 796296 w 1337274"/>
              <a:gd name="connsiteY587" fmla="*/ 509892 h 509892"/>
              <a:gd name="connsiteX588" fmla="*/ 794741 w 1337274"/>
              <a:gd name="connsiteY588" fmla="*/ 509892 h 509892"/>
              <a:gd name="connsiteX589" fmla="*/ 794739 w 1337274"/>
              <a:gd name="connsiteY589" fmla="*/ 509892 h 509892"/>
              <a:gd name="connsiteX590" fmla="*/ 794728 w 1337274"/>
              <a:gd name="connsiteY590" fmla="*/ 509892 h 509892"/>
              <a:gd name="connsiteX591" fmla="*/ 791122 w 1337274"/>
              <a:gd name="connsiteY591" fmla="*/ 509892 h 509892"/>
              <a:gd name="connsiteX592" fmla="*/ 791119 w 1337274"/>
              <a:gd name="connsiteY592" fmla="*/ 509892 h 509892"/>
              <a:gd name="connsiteX593" fmla="*/ 787804 w 1337274"/>
              <a:gd name="connsiteY593" fmla="*/ 509892 h 509892"/>
              <a:gd name="connsiteX594" fmla="*/ 787802 w 1337274"/>
              <a:gd name="connsiteY594" fmla="*/ 509892 h 509892"/>
              <a:gd name="connsiteX595" fmla="*/ 787598 w 1337274"/>
              <a:gd name="connsiteY595" fmla="*/ 509892 h 509892"/>
              <a:gd name="connsiteX596" fmla="*/ 787597 w 1337274"/>
              <a:gd name="connsiteY596" fmla="*/ 509892 h 509892"/>
              <a:gd name="connsiteX597" fmla="*/ 783227 w 1337274"/>
              <a:gd name="connsiteY597" fmla="*/ 509892 h 509892"/>
              <a:gd name="connsiteX598" fmla="*/ 783226 w 1337274"/>
              <a:gd name="connsiteY598" fmla="*/ 509892 h 509892"/>
              <a:gd name="connsiteX599" fmla="*/ 781001 w 1337274"/>
              <a:gd name="connsiteY599" fmla="*/ 509892 h 509892"/>
              <a:gd name="connsiteX600" fmla="*/ 781000 w 1337274"/>
              <a:gd name="connsiteY600" fmla="*/ 509892 h 509892"/>
              <a:gd name="connsiteX601" fmla="*/ 776631 w 1337274"/>
              <a:gd name="connsiteY601" fmla="*/ 509892 h 509892"/>
              <a:gd name="connsiteX602" fmla="*/ 776629 w 1337274"/>
              <a:gd name="connsiteY602" fmla="*/ 509892 h 509892"/>
              <a:gd name="connsiteX603" fmla="*/ 776126 w 1337274"/>
              <a:gd name="connsiteY603" fmla="*/ 509892 h 509892"/>
              <a:gd name="connsiteX604" fmla="*/ 776125 w 1337274"/>
              <a:gd name="connsiteY604" fmla="*/ 509892 h 509892"/>
              <a:gd name="connsiteX605" fmla="*/ 772508 w 1337274"/>
              <a:gd name="connsiteY605" fmla="*/ 509892 h 509892"/>
              <a:gd name="connsiteX606" fmla="*/ 772507 w 1337274"/>
              <a:gd name="connsiteY606" fmla="*/ 509892 h 509892"/>
              <a:gd name="connsiteX607" fmla="*/ 768137 w 1337274"/>
              <a:gd name="connsiteY607" fmla="*/ 509892 h 509892"/>
              <a:gd name="connsiteX608" fmla="*/ 768136 w 1337274"/>
              <a:gd name="connsiteY608" fmla="*/ 509892 h 509892"/>
              <a:gd name="connsiteX609" fmla="*/ 766668 w 1337274"/>
              <a:gd name="connsiteY609" fmla="*/ 509892 h 509892"/>
              <a:gd name="connsiteX610" fmla="*/ 766666 w 1337274"/>
              <a:gd name="connsiteY610" fmla="*/ 509892 h 509892"/>
              <a:gd name="connsiteX611" fmla="*/ 762296 w 1337274"/>
              <a:gd name="connsiteY611" fmla="*/ 509892 h 509892"/>
              <a:gd name="connsiteX612" fmla="*/ 762294 w 1337274"/>
              <a:gd name="connsiteY612" fmla="*/ 509892 h 509892"/>
              <a:gd name="connsiteX613" fmla="*/ 758678 w 1337274"/>
              <a:gd name="connsiteY613" fmla="*/ 509892 h 509892"/>
              <a:gd name="connsiteX614" fmla="*/ 758675 w 1337274"/>
              <a:gd name="connsiteY614" fmla="*/ 509892 h 509892"/>
              <a:gd name="connsiteX615" fmla="*/ 758174 w 1337274"/>
              <a:gd name="connsiteY615" fmla="*/ 509892 h 509892"/>
              <a:gd name="connsiteX616" fmla="*/ 758172 w 1337274"/>
              <a:gd name="connsiteY616" fmla="*/ 509892 h 509892"/>
              <a:gd name="connsiteX617" fmla="*/ 753802 w 1337274"/>
              <a:gd name="connsiteY617" fmla="*/ 509892 h 509892"/>
              <a:gd name="connsiteX618" fmla="*/ 753800 w 1337274"/>
              <a:gd name="connsiteY618" fmla="*/ 509892 h 509892"/>
              <a:gd name="connsiteX619" fmla="*/ 751578 w 1337274"/>
              <a:gd name="connsiteY619" fmla="*/ 509892 h 509892"/>
              <a:gd name="connsiteX620" fmla="*/ 751575 w 1337274"/>
              <a:gd name="connsiteY620" fmla="*/ 509892 h 509892"/>
              <a:gd name="connsiteX621" fmla="*/ 747206 w 1337274"/>
              <a:gd name="connsiteY621" fmla="*/ 509892 h 509892"/>
              <a:gd name="connsiteX622" fmla="*/ 747203 w 1337274"/>
              <a:gd name="connsiteY622" fmla="*/ 509892 h 509892"/>
              <a:gd name="connsiteX623" fmla="*/ 746999 w 1337274"/>
              <a:gd name="connsiteY623" fmla="*/ 509892 h 509892"/>
              <a:gd name="connsiteX624" fmla="*/ 743681 w 1337274"/>
              <a:gd name="connsiteY624" fmla="*/ 509892 h 509892"/>
              <a:gd name="connsiteX625" fmla="*/ 740075 w 1337274"/>
              <a:gd name="connsiteY625" fmla="*/ 509892 h 509892"/>
              <a:gd name="connsiteX626" fmla="*/ 740073 w 1337274"/>
              <a:gd name="connsiteY626" fmla="*/ 509892 h 509892"/>
              <a:gd name="connsiteX627" fmla="*/ 740063 w 1337274"/>
              <a:gd name="connsiteY627" fmla="*/ 509892 h 509892"/>
              <a:gd name="connsiteX628" fmla="*/ 740062 w 1337274"/>
              <a:gd name="connsiteY628" fmla="*/ 509892 h 509892"/>
              <a:gd name="connsiteX629" fmla="*/ 738506 w 1337274"/>
              <a:gd name="connsiteY629" fmla="*/ 509892 h 509892"/>
              <a:gd name="connsiteX630" fmla="*/ 735704 w 1337274"/>
              <a:gd name="connsiteY630" fmla="*/ 509892 h 509892"/>
              <a:gd name="connsiteX631" fmla="*/ 735701 w 1337274"/>
              <a:gd name="connsiteY631" fmla="*/ 509892 h 509892"/>
              <a:gd name="connsiteX632" fmla="*/ 735691 w 1337274"/>
              <a:gd name="connsiteY632" fmla="*/ 509892 h 509892"/>
              <a:gd name="connsiteX633" fmla="*/ 735187 w 1337274"/>
              <a:gd name="connsiteY633" fmla="*/ 509892 h 509892"/>
              <a:gd name="connsiteX634" fmla="*/ 733478 w 1337274"/>
              <a:gd name="connsiteY634" fmla="*/ 509892 h 509892"/>
              <a:gd name="connsiteX635" fmla="*/ 733476 w 1337274"/>
              <a:gd name="connsiteY635" fmla="*/ 509892 h 509892"/>
              <a:gd name="connsiteX636" fmla="*/ 731909 w 1337274"/>
              <a:gd name="connsiteY636" fmla="*/ 509892 h 509892"/>
              <a:gd name="connsiteX637" fmla="*/ 731908 w 1337274"/>
              <a:gd name="connsiteY637" fmla="*/ 509892 h 509892"/>
              <a:gd name="connsiteX638" fmla="*/ 729107 w 1337274"/>
              <a:gd name="connsiteY638" fmla="*/ 509892 h 509892"/>
              <a:gd name="connsiteX639" fmla="*/ 729104 w 1337274"/>
              <a:gd name="connsiteY639" fmla="*/ 509892 h 509892"/>
              <a:gd name="connsiteX640" fmla="*/ 728603 w 1337274"/>
              <a:gd name="connsiteY640" fmla="*/ 509892 h 509892"/>
              <a:gd name="connsiteX641" fmla="*/ 728601 w 1337274"/>
              <a:gd name="connsiteY641" fmla="*/ 509892 h 509892"/>
              <a:gd name="connsiteX642" fmla="*/ 728591 w 1337274"/>
              <a:gd name="connsiteY642" fmla="*/ 509892 h 509892"/>
              <a:gd name="connsiteX643" fmla="*/ 728590 w 1337274"/>
              <a:gd name="connsiteY643" fmla="*/ 509892 h 509892"/>
              <a:gd name="connsiteX644" fmla="*/ 724984 w 1337274"/>
              <a:gd name="connsiteY644" fmla="*/ 509892 h 509892"/>
              <a:gd name="connsiteX645" fmla="*/ 724983 w 1337274"/>
              <a:gd name="connsiteY645" fmla="*/ 509892 h 509892"/>
              <a:gd name="connsiteX646" fmla="*/ 720613 w 1337274"/>
              <a:gd name="connsiteY646" fmla="*/ 509892 h 509892"/>
              <a:gd name="connsiteX647" fmla="*/ 720611 w 1337274"/>
              <a:gd name="connsiteY647" fmla="*/ 509892 h 509892"/>
              <a:gd name="connsiteX648" fmla="*/ 717089 w 1337274"/>
              <a:gd name="connsiteY648" fmla="*/ 509892 h 509892"/>
              <a:gd name="connsiteX649" fmla="*/ 717088 w 1337274"/>
              <a:gd name="connsiteY649" fmla="*/ 509892 h 509892"/>
              <a:gd name="connsiteX650" fmla="*/ 710493 w 1337274"/>
              <a:gd name="connsiteY650" fmla="*/ 509892 h 509892"/>
              <a:gd name="connsiteX651" fmla="*/ 710492 w 1337274"/>
              <a:gd name="connsiteY651" fmla="*/ 509892 h 509892"/>
              <a:gd name="connsiteX652" fmla="*/ 706061 w 1337274"/>
              <a:gd name="connsiteY652" fmla="*/ 509892 h 509892"/>
              <a:gd name="connsiteX653" fmla="*/ 701999 w 1337274"/>
              <a:gd name="connsiteY653" fmla="*/ 509892 h 509892"/>
              <a:gd name="connsiteX654" fmla="*/ 701998 w 1337274"/>
              <a:gd name="connsiteY654" fmla="*/ 509892 h 509892"/>
              <a:gd name="connsiteX655" fmla="*/ 699477 w 1337274"/>
              <a:gd name="connsiteY655" fmla="*/ 509892 h 509892"/>
              <a:gd name="connsiteX656" fmla="*/ 699474 w 1337274"/>
              <a:gd name="connsiteY656" fmla="*/ 509892 h 509892"/>
              <a:gd name="connsiteX657" fmla="*/ 699464 w 1337274"/>
              <a:gd name="connsiteY657" fmla="*/ 509892 h 509892"/>
              <a:gd name="connsiteX658" fmla="*/ 696159 w 1337274"/>
              <a:gd name="connsiteY658" fmla="*/ 509892 h 509892"/>
              <a:gd name="connsiteX659" fmla="*/ 696157 w 1337274"/>
              <a:gd name="connsiteY659" fmla="*/ 509892 h 509892"/>
              <a:gd name="connsiteX660" fmla="*/ 692540 w 1337274"/>
              <a:gd name="connsiteY660" fmla="*/ 509892 h 509892"/>
              <a:gd name="connsiteX661" fmla="*/ 692538 w 1337274"/>
              <a:gd name="connsiteY661" fmla="*/ 509892 h 509892"/>
              <a:gd name="connsiteX662" fmla="*/ 690983 w 1337274"/>
              <a:gd name="connsiteY662" fmla="*/ 509892 h 509892"/>
              <a:gd name="connsiteX663" fmla="*/ 690981 w 1337274"/>
              <a:gd name="connsiteY663" fmla="*/ 509892 h 509892"/>
              <a:gd name="connsiteX664" fmla="*/ 690970 w 1337274"/>
              <a:gd name="connsiteY664" fmla="*/ 509892 h 509892"/>
              <a:gd name="connsiteX665" fmla="*/ 688169 w 1337274"/>
              <a:gd name="connsiteY665" fmla="*/ 509892 h 509892"/>
              <a:gd name="connsiteX666" fmla="*/ 688166 w 1337274"/>
              <a:gd name="connsiteY666" fmla="*/ 509892 h 509892"/>
              <a:gd name="connsiteX667" fmla="*/ 687666 w 1337274"/>
              <a:gd name="connsiteY667" fmla="*/ 509892 h 509892"/>
              <a:gd name="connsiteX668" fmla="*/ 687663 w 1337274"/>
              <a:gd name="connsiteY668" fmla="*/ 509892 h 509892"/>
              <a:gd name="connsiteX669" fmla="*/ 684387 w 1337274"/>
              <a:gd name="connsiteY669" fmla="*/ 509892 h 509892"/>
              <a:gd name="connsiteX670" fmla="*/ 684383 w 1337274"/>
              <a:gd name="connsiteY670" fmla="*/ 509892 h 509892"/>
              <a:gd name="connsiteX671" fmla="*/ 681069 w 1337274"/>
              <a:gd name="connsiteY671" fmla="*/ 509892 h 509892"/>
              <a:gd name="connsiteX672" fmla="*/ 681066 w 1337274"/>
              <a:gd name="connsiteY672" fmla="*/ 509892 h 509892"/>
              <a:gd name="connsiteX673" fmla="*/ 680862 w 1337274"/>
              <a:gd name="connsiteY673" fmla="*/ 509892 h 509892"/>
              <a:gd name="connsiteX674" fmla="*/ 680861 w 1337274"/>
              <a:gd name="connsiteY674" fmla="*/ 509892 h 509892"/>
              <a:gd name="connsiteX675" fmla="*/ 676491 w 1337274"/>
              <a:gd name="connsiteY675" fmla="*/ 509892 h 509892"/>
              <a:gd name="connsiteX676" fmla="*/ 672872 w 1337274"/>
              <a:gd name="connsiteY676" fmla="*/ 509892 h 509892"/>
              <a:gd name="connsiteX677" fmla="*/ 672871 w 1337274"/>
              <a:gd name="connsiteY677" fmla="*/ 509892 h 509892"/>
              <a:gd name="connsiteX678" fmla="*/ 672368 w 1337274"/>
              <a:gd name="connsiteY678" fmla="*/ 509892 h 509892"/>
              <a:gd name="connsiteX679" fmla="*/ 672367 w 1337274"/>
              <a:gd name="connsiteY679" fmla="*/ 509892 h 509892"/>
              <a:gd name="connsiteX680" fmla="*/ 669566 w 1337274"/>
              <a:gd name="connsiteY680" fmla="*/ 509892 h 509892"/>
              <a:gd name="connsiteX681" fmla="*/ 669564 w 1337274"/>
              <a:gd name="connsiteY681" fmla="*/ 509892 h 509892"/>
              <a:gd name="connsiteX682" fmla="*/ 669554 w 1337274"/>
              <a:gd name="connsiteY682" fmla="*/ 509892 h 509892"/>
              <a:gd name="connsiteX683" fmla="*/ 669553 w 1337274"/>
              <a:gd name="connsiteY683" fmla="*/ 509892 h 509892"/>
              <a:gd name="connsiteX684" fmla="*/ 667997 w 1337274"/>
              <a:gd name="connsiteY684" fmla="*/ 509892 h 509892"/>
              <a:gd name="connsiteX685" fmla="*/ 665772 w 1337274"/>
              <a:gd name="connsiteY685" fmla="*/ 509892 h 509892"/>
              <a:gd name="connsiteX686" fmla="*/ 665771 w 1337274"/>
              <a:gd name="connsiteY686" fmla="*/ 509892 h 509892"/>
              <a:gd name="connsiteX687" fmla="*/ 662969 w 1337274"/>
              <a:gd name="connsiteY687" fmla="*/ 509892 h 509892"/>
              <a:gd name="connsiteX688" fmla="*/ 662968 w 1337274"/>
              <a:gd name="connsiteY688" fmla="*/ 509892 h 509892"/>
              <a:gd name="connsiteX689" fmla="*/ 661401 w 1337274"/>
              <a:gd name="connsiteY689" fmla="*/ 509892 h 509892"/>
              <a:gd name="connsiteX690" fmla="*/ 661400 w 1337274"/>
              <a:gd name="connsiteY690" fmla="*/ 509892 h 509892"/>
              <a:gd name="connsiteX691" fmla="*/ 658538 w 1337274"/>
              <a:gd name="connsiteY691" fmla="*/ 509892 h 509892"/>
              <a:gd name="connsiteX692" fmla="*/ 658536 w 1337274"/>
              <a:gd name="connsiteY692" fmla="*/ 509892 h 509892"/>
              <a:gd name="connsiteX693" fmla="*/ 654475 w 1337274"/>
              <a:gd name="connsiteY693" fmla="*/ 509892 h 509892"/>
              <a:gd name="connsiteX694" fmla="*/ 654474 w 1337274"/>
              <a:gd name="connsiteY694" fmla="*/ 509892 h 509892"/>
              <a:gd name="connsiteX695" fmla="*/ 651942 w 1337274"/>
              <a:gd name="connsiteY695" fmla="*/ 509892 h 509892"/>
              <a:gd name="connsiteX696" fmla="*/ 651939 w 1337274"/>
              <a:gd name="connsiteY696" fmla="*/ 509892 h 509892"/>
              <a:gd name="connsiteX697" fmla="*/ 643448 w 1337274"/>
              <a:gd name="connsiteY697" fmla="*/ 509892 h 509892"/>
              <a:gd name="connsiteX698" fmla="*/ 643445 w 1337274"/>
              <a:gd name="connsiteY698" fmla="*/ 509892 h 509892"/>
              <a:gd name="connsiteX699" fmla="*/ 639923 w 1337274"/>
              <a:gd name="connsiteY699" fmla="*/ 509892 h 509892"/>
              <a:gd name="connsiteX700" fmla="*/ 635552 w 1337274"/>
              <a:gd name="connsiteY700" fmla="*/ 509892 h 509892"/>
              <a:gd name="connsiteX701" fmla="*/ 633339 w 1337274"/>
              <a:gd name="connsiteY701" fmla="*/ 509892 h 509892"/>
              <a:gd name="connsiteX702" fmla="*/ 633337 w 1337274"/>
              <a:gd name="connsiteY702" fmla="*/ 509892 h 509892"/>
              <a:gd name="connsiteX703" fmla="*/ 633327 w 1337274"/>
              <a:gd name="connsiteY703" fmla="*/ 509892 h 509892"/>
              <a:gd name="connsiteX704" fmla="*/ 633326 w 1337274"/>
              <a:gd name="connsiteY704" fmla="*/ 509892 h 509892"/>
              <a:gd name="connsiteX705" fmla="*/ 628968 w 1337274"/>
              <a:gd name="connsiteY705" fmla="*/ 509892 h 509892"/>
              <a:gd name="connsiteX706" fmla="*/ 628966 w 1337274"/>
              <a:gd name="connsiteY706" fmla="*/ 509892 h 509892"/>
              <a:gd name="connsiteX707" fmla="*/ 628955 w 1337274"/>
              <a:gd name="connsiteY707" fmla="*/ 509892 h 509892"/>
              <a:gd name="connsiteX708" fmla="*/ 625349 w 1337274"/>
              <a:gd name="connsiteY708" fmla="*/ 509892 h 509892"/>
              <a:gd name="connsiteX709" fmla="*/ 625346 w 1337274"/>
              <a:gd name="connsiteY709" fmla="*/ 509892 h 509892"/>
              <a:gd name="connsiteX710" fmla="*/ 624845 w 1337274"/>
              <a:gd name="connsiteY710" fmla="*/ 509892 h 509892"/>
              <a:gd name="connsiteX711" fmla="*/ 624843 w 1337274"/>
              <a:gd name="connsiteY711" fmla="*/ 509892 h 509892"/>
              <a:gd name="connsiteX712" fmla="*/ 624833 w 1337274"/>
              <a:gd name="connsiteY712" fmla="*/ 509892 h 509892"/>
              <a:gd name="connsiteX713" fmla="*/ 624832 w 1337274"/>
              <a:gd name="connsiteY713" fmla="*/ 509892 h 509892"/>
              <a:gd name="connsiteX714" fmla="*/ 622031 w 1337274"/>
              <a:gd name="connsiteY714" fmla="*/ 509892 h 509892"/>
              <a:gd name="connsiteX715" fmla="*/ 622029 w 1337274"/>
              <a:gd name="connsiteY715" fmla="*/ 509892 h 509892"/>
              <a:gd name="connsiteX716" fmla="*/ 620474 w 1337274"/>
              <a:gd name="connsiteY716" fmla="*/ 509892 h 509892"/>
              <a:gd name="connsiteX717" fmla="*/ 620472 w 1337274"/>
              <a:gd name="connsiteY717" fmla="*/ 509892 h 509892"/>
              <a:gd name="connsiteX718" fmla="*/ 620461 w 1337274"/>
              <a:gd name="connsiteY718" fmla="*/ 509892 h 509892"/>
              <a:gd name="connsiteX719" fmla="*/ 618249 w 1337274"/>
              <a:gd name="connsiteY719" fmla="*/ 509892 h 509892"/>
              <a:gd name="connsiteX720" fmla="*/ 618247 w 1337274"/>
              <a:gd name="connsiteY720" fmla="*/ 509892 h 509892"/>
              <a:gd name="connsiteX721" fmla="*/ 610353 w 1337274"/>
              <a:gd name="connsiteY721" fmla="*/ 509892 h 509892"/>
              <a:gd name="connsiteX722" fmla="*/ 610352 w 1337274"/>
              <a:gd name="connsiteY722" fmla="*/ 509892 h 509892"/>
              <a:gd name="connsiteX723" fmla="*/ 606735 w 1337274"/>
              <a:gd name="connsiteY723" fmla="*/ 509892 h 509892"/>
              <a:gd name="connsiteX724" fmla="*/ 606734 w 1337274"/>
              <a:gd name="connsiteY724" fmla="*/ 509892 h 509892"/>
              <a:gd name="connsiteX725" fmla="*/ 602364 w 1337274"/>
              <a:gd name="connsiteY725" fmla="*/ 509892 h 509892"/>
              <a:gd name="connsiteX726" fmla="*/ 602363 w 1337274"/>
              <a:gd name="connsiteY726" fmla="*/ 509892 h 509892"/>
              <a:gd name="connsiteX727" fmla="*/ 592401 w 1337274"/>
              <a:gd name="connsiteY727" fmla="*/ 509892 h 509892"/>
              <a:gd name="connsiteX728" fmla="*/ 592399 w 1337274"/>
              <a:gd name="connsiteY728" fmla="*/ 509892 h 509892"/>
              <a:gd name="connsiteX729" fmla="*/ 588029 w 1337274"/>
              <a:gd name="connsiteY729" fmla="*/ 509892 h 509892"/>
              <a:gd name="connsiteX730" fmla="*/ 588027 w 1337274"/>
              <a:gd name="connsiteY730" fmla="*/ 509892 h 509892"/>
              <a:gd name="connsiteX731" fmla="*/ 585805 w 1337274"/>
              <a:gd name="connsiteY731" fmla="*/ 509892 h 509892"/>
              <a:gd name="connsiteX732" fmla="*/ 585802 w 1337274"/>
              <a:gd name="connsiteY732" fmla="*/ 509892 h 509892"/>
              <a:gd name="connsiteX733" fmla="*/ 581433 w 1337274"/>
              <a:gd name="connsiteY733" fmla="*/ 509892 h 509892"/>
              <a:gd name="connsiteX734" fmla="*/ 581430 w 1337274"/>
              <a:gd name="connsiteY734" fmla="*/ 509892 h 509892"/>
              <a:gd name="connsiteX735" fmla="*/ 572733 w 1337274"/>
              <a:gd name="connsiteY735" fmla="*/ 509892 h 509892"/>
              <a:gd name="connsiteX736" fmla="*/ 569414 w 1337274"/>
              <a:gd name="connsiteY736" fmla="*/ 509892 h 509892"/>
              <a:gd name="connsiteX737" fmla="*/ 566136 w 1337274"/>
              <a:gd name="connsiteY737" fmla="*/ 509892 h 509892"/>
              <a:gd name="connsiteX738" fmla="*/ 566135 w 1337274"/>
              <a:gd name="connsiteY738" fmla="*/ 509892 h 509892"/>
              <a:gd name="connsiteX739" fmla="*/ 562830 w 1337274"/>
              <a:gd name="connsiteY739" fmla="*/ 509892 h 509892"/>
              <a:gd name="connsiteX740" fmla="*/ 562828 w 1337274"/>
              <a:gd name="connsiteY740" fmla="*/ 509892 h 509892"/>
              <a:gd name="connsiteX741" fmla="*/ 562818 w 1337274"/>
              <a:gd name="connsiteY741" fmla="*/ 509892 h 509892"/>
              <a:gd name="connsiteX742" fmla="*/ 562817 w 1337274"/>
              <a:gd name="connsiteY742" fmla="*/ 509892 h 509892"/>
              <a:gd name="connsiteX743" fmla="*/ 559211 w 1337274"/>
              <a:gd name="connsiteY743" fmla="*/ 509892 h 509892"/>
              <a:gd name="connsiteX744" fmla="*/ 559210 w 1337274"/>
              <a:gd name="connsiteY744" fmla="*/ 509892 h 509892"/>
              <a:gd name="connsiteX745" fmla="*/ 554840 w 1337274"/>
              <a:gd name="connsiteY745" fmla="*/ 509892 h 509892"/>
              <a:gd name="connsiteX746" fmla="*/ 554838 w 1337274"/>
              <a:gd name="connsiteY746" fmla="*/ 509892 h 509892"/>
              <a:gd name="connsiteX747" fmla="*/ 536226 w 1337274"/>
              <a:gd name="connsiteY747" fmla="*/ 509892 h 509892"/>
              <a:gd name="connsiteX748" fmla="*/ 536225 w 1337274"/>
              <a:gd name="connsiteY748" fmla="*/ 509892 h 509892"/>
              <a:gd name="connsiteX749" fmla="*/ 525210 w 1337274"/>
              <a:gd name="connsiteY749" fmla="*/ 509892 h 509892"/>
              <a:gd name="connsiteX750" fmla="*/ 525208 w 1337274"/>
              <a:gd name="connsiteY750" fmla="*/ 509892 h 509892"/>
              <a:gd name="connsiteX751" fmla="*/ 525197 w 1337274"/>
              <a:gd name="connsiteY751" fmla="*/ 509892 h 509892"/>
              <a:gd name="connsiteX752" fmla="*/ 521893 w 1337274"/>
              <a:gd name="connsiteY752" fmla="*/ 509892 h 509892"/>
              <a:gd name="connsiteX753" fmla="*/ 521890 w 1337274"/>
              <a:gd name="connsiteY753" fmla="*/ 509892 h 509892"/>
              <a:gd name="connsiteX754" fmla="*/ 518614 w 1337274"/>
              <a:gd name="connsiteY754" fmla="*/ 509892 h 509892"/>
              <a:gd name="connsiteX755" fmla="*/ 518610 w 1337274"/>
              <a:gd name="connsiteY755" fmla="*/ 509892 h 509892"/>
              <a:gd name="connsiteX756" fmla="*/ 515296 w 1337274"/>
              <a:gd name="connsiteY756" fmla="*/ 509892 h 509892"/>
              <a:gd name="connsiteX757" fmla="*/ 515293 w 1337274"/>
              <a:gd name="connsiteY757" fmla="*/ 509892 h 509892"/>
              <a:gd name="connsiteX758" fmla="*/ 506595 w 1337274"/>
              <a:gd name="connsiteY758" fmla="*/ 509892 h 509892"/>
              <a:gd name="connsiteX759" fmla="*/ 506594 w 1337274"/>
              <a:gd name="connsiteY759" fmla="*/ 509892 h 509892"/>
              <a:gd name="connsiteX760" fmla="*/ 502224 w 1337274"/>
              <a:gd name="connsiteY760" fmla="*/ 509892 h 509892"/>
              <a:gd name="connsiteX761" fmla="*/ 499999 w 1337274"/>
              <a:gd name="connsiteY761" fmla="*/ 509892 h 509892"/>
              <a:gd name="connsiteX762" fmla="*/ 499998 w 1337274"/>
              <a:gd name="connsiteY762" fmla="*/ 509892 h 509892"/>
              <a:gd name="connsiteX763" fmla="*/ 495628 w 1337274"/>
              <a:gd name="connsiteY763" fmla="*/ 509892 h 509892"/>
              <a:gd name="connsiteX764" fmla="*/ 495627 w 1337274"/>
              <a:gd name="connsiteY764" fmla="*/ 509892 h 509892"/>
              <a:gd name="connsiteX765" fmla="*/ 488702 w 1337274"/>
              <a:gd name="connsiteY765" fmla="*/ 509892 h 509892"/>
              <a:gd name="connsiteX766" fmla="*/ 488701 w 1337274"/>
              <a:gd name="connsiteY766" fmla="*/ 509892 h 509892"/>
              <a:gd name="connsiteX767" fmla="*/ 477675 w 1337274"/>
              <a:gd name="connsiteY767" fmla="*/ 509892 h 509892"/>
              <a:gd name="connsiteX768" fmla="*/ 477672 w 1337274"/>
              <a:gd name="connsiteY768" fmla="*/ 509892 h 509892"/>
              <a:gd name="connsiteX769" fmla="*/ 459072 w 1337274"/>
              <a:gd name="connsiteY769" fmla="*/ 509892 h 509892"/>
              <a:gd name="connsiteX770" fmla="*/ 459070 w 1337274"/>
              <a:gd name="connsiteY770" fmla="*/ 509892 h 509892"/>
              <a:gd name="connsiteX771" fmla="*/ 459060 w 1337274"/>
              <a:gd name="connsiteY771" fmla="*/ 509892 h 509892"/>
              <a:gd name="connsiteX772" fmla="*/ 459059 w 1337274"/>
              <a:gd name="connsiteY772" fmla="*/ 509892 h 509892"/>
              <a:gd name="connsiteX773" fmla="*/ 454701 w 1337274"/>
              <a:gd name="connsiteY773" fmla="*/ 509892 h 509892"/>
              <a:gd name="connsiteX774" fmla="*/ 454699 w 1337274"/>
              <a:gd name="connsiteY774" fmla="*/ 509892 h 509892"/>
              <a:gd name="connsiteX775" fmla="*/ 454688 w 1337274"/>
              <a:gd name="connsiteY775" fmla="*/ 509892 h 509892"/>
              <a:gd name="connsiteX776" fmla="*/ 452476 w 1337274"/>
              <a:gd name="connsiteY776" fmla="*/ 509892 h 509892"/>
              <a:gd name="connsiteX777" fmla="*/ 452474 w 1337274"/>
              <a:gd name="connsiteY777" fmla="*/ 509892 h 509892"/>
              <a:gd name="connsiteX778" fmla="*/ 254947 w 1337274"/>
              <a:gd name="connsiteY778" fmla="*/ 509891 h 509892"/>
              <a:gd name="connsiteX779" fmla="*/ 5179 w 1337274"/>
              <a:gd name="connsiteY779" fmla="*/ 306326 h 509892"/>
              <a:gd name="connsiteX780" fmla="*/ 0 w 1337274"/>
              <a:gd name="connsiteY780" fmla="*/ 254947 h 509892"/>
              <a:gd name="connsiteX781" fmla="*/ 5179 w 1337274"/>
              <a:gd name="connsiteY781" fmla="*/ 203566 h 509892"/>
              <a:gd name="connsiteX782" fmla="*/ 254947 w 1337274"/>
              <a:gd name="connsiteY782" fmla="*/ 0 h 50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</a:cxnLst>
            <a:rect l="l" t="t" r="r" b="b"/>
            <a:pathLst>
              <a:path w="1337274" h="509892">
                <a:moveTo>
                  <a:pt x="254947" y="0"/>
                </a:moveTo>
                <a:lnTo>
                  <a:pt x="255223" y="0"/>
                </a:lnTo>
                <a:lnTo>
                  <a:pt x="257162" y="0"/>
                </a:lnTo>
                <a:lnTo>
                  <a:pt x="257172" y="0"/>
                </a:lnTo>
                <a:lnTo>
                  <a:pt x="261533" y="0"/>
                </a:lnTo>
                <a:lnTo>
                  <a:pt x="261544" y="0"/>
                </a:lnTo>
                <a:lnTo>
                  <a:pt x="273836" y="0"/>
                </a:lnTo>
                <a:lnTo>
                  <a:pt x="278208" y="0"/>
                </a:lnTo>
                <a:lnTo>
                  <a:pt x="280145" y="0"/>
                </a:lnTo>
                <a:lnTo>
                  <a:pt x="291174" y="0"/>
                </a:lnTo>
                <a:lnTo>
                  <a:pt x="298100" y="0"/>
                </a:lnTo>
                <a:lnTo>
                  <a:pt x="302471" y="0"/>
                </a:lnTo>
                <a:lnTo>
                  <a:pt x="304697" y="0"/>
                </a:lnTo>
                <a:lnTo>
                  <a:pt x="309068" y="0"/>
                </a:lnTo>
                <a:lnTo>
                  <a:pt x="317767" y="0"/>
                </a:lnTo>
                <a:lnTo>
                  <a:pt x="321084" y="0"/>
                </a:lnTo>
                <a:lnTo>
                  <a:pt x="321361" y="0"/>
                </a:lnTo>
                <a:lnTo>
                  <a:pt x="324363" y="0"/>
                </a:lnTo>
                <a:lnTo>
                  <a:pt x="325732" y="0"/>
                </a:lnTo>
                <a:lnTo>
                  <a:pt x="327670" y="0"/>
                </a:lnTo>
                <a:lnTo>
                  <a:pt x="327680" y="0"/>
                </a:lnTo>
                <a:lnTo>
                  <a:pt x="338698" y="0"/>
                </a:lnTo>
                <a:lnTo>
                  <a:pt x="341028" y="0"/>
                </a:lnTo>
                <a:lnTo>
                  <a:pt x="344345" y="0"/>
                </a:lnTo>
                <a:lnTo>
                  <a:pt x="357311" y="0"/>
                </a:lnTo>
                <a:lnTo>
                  <a:pt x="361682" y="0"/>
                </a:lnTo>
                <a:lnTo>
                  <a:pt x="365291" y="0"/>
                </a:lnTo>
                <a:lnTo>
                  <a:pt x="365302" y="0"/>
                </a:lnTo>
                <a:lnTo>
                  <a:pt x="368609" y="0"/>
                </a:lnTo>
                <a:lnTo>
                  <a:pt x="371887" y="0"/>
                </a:lnTo>
                <a:lnTo>
                  <a:pt x="375205" y="0"/>
                </a:lnTo>
                <a:lnTo>
                  <a:pt x="381966" y="0"/>
                </a:lnTo>
                <a:lnTo>
                  <a:pt x="383903" y="0"/>
                </a:lnTo>
                <a:lnTo>
                  <a:pt x="388275" y="0"/>
                </a:lnTo>
                <a:lnTo>
                  <a:pt x="388551" y="0"/>
                </a:lnTo>
                <a:lnTo>
                  <a:pt x="388562" y="0"/>
                </a:lnTo>
                <a:lnTo>
                  <a:pt x="390501" y="0"/>
                </a:lnTo>
                <a:lnTo>
                  <a:pt x="391870" y="0"/>
                </a:lnTo>
                <a:lnTo>
                  <a:pt x="394872" y="0"/>
                </a:lnTo>
                <a:lnTo>
                  <a:pt x="404836" y="0"/>
                </a:lnTo>
                <a:lnTo>
                  <a:pt x="407164" y="0"/>
                </a:lnTo>
                <a:lnTo>
                  <a:pt x="409206" y="0"/>
                </a:lnTo>
                <a:lnTo>
                  <a:pt x="411536" y="0"/>
                </a:lnTo>
                <a:lnTo>
                  <a:pt x="412826" y="0"/>
                </a:lnTo>
                <a:lnTo>
                  <a:pt x="420720" y="0"/>
                </a:lnTo>
                <a:lnTo>
                  <a:pt x="420996" y="0"/>
                </a:lnTo>
                <a:lnTo>
                  <a:pt x="422935" y="0"/>
                </a:lnTo>
                <a:lnTo>
                  <a:pt x="422945" y="0"/>
                </a:lnTo>
                <a:lnTo>
                  <a:pt x="424503" y="0"/>
                </a:lnTo>
                <a:lnTo>
                  <a:pt x="427306" y="0"/>
                </a:lnTo>
                <a:lnTo>
                  <a:pt x="427317" y="0"/>
                </a:lnTo>
                <a:lnTo>
                  <a:pt x="427820" y="0"/>
                </a:lnTo>
                <a:lnTo>
                  <a:pt x="429490" y="0"/>
                </a:lnTo>
                <a:lnTo>
                  <a:pt x="431428" y="0"/>
                </a:lnTo>
                <a:lnTo>
                  <a:pt x="431438" y="0"/>
                </a:lnTo>
                <a:lnTo>
                  <a:pt x="435799" y="0"/>
                </a:lnTo>
                <a:lnTo>
                  <a:pt x="435810" y="0"/>
                </a:lnTo>
                <a:lnTo>
                  <a:pt x="436086" y="0"/>
                </a:lnTo>
                <a:lnTo>
                  <a:pt x="438026" y="0"/>
                </a:lnTo>
                <a:lnTo>
                  <a:pt x="439609" y="0"/>
                </a:lnTo>
                <a:lnTo>
                  <a:pt x="442396" y="0"/>
                </a:lnTo>
                <a:lnTo>
                  <a:pt x="443981" y="0"/>
                </a:lnTo>
                <a:lnTo>
                  <a:pt x="445918" y="0"/>
                </a:lnTo>
                <a:lnTo>
                  <a:pt x="448103" y="0"/>
                </a:lnTo>
                <a:lnTo>
                  <a:pt x="452475" y="0"/>
                </a:lnTo>
                <a:lnTo>
                  <a:pt x="454412" y="0"/>
                </a:lnTo>
                <a:lnTo>
                  <a:pt x="454689" y="0"/>
                </a:lnTo>
                <a:lnTo>
                  <a:pt x="454699" y="0"/>
                </a:lnTo>
                <a:lnTo>
                  <a:pt x="456947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09" y="0"/>
                </a:lnTo>
                <a:lnTo>
                  <a:pt x="463873" y="0"/>
                </a:lnTo>
                <a:lnTo>
                  <a:pt x="465440" y="0"/>
                </a:lnTo>
                <a:lnTo>
                  <a:pt x="468244" y="0"/>
                </a:lnTo>
                <a:lnTo>
                  <a:pt x="470470" y="0"/>
                </a:lnTo>
                <a:lnTo>
                  <a:pt x="472027" y="0"/>
                </a:lnTo>
                <a:lnTo>
                  <a:pt x="472038" y="0"/>
                </a:lnTo>
                <a:lnTo>
                  <a:pt x="474841" y="0"/>
                </a:lnTo>
                <a:lnTo>
                  <a:pt x="475345" y="0"/>
                </a:lnTo>
                <a:lnTo>
                  <a:pt x="477673" y="0"/>
                </a:lnTo>
                <a:lnTo>
                  <a:pt x="478963" y="0"/>
                </a:lnTo>
                <a:lnTo>
                  <a:pt x="483334" y="0"/>
                </a:lnTo>
                <a:lnTo>
                  <a:pt x="483540" y="0"/>
                </a:lnTo>
                <a:lnTo>
                  <a:pt x="486857" y="0"/>
                </a:lnTo>
                <a:lnTo>
                  <a:pt x="487134" y="0"/>
                </a:lnTo>
                <a:lnTo>
                  <a:pt x="488701" y="0"/>
                </a:lnTo>
                <a:lnTo>
                  <a:pt x="490136" y="0"/>
                </a:lnTo>
                <a:lnTo>
                  <a:pt x="490639" y="0"/>
                </a:lnTo>
                <a:lnTo>
                  <a:pt x="491505" y="0"/>
                </a:lnTo>
                <a:lnTo>
                  <a:pt x="493443" y="0"/>
                </a:lnTo>
                <a:lnTo>
                  <a:pt x="493453" y="0"/>
                </a:lnTo>
                <a:lnTo>
                  <a:pt x="495012" y="0"/>
                </a:lnTo>
                <a:lnTo>
                  <a:pt x="495628" y="0"/>
                </a:lnTo>
                <a:lnTo>
                  <a:pt x="498630" y="0"/>
                </a:lnTo>
                <a:lnTo>
                  <a:pt x="499999" y="0"/>
                </a:lnTo>
                <a:lnTo>
                  <a:pt x="501937" y="0"/>
                </a:lnTo>
                <a:lnTo>
                  <a:pt x="501947" y="0"/>
                </a:lnTo>
                <a:lnTo>
                  <a:pt x="502224" y="0"/>
                </a:lnTo>
                <a:lnTo>
                  <a:pt x="504471" y="0"/>
                </a:lnTo>
                <a:lnTo>
                  <a:pt x="506595" y="0"/>
                </a:lnTo>
                <a:lnTo>
                  <a:pt x="506801" y="0"/>
                </a:lnTo>
                <a:lnTo>
                  <a:pt x="508534" y="0"/>
                </a:lnTo>
                <a:lnTo>
                  <a:pt x="510118" y="0"/>
                </a:lnTo>
                <a:lnTo>
                  <a:pt x="512964" y="0"/>
                </a:lnTo>
                <a:lnTo>
                  <a:pt x="515294" y="0"/>
                </a:lnTo>
                <a:lnTo>
                  <a:pt x="518611" y="0"/>
                </a:lnTo>
                <a:lnTo>
                  <a:pt x="519562" y="0"/>
                </a:lnTo>
                <a:lnTo>
                  <a:pt x="521890" y="0"/>
                </a:lnTo>
                <a:lnTo>
                  <a:pt x="523084" y="0"/>
                </a:lnTo>
                <a:lnTo>
                  <a:pt x="525198" y="0"/>
                </a:lnTo>
                <a:lnTo>
                  <a:pt x="525208" y="0"/>
                </a:lnTo>
                <a:lnTo>
                  <a:pt x="527455" y="0"/>
                </a:lnTo>
                <a:lnTo>
                  <a:pt x="531064" y="0"/>
                </a:lnTo>
                <a:lnTo>
                  <a:pt x="531075" y="0"/>
                </a:lnTo>
                <a:lnTo>
                  <a:pt x="531578" y="0"/>
                </a:lnTo>
                <a:lnTo>
                  <a:pt x="534382" y="0"/>
                </a:lnTo>
                <a:lnTo>
                  <a:pt x="535949" y="0"/>
                </a:lnTo>
                <a:lnTo>
                  <a:pt x="536226" y="0"/>
                </a:lnTo>
                <a:lnTo>
                  <a:pt x="537660" y="0"/>
                </a:lnTo>
                <a:lnTo>
                  <a:pt x="538165" y="0"/>
                </a:lnTo>
                <a:lnTo>
                  <a:pt x="538174" y="0"/>
                </a:lnTo>
                <a:lnTo>
                  <a:pt x="540978" y="0"/>
                </a:lnTo>
                <a:lnTo>
                  <a:pt x="542535" y="0"/>
                </a:lnTo>
                <a:lnTo>
                  <a:pt x="542546" y="0"/>
                </a:lnTo>
                <a:lnTo>
                  <a:pt x="546154" y="0"/>
                </a:lnTo>
                <a:lnTo>
                  <a:pt x="547739" y="0"/>
                </a:lnTo>
                <a:lnTo>
                  <a:pt x="549472" y="0"/>
                </a:lnTo>
                <a:lnTo>
                  <a:pt x="549676" y="0"/>
                </a:lnTo>
                <a:lnTo>
                  <a:pt x="554048" y="0"/>
                </a:lnTo>
                <a:lnTo>
                  <a:pt x="554324" y="0"/>
                </a:lnTo>
                <a:lnTo>
                  <a:pt x="554335" y="0"/>
                </a:lnTo>
                <a:lnTo>
                  <a:pt x="554839" y="0"/>
                </a:lnTo>
                <a:lnTo>
                  <a:pt x="556274" y="0"/>
                </a:lnTo>
                <a:lnTo>
                  <a:pt x="557643" y="0"/>
                </a:lnTo>
                <a:lnTo>
                  <a:pt x="559210" y="0"/>
                </a:lnTo>
                <a:lnTo>
                  <a:pt x="560645" y="0"/>
                </a:lnTo>
                <a:lnTo>
                  <a:pt x="561148" y="0"/>
                </a:lnTo>
                <a:lnTo>
                  <a:pt x="562818" y="0"/>
                </a:lnTo>
                <a:lnTo>
                  <a:pt x="562829" y="0"/>
                </a:lnTo>
                <a:lnTo>
                  <a:pt x="564768" y="0"/>
                </a:lnTo>
                <a:lnTo>
                  <a:pt x="566136" y="0"/>
                </a:lnTo>
                <a:lnTo>
                  <a:pt x="569138" y="0"/>
                </a:lnTo>
                <a:lnTo>
                  <a:pt x="569414" y="0"/>
                </a:lnTo>
                <a:lnTo>
                  <a:pt x="570609" y="0"/>
                </a:lnTo>
                <a:lnTo>
                  <a:pt x="572733" y="0"/>
                </a:lnTo>
                <a:lnTo>
                  <a:pt x="572937" y="0"/>
                </a:lnTo>
                <a:lnTo>
                  <a:pt x="574979" y="0"/>
                </a:lnTo>
                <a:lnTo>
                  <a:pt x="577309" y="0"/>
                </a:lnTo>
                <a:lnTo>
                  <a:pt x="578599" y="0"/>
                </a:lnTo>
                <a:lnTo>
                  <a:pt x="579103" y="0"/>
                </a:lnTo>
                <a:lnTo>
                  <a:pt x="581431" y="0"/>
                </a:lnTo>
                <a:lnTo>
                  <a:pt x="583473" y="0"/>
                </a:lnTo>
                <a:lnTo>
                  <a:pt x="585699" y="0"/>
                </a:lnTo>
                <a:lnTo>
                  <a:pt x="585803" y="0"/>
                </a:lnTo>
                <a:lnTo>
                  <a:pt x="588028" y="0"/>
                </a:lnTo>
                <a:lnTo>
                  <a:pt x="590070" y="0"/>
                </a:lnTo>
                <a:lnTo>
                  <a:pt x="590276" y="0"/>
                </a:lnTo>
                <a:lnTo>
                  <a:pt x="592399" y="0"/>
                </a:lnTo>
                <a:lnTo>
                  <a:pt x="593593" y="0"/>
                </a:lnTo>
                <a:lnTo>
                  <a:pt x="595263" y="0"/>
                </a:lnTo>
                <a:lnTo>
                  <a:pt x="597201" y="0"/>
                </a:lnTo>
                <a:lnTo>
                  <a:pt x="597211" y="0"/>
                </a:lnTo>
                <a:lnTo>
                  <a:pt x="598770" y="0"/>
                </a:lnTo>
                <a:lnTo>
                  <a:pt x="601572" y="0"/>
                </a:lnTo>
                <a:lnTo>
                  <a:pt x="601583" y="0"/>
                </a:lnTo>
                <a:lnTo>
                  <a:pt x="601859" y="0"/>
                </a:lnTo>
                <a:lnTo>
                  <a:pt x="602087" y="0"/>
                </a:lnTo>
                <a:lnTo>
                  <a:pt x="602364" y="0"/>
                </a:lnTo>
                <a:lnTo>
                  <a:pt x="603799" y="0"/>
                </a:lnTo>
                <a:lnTo>
                  <a:pt x="605366" y="0"/>
                </a:lnTo>
                <a:lnTo>
                  <a:pt x="606735" y="0"/>
                </a:lnTo>
                <a:lnTo>
                  <a:pt x="608169" y="0"/>
                </a:lnTo>
                <a:lnTo>
                  <a:pt x="608673" y="0"/>
                </a:lnTo>
                <a:lnTo>
                  <a:pt x="608683" y="0"/>
                </a:lnTo>
                <a:lnTo>
                  <a:pt x="610353" y="0"/>
                </a:lnTo>
                <a:lnTo>
                  <a:pt x="612293" y="0"/>
                </a:lnTo>
                <a:lnTo>
                  <a:pt x="613876" y="0"/>
                </a:lnTo>
                <a:lnTo>
                  <a:pt x="616662" y="0"/>
                </a:lnTo>
                <a:lnTo>
                  <a:pt x="618248" y="0"/>
                </a:lnTo>
                <a:lnTo>
                  <a:pt x="620185" y="0"/>
                </a:lnTo>
                <a:lnTo>
                  <a:pt x="620462" y="0"/>
                </a:lnTo>
                <a:lnTo>
                  <a:pt x="620472" y="0"/>
                </a:lnTo>
                <a:lnTo>
                  <a:pt x="622030" y="0"/>
                </a:lnTo>
                <a:lnTo>
                  <a:pt x="624833" y="0"/>
                </a:lnTo>
                <a:lnTo>
                  <a:pt x="624844" y="0"/>
                </a:lnTo>
                <a:lnTo>
                  <a:pt x="625347" y="0"/>
                </a:lnTo>
                <a:lnTo>
                  <a:pt x="626782" y="0"/>
                </a:lnTo>
                <a:lnTo>
                  <a:pt x="628956" y="0"/>
                </a:lnTo>
                <a:lnTo>
                  <a:pt x="628966" y="0"/>
                </a:lnTo>
                <a:lnTo>
                  <a:pt x="631213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5553" y="0"/>
                </a:lnTo>
                <a:lnTo>
                  <a:pt x="637800" y="0"/>
                </a:lnTo>
                <a:lnTo>
                  <a:pt x="637811" y="0"/>
                </a:lnTo>
                <a:lnTo>
                  <a:pt x="639923" y="0"/>
                </a:lnTo>
                <a:lnTo>
                  <a:pt x="641118" y="0"/>
                </a:lnTo>
                <a:lnTo>
                  <a:pt x="643446" y="0"/>
                </a:lnTo>
                <a:lnTo>
                  <a:pt x="644736" y="0"/>
                </a:lnTo>
                <a:lnTo>
                  <a:pt x="646293" y="0"/>
                </a:lnTo>
                <a:lnTo>
                  <a:pt x="646304" y="0"/>
                </a:lnTo>
                <a:lnTo>
                  <a:pt x="649107" y="0"/>
                </a:lnTo>
                <a:lnTo>
                  <a:pt x="649612" y="0"/>
                </a:lnTo>
                <a:lnTo>
                  <a:pt x="651940" y="0"/>
                </a:lnTo>
                <a:lnTo>
                  <a:pt x="652890" y="0"/>
                </a:lnTo>
                <a:lnTo>
                  <a:pt x="654474" y="0"/>
                </a:lnTo>
                <a:lnTo>
                  <a:pt x="656208" y="0"/>
                </a:lnTo>
                <a:lnTo>
                  <a:pt x="656412" y="0"/>
                </a:lnTo>
                <a:lnTo>
                  <a:pt x="658537" y="0"/>
                </a:lnTo>
                <a:lnTo>
                  <a:pt x="660785" y="0"/>
                </a:lnTo>
                <a:lnTo>
                  <a:pt x="661401" y="0"/>
                </a:lnTo>
                <a:lnTo>
                  <a:pt x="662968" y="0"/>
                </a:lnTo>
                <a:lnTo>
                  <a:pt x="664403" y="0"/>
                </a:lnTo>
                <a:lnTo>
                  <a:pt x="664906" y="0"/>
                </a:lnTo>
                <a:lnTo>
                  <a:pt x="665772" y="0"/>
                </a:lnTo>
                <a:lnTo>
                  <a:pt x="667710" y="0"/>
                </a:lnTo>
                <a:lnTo>
                  <a:pt x="667720" y="0"/>
                </a:lnTo>
                <a:lnTo>
                  <a:pt x="667997" y="0"/>
                </a:lnTo>
                <a:lnTo>
                  <a:pt x="669278" y="0"/>
                </a:lnTo>
                <a:lnTo>
                  <a:pt x="669554" y="0"/>
                </a:lnTo>
                <a:lnTo>
                  <a:pt x="669565" y="0"/>
                </a:lnTo>
                <a:lnTo>
                  <a:pt x="671502" y="0"/>
                </a:lnTo>
                <a:lnTo>
                  <a:pt x="672368" y="0"/>
                </a:lnTo>
                <a:lnTo>
                  <a:pt x="672872" y="0"/>
                </a:lnTo>
                <a:lnTo>
                  <a:pt x="674307" y="0"/>
                </a:lnTo>
                <a:lnTo>
                  <a:pt x="675874" y="0"/>
                </a:lnTo>
                <a:lnTo>
                  <a:pt x="676491" y="0"/>
                </a:lnTo>
                <a:lnTo>
                  <a:pt x="678737" y="0"/>
                </a:lnTo>
                <a:lnTo>
                  <a:pt x="680862" y="0"/>
                </a:lnTo>
                <a:lnTo>
                  <a:pt x="681067" y="0"/>
                </a:lnTo>
                <a:lnTo>
                  <a:pt x="682801" y="0"/>
                </a:lnTo>
                <a:lnTo>
                  <a:pt x="684384" y="0"/>
                </a:lnTo>
                <a:lnTo>
                  <a:pt x="685335" y="0"/>
                </a:lnTo>
                <a:lnTo>
                  <a:pt x="687663" y="0"/>
                </a:lnTo>
                <a:lnTo>
                  <a:pt x="688167" y="0"/>
                </a:lnTo>
                <a:lnTo>
                  <a:pt x="690971" y="0"/>
                </a:lnTo>
                <a:lnTo>
                  <a:pt x="690981" y="0"/>
                </a:lnTo>
                <a:lnTo>
                  <a:pt x="692539" y="0"/>
                </a:lnTo>
                <a:lnTo>
                  <a:pt x="693828" y="0"/>
                </a:lnTo>
                <a:lnTo>
                  <a:pt x="696157" y="0"/>
                </a:lnTo>
                <a:lnTo>
                  <a:pt x="697351" y="0"/>
                </a:lnTo>
                <a:lnTo>
                  <a:pt x="699465" y="0"/>
                </a:lnTo>
                <a:lnTo>
                  <a:pt x="699474" y="0"/>
                </a:lnTo>
                <a:lnTo>
                  <a:pt x="701722" y="0"/>
                </a:lnTo>
                <a:lnTo>
                  <a:pt x="701999" y="0"/>
                </a:lnTo>
                <a:lnTo>
                  <a:pt x="703938" y="0"/>
                </a:lnTo>
                <a:lnTo>
                  <a:pt x="703947" y="0"/>
                </a:lnTo>
                <a:lnTo>
                  <a:pt x="706062" y="0"/>
                </a:lnTo>
                <a:lnTo>
                  <a:pt x="708308" y="0"/>
                </a:lnTo>
                <a:lnTo>
                  <a:pt x="708319" y="0"/>
                </a:lnTo>
                <a:lnTo>
                  <a:pt x="710493" y="0"/>
                </a:lnTo>
                <a:lnTo>
                  <a:pt x="711927" y="0"/>
                </a:lnTo>
                <a:lnTo>
                  <a:pt x="712431" y="0"/>
                </a:lnTo>
                <a:lnTo>
                  <a:pt x="712441" y="0"/>
                </a:lnTo>
                <a:lnTo>
                  <a:pt x="715245" y="0"/>
                </a:lnTo>
                <a:lnTo>
                  <a:pt x="716802" y="0"/>
                </a:lnTo>
                <a:lnTo>
                  <a:pt x="716813" y="0"/>
                </a:lnTo>
                <a:lnTo>
                  <a:pt x="717089" y="0"/>
                </a:lnTo>
                <a:lnTo>
                  <a:pt x="719027" y="0"/>
                </a:lnTo>
                <a:lnTo>
                  <a:pt x="720612" y="0"/>
                </a:lnTo>
                <a:lnTo>
                  <a:pt x="723398" y="0"/>
                </a:lnTo>
                <a:lnTo>
                  <a:pt x="724983" y="0"/>
                </a:lnTo>
                <a:lnTo>
                  <a:pt x="726921" y="0"/>
                </a:lnTo>
                <a:lnTo>
                  <a:pt x="728591" y="0"/>
                </a:lnTo>
                <a:lnTo>
                  <a:pt x="728602" y="0"/>
                </a:lnTo>
                <a:lnTo>
                  <a:pt x="729106" y="0"/>
                </a:lnTo>
                <a:lnTo>
                  <a:pt x="730541" y="0"/>
                </a:lnTo>
                <a:lnTo>
                  <a:pt x="731909" y="0"/>
                </a:lnTo>
                <a:lnTo>
                  <a:pt x="733476" y="0"/>
                </a:lnTo>
                <a:lnTo>
                  <a:pt x="734911" y="0"/>
                </a:lnTo>
                <a:lnTo>
                  <a:pt x="735187" y="0"/>
                </a:lnTo>
                <a:lnTo>
                  <a:pt x="735415" y="0"/>
                </a:lnTo>
                <a:lnTo>
                  <a:pt x="735692" y="0"/>
                </a:lnTo>
                <a:lnTo>
                  <a:pt x="735702" y="0"/>
                </a:lnTo>
                <a:lnTo>
                  <a:pt x="738506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3681" y="0"/>
                </a:lnTo>
                <a:lnTo>
                  <a:pt x="744876" y="0"/>
                </a:lnTo>
                <a:lnTo>
                  <a:pt x="746999" y="0"/>
                </a:lnTo>
                <a:lnTo>
                  <a:pt x="747204" y="0"/>
                </a:lnTo>
                <a:lnTo>
                  <a:pt x="749246" y="0"/>
                </a:lnTo>
                <a:lnTo>
                  <a:pt x="751472" y="0"/>
                </a:lnTo>
                <a:lnTo>
                  <a:pt x="751576" y="0"/>
                </a:lnTo>
                <a:lnTo>
                  <a:pt x="753801" y="0"/>
                </a:lnTo>
                <a:lnTo>
                  <a:pt x="755843" y="0"/>
                </a:lnTo>
                <a:lnTo>
                  <a:pt x="758172" y="0"/>
                </a:lnTo>
                <a:lnTo>
                  <a:pt x="758676" y="0"/>
                </a:lnTo>
                <a:lnTo>
                  <a:pt x="759966" y="0"/>
                </a:lnTo>
                <a:lnTo>
                  <a:pt x="762295" y="0"/>
                </a:lnTo>
                <a:lnTo>
                  <a:pt x="764337" y="0"/>
                </a:lnTo>
                <a:lnTo>
                  <a:pt x="764543" y="0"/>
                </a:lnTo>
                <a:lnTo>
                  <a:pt x="766666" y="0"/>
                </a:lnTo>
                <a:lnTo>
                  <a:pt x="767860" y="0"/>
                </a:lnTo>
                <a:lnTo>
                  <a:pt x="768137" y="0"/>
                </a:lnTo>
                <a:lnTo>
                  <a:pt x="771139" y="0"/>
                </a:lnTo>
                <a:lnTo>
                  <a:pt x="772508" y="0"/>
                </a:lnTo>
                <a:lnTo>
                  <a:pt x="774446" y="0"/>
                </a:lnTo>
                <a:lnTo>
                  <a:pt x="774456" y="0"/>
                </a:lnTo>
                <a:lnTo>
                  <a:pt x="776126" y="0"/>
                </a:lnTo>
                <a:lnTo>
                  <a:pt x="776631" y="0"/>
                </a:lnTo>
                <a:lnTo>
                  <a:pt x="778066" y="0"/>
                </a:lnTo>
                <a:lnTo>
                  <a:pt x="779633" y="0"/>
                </a:lnTo>
                <a:lnTo>
                  <a:pt x="781001" y="0"/>
                </a:lnTo>
                <a:lnTo>
                  <a:pt x="782435" y="0"/>
                </a:lnTo>
                <a:lnTo>
                  <a:pt x="782940" y="0"/>
                </a:lnTo>
                <a:lnTo>
                  <a:pt x="782950" y="0"/>
                </a:lnTo>
                <a:lnTo>
                  <a:pt x="783227" y="0"/>
                </a:lnTo>
                <a:lnTo>
                  <a:pt x="787598" y="0"/>
                </a:lnTo>
                <a:lnTo>
                  <a:pt x="787803" y="0"/>
                </a:lnTo>
                <a:lnTo>
                  <a:pt x="789536" y="0"/>
                </a:lnTo>
                <a:lnTo>
                  <a:pt x="791120" y="0"/>
                </a:lnTo>
                <a:lnTo>
                  <a:pt x="794729" y="0"/>
                </a:lnTo>
                <a:lnTo>
                  <a:pt x="794739" y="0"/>
                </a:lnTo>
                <a:lnTo>
                  <a:pt x="796297" y="0"/>
                </a:lnTo>
                <a:lnTo>
                  <a:pt x="799100" y="0"/>
                </a:lnTo>
                <a:lnTo>
                  <a:pt x="799111" y="0"/>
                </a:lnTo>
                <a:lnTo>
                  <a:pt x="799614" y="0"/>
                </a:lnTo>
                <a:lnTo>
                  <a:pt x="801049" y="0"/>
                </a:lnTo>
                <a:lnTo>
                  <a:pt x="801326" y="0"/>
                </a:lnTo>
                <a:lnTo>
                  <a:pt x="802893" y="0"/>
                </a:lnTo>
                <a:lnTo>
                  <a:pt x="805696" y="0"/>
                </a:lnTo>
                <a:lnTo>
                  <a:pt x="806201" y="0"/>
                </a:lnTo>
                <a:lnTo>
                  <a:pt x="806210" y="0"/>
                </a:lnTo>
                <a:lnTo>
                  <a:pt x="809820" y="0"/>
                </a:lnTo>
                <a:lnTo>
                  <a:pt x="812066" y="0"/>
                </a:lnTo>
                <a:lnTo>
                  <a:pt x="812077" y="0"/>
                </a:lnTo>
                <a:lnTo>
                  <a:pt x="814190" y="0"/>
                </a:lnTo>
                <a:lnTo>
                  <a:pt x="815385" y="0"/>
                </a:lnTo>
                <a:lnTo>
                  <a:pt x="817713" y="0"/>
                </a:lnTo>
                <a:lnTo>
                  <a:pt x="818663" y="0"/>
                </a:lnTo>
                <a:lnTo>
                  <a:pt x="821981" y="0"/>
                </a:lnTo>
                <a:lnTo>
                  <a:pt x="824310" y="0"/>
                </a:lnTo>
                <a:lnTo>
                  <a:pt x="827156" y="0"/>
                </a:lnTo>
                <a:lnTo>
                  <a:pt x="828741" y="0"/>
                </a:lnTo>
                <a:lnTo>
                  <a:pt x="830475" y="0"/>
                </a:lnTo>
                <a:lnTo>
                  <a:pt x="830679" y="0"/>
                </a:lnTo>
                <a:lnTo>
                  <a:pt x="832804" y="0"/>
                </a:lnTo>
                <a:lnTo>
                  <a:pt x="835051" y="0"/>
                </a:lnTo>
                <a:lnTo>
                  <a:pt x="835327" y="0"/>
                </a:lnTo>
                <a:lnTo>
                  <a:pt x="835338" y="0"/>
                </a:lnTo>
                <a:lnTo>
                  <a:pt x="837275" y="0"/>
                </a:lnTo>
                <a:lnTo>
                  <a:pt x="838645" y="0"/>
                </a:lnTo>
                <a:lnTo>
                  <a:pt x="841647" y="0"/>
                </a:lnTo>
                <a:lnTo>
                  <a:pt x="842264" y="0"/>
                </a:lnTo>
                <a:lnTo>
                  <a:pt x="843821" y="0"/>
                </a:lnTo>
                <a:lnTo>
                  <a:pt x="843832" y="0"/>
                </a:lnTo>
                <a:lnTo>
                  <a:pt x="845769" y="0"/>
                </a:lnTo>
                <a:lnTo>
                  <a:pt x="846635" y="0"/>
                </a:lnTo>
                <a:lnTo>
                  <a:pt x="847139" y="0"/>
                </a:lnTo>
                <a:lnTo>
                  <a:pt x="848574" y="0"/>
                </a:lnTo>
                <a:lnTo>
                  <a:pt x="850141" y="0"/>
                </a:lnTo>
                <a:lnTo>
                  <a:pt x="850417" y="0"/>
                </a:lnTo>
                <a:lnTo>
                  <a:pt x="853735" y="0"/>
                </a:lnTo>
                <a:lnTo>
                  <a:pt x="853940" y="0"/>
                </a:lnTo>
                <a:lnTo>
                  <a:pt x="858312" y="0"/>
                </a:lnTo>
                <a:lnTo>
                  <a:pt x="859601" y="0"/>
                </a:lnTo>
                <a:lnTo>
                  <a:pt x="861930" y="0"/>
                </a:lnTo>
                <a:lnTo>
                  <a:pt x="862434" y="0"/>
                </a:lnTo>
                <a:lnTo>
                  <a:pt x="865238" y="0"/>
                </a:lnTo>
                <a:lnTo>
                  <a:pt x="865247" y="0"/>
                </a:lnTo>
                <a:lnTo>
                  <a:pt x="866806" y="0"/>
                </a:lnTo>
                <a:lnTo>
                  <a:pt x="869030" y="0"/>
                </a:lnTo>
                <a:lnTo>
                  <a:pt x="871835" y="0"/>
                </a:lnTo>
                <a:lnTo>
                  <a:pt x="873402" y="0"/>
                </a:lnTo>
                <a:lnTo>
                  <a:pt x="876266" y="0"/>
                </a:lnTo>
                <a:lnTo>
                  <a:pt x="878204" y="0"/>
                </a:lnTo>
                <a:lnTo>
                  <a:pt x="878214" y="0"/>
                </a:lnTo>
                <a:lnTo>
                  <a:pt x="880329" y="0"/>
                </a:lnTo>
                <a:lnTo>
                  <a:pt x="882575" y="0"/>
                </a:lnTo>
                <a:lnTo>
                  <a:pt x="882586" y="0"/>
                </a:lnTo>
                <a:lnTo>
                  <a:pt x="882862" y="0"/>
                </a:lnTo>
                <a:lnTo>
                  <a:pt x="884800" y="0"/>
                </a:lnTo>
                <a:lnTo>
                  <a:pt x="889171" y="0"/>
                </a:lnTo>
                <a:lnTo>
                  <a:pt x="891356" y="0"/>
                </a:lnTo>
                <a:lnTo>
                  <a:pt x="893294" y="0"/>
                </a:lnTo>
                <a:lnTo>
                  <a:pt x="894879" y="0"/>
                </a:lnTo>
                <a:lnTo>
                  <a:pt x="897665" y="0"/>
                </a:lnTo>
                <a:lnTo>
                  <a:pt x="899249" y="0"/>
                </a:lnTo>
                <a:lnTo>
                  <a:pt x="901188" y="0"/>
                </a:lnTo>
                <a:lnTo>
                  <a:pt x="901465" y="0"/>
                </a:lnTo>
                <a:lnTo>
                  <a:pt x="901475" y="0"/>
                </a:lnTo>
                <a:lnTo>
                  <a:pt x="905836" y="0"/>
                </a:lnTo>
                <a:lnTo>
                  <a:pt x="905847" y="0"/>
                </a:lnTo>
                <a:lnTo>
                  <a:pt x="907784" y="0"/>
                </a:lnTo>
                <a:lnTo>
                  <a:pt x="909454" y="0"/>
                </a:lnTo>
                <a:lnTo>
                  <a:pt x="909959" y="0"/>
                </a:lnTo>
                <a:lnTo>
                  <a:pt x="909968" y="0"/>
                </a:lnTo>
                <a:lnTo>
                  <a:pt x="912772" y="0"/>
                </a:lnTo>
                <a:lnTo>
                  <a:pt x="914330" y="0"/>
                </a:lnTo>
                <a:lnTo>
                  <a:pt x="914341" y="0"/>
                </a:lnTo>
                <a:lnTo>
                  <a:pt x="916278" y="0"/>
                </a:lnTo>
                <a:lnTo>
                  <a:pt x="916555" y="0"/>
                </a:lnTo>
                <a:lnTo>
                  <a:pt x="924449" y="0"/>
                </a:lnTo>
                <a:lnTo>
                  <a:pt x="925739" y="0"/>
                </a:lnTo>
                <a:lnTo>
                  <a:pt x="928068" y="0"/>
                </a:lnTo>
                <a:lnTo>
                  <a:pt x="930110" y="0"/>
                </a:lnTo>
                <a:lnTo>
                  <a:pt x="932439" y="0"/>
                </a:lnTo>
                <a:lnTo>
                  <a:pt x="942404" y="0"/>
                </a:lnTo>
                <a:lnTo>
                  <a:pt x="945406" y="0"/>
                </a:lnTo>
                <a:lnTo>
                  <a:pt x="946774" y="0"/>
                </a:lnTo>
                <a:lnTo>
                  <a:pt x="948713" y="0"/>
                </a:lnTo>
                <a:lnTo>
                  <a:pt x="948723" y="0"/>
                </a:lnTo>
                <a:lnTo>
                  <a:pt x="949000" y="0"/>
                </a:lnTo>
                <a:lnTo>
                  <a:pt x="953371" y="0"/>
                </a:lnTo>
                <a:lnTo>
                  <a:pt x="955309" y="0"/>
                </a:lnTo>
                <a:lnTo>
                  <a:pt x="962070" y="0"/>
                </a:lnTo>
                <a:lnTo>
                  <a:pt x="965387" y="0"/>
                </a:lnTo>
                <a:lnTo>
                  <a:pt x="968666" y="0"/>
                </a:lnTo>
                <a:lnTo>
                  <a:pt x="971974" y="0"/>
                </a:lnTo>
                <a:lnTo>
                  <a:pt x="971983" y="0"/>
                </a:lnTo>
                <a:lnTo>
                  <a:pt x="975593" y="0"/>
                </a:lnTo>
                <a:lnTo>
                  <a:pt x="979963" y="0"/>
                </a:lnTo>
                <a:lnTo>
                  <a:pt x="992929" y="0"/>
                </a:lnTo>
                <a:lnTo>
                  <a:pt x="996248" y="0"/>
                </a:lnTo>
                <a:lnTo>
                  <a:pt x="998577" y="0"/>
                </a:lnTo>
                <a:lnTo>
                  <a:pt x="1009594" y="0"/>
                </a:lnTo>
                <a:lnTo>
                  <a:pt x="1009605" y="0"/>
                </a:lnTo>
                <a:lnTo>
                  <a:pt x="1011542" y="0"/>
                </a:lnTo>
                <a:lnTo>
                  <a:pt x="1012912" y="0"/>
                </a:lnTo>
                <a:lnTo>
                  <a:pt x="1015914" y="0"/>
                </a:lnTo>
                <a:lnTo>
                  <a:pt x="1016190" y="0"/>
                </a:lnTo>
                <a:lnTo>
                  <a:pt x="1019508" y="0"/>
                </a:lnTo>
                <a:lnTo>
                  <a:pt x="1028207" y="0"/>
                </a:lnTo>
                <a:lnTo>
                  <a:pt x="1032579" y="0"/>
                </a:lnTo>
                <a:lnTo>
                  <a:pt x="1034803" y="0"/>
                </a:lnTo>
                <a:lnTo>
                  <a:pt x="1039175" y="0"/>
                </a:lnTo>
                <a:lnTo>
                  <a:pt x="1046102" y="0"/>
                </a:lnTo>
                <a:lnTo>
                  <a:pt x="1057129" y="0"/>
                </a:lnTo>
                <a:lnTo>
                  <a:pt x="1059067" y="0"/>
                </a:lnTo>
                <a:lnTo>
                  <a:pt x="1063438" y="0"/>
                </a:lnTo>
                <a:lnTo>
                  <a:pt x="1075732" y="0"/>
                </a:lnTo>
                <a:lnTo>
                  <a:pt x="1075741" y="0"/>
                </a:lnTo>
                <a:lnTo>
                  <a:pt x="1080103" y="0"/>
                </a:lnTo>
                <a:lnTo>
                  <a:pt x="1080114" y="0"/>
                </a:lnTo>
                <a:lnTo>
                  <a:pt x="1082051" y="0"/>
                </a:lnTo>
                <a:lnTo>
                  <a:pt x="1082328" y="0"/>
                </a:lnTo>
                <a:cubicBezTo>
                  <a:pt x="1223131" y="0"/>
                  <a:pt x="1337274" y="114144"/>
                  <a:pt x="1337274" y="254947"/>
                </a:cubicBezTo>
                <a:lnTo>
                  <a:pt x="1337273" y="254947"/>
                </a:lnTo>
                <a:cubicBezTo>
                  <a:pt x="1337273" y="395750"/>
                  <a:pt x="1223130" y="509892"/>
                  <a:pt x="1082328" y="509892"/>
                </a:cubicBezTo>
                <a:lnTo>
                  <a:pt x="1080115" y="509892"/>
                </a:lnTo>
                <a:lnTo>
                  <a:pt x="1080112" y="509892"/>
                </a:lnTo>
                <a:lnTo>
                  <a:pt x="1080103" y="509892"/>
                </a:lnTo>
                <a:lnTo>
                  <a:pt x="1080102" y="509892"/>
                </a:lnTo>
                <a:lnTo>
                  <a:pt x="1075744" y="509892"/>
                </a:lnTo>
                <a:lnTo>
                  <a:pt x="1075740" y="509892"/>
                </a:lnTo>
                <a:lnTo>
                  <a:pt x="1075731" y="509892"/>
                </a:lnTo>
                <a:lnTo>
                  <a:pt x="1057129" y="509892"/>
                </a:lnTo>
                <a:lnTo>
                  <a:pt x="1057128" y="509892"/>
                </a:lnTo>
                <a:lnTo>
                  <a:pt x="1046101" y="509892"/>
                </a:lnTo>
                <a:lnTo>
                  <a:pt x="1039177" y="509892"/>
                </a:lnTo>
                <a:lnTo>
                  <a:pt x="1039174" y="509892"/>
                </a:lnTo>
                <a:lnTo>
                  <a:pt x="1034805" y="509892"/>
                </a:lnTo>
                <a:lnTo>
                  <a:pt x="1034803" y="509892"/>
                </a:lnTo>
                <a:lnTo>
                  <a:pt x="1032580" y="509892"/>
                </a:lnTo>
                <a:lnTo>
                  <a:pt x="1032578" y="509892"/>
                </a:lnTo>
                <a:lnTo>
                  <a:pt x="1028209" y="509892"/>
                </a:lnTo>
                <a:lnTo>
                  <a:pt x="1028206" y="509892"/>
                </a:lnTo>
                <a:lnTo>
                  <a:pt x="1019508" y="509892"/>
                </a:lnTo>
                <a:lnTo>
                  <a:pt x="1019507" y="509892"/>
                </a:lnTo>
                <a:lnTo>
                  <a:pt x="1016190" y="509892"/>
                </a:lnTo>
                <a:lnTo>
                  <a:pt x="1016189" y="509892"/>
                </a:lnTo>
                <a:lnTo>
                  <a:pt x="1012912" y="509892"/>
                </a:lnTo>
                <a:lnTo>
                  <a:pt x="1012911" y="509892"/>
                </a:lnTo>
                <a:lnTo>
                  <a:pt x="1009606" y="509892"/>
                </a:lnTo>
                <a:lnTo>
                  <a:pt x="1009604" y="509892"/>
                </a:lnTo>
                <a:lnTo>
                  <a:pt x="1009594" y="509892"/>
                </a:lnTo>
                <a:lnTo>
                  <a:pt x="1009593" y="509892"/>
                </a:lnTo>
                <a:lnTo>
                  <a:pt x="998578" y="509892"/>
                </a:lnTo>
                <a:lnTo>
                  <a:pt x="998576" y="509892"/>
                </a:lnTo>
                <a:lnTo>
                  <a:pt x="979963" y="509892"/>
                </a:lnTo>
                <a:lnTo>
                  <a:pt x="975592" y="509892"/>
                </a:lnTo>
                <a:lnTo>
                  <a:pt x="971986" y="509892"/>
                </a:lnTo>
                <a:lnTo>
                  <a:pt x="971982" y="509892"/>
                </a:lnTo>
                <a:lnTo>
                  <a:pt x="971973" y="509892"/>
                </a:lnTo>
                <a:lnTo>
                  <a:pt x="968668" y="509892"/>
                </a:lnTo>
                <a:lnTo>
                  <a:pt x="968665" y="509892"/>
                </a:lnTo>
                <a:lnTo>
                  <a:pt x="965388" y="509892"/>
                </a:lnTo>
                <a:lnTo>
                  <a:pt x="965386" y="509892"/>
                </a:lnTo>
                <a:lnTo>
                  <a:pt x="962071" y="509892"/>
                </a:lnTo>
                <a:lnTo>
                  <a:pt x="962069" y="509892"/>
                </a:lnTo>
                <a:lnTo>
                  <a:pt x="953371" y="509892"/>
                </a:lnTo>
                <a:lnTo>
                  <a:pt x="953370" y="509892"/>
                </a:lnTo>
                <a:lnTo>
                  <a:pt x="949000" y="509892"/>
                </a:lnTo>
                <a:lnTo>
                  <a:pt x="948999" y="509892"/>
                </a:lnTo>
                <a:lnTo>
                  <a:pt x="946774" y="509892"/>
                </a:lnTo>
                <a:lnTo>
                  <a:pt x="946773" y="509892"/>
                </a:lnTo>
                <a:lnTo>
                  <a:pt x="942404" y="509892"/>
                </a:lnTo>
                <a:lnTo>
                  <a:pt x="942402" y="509892"/>
                </a:lnTo>
                <a:lnTo>
                  <a:pt x="932441" y="509892"/>
                </a:lnTo>
                <a:lnTo>
                  <a:pt x="932439" y="509892"/>
                </a:lnTo>
                <a:lnTo>
                  <a:pt x="928069" y="509892"/>
                </a:lnTo>
                <a:lnTo>
                  <a:pt x="928067" y="509892"/>
                </a:lnTo>
                <a:lnTo>
                  <a:pt x="924451" y="509892"/>
                </a:lnTo>
                <a:lnTo>
                  <a:pt x="924448" y="509892"/>
                </a:lnTo>
                <a:lnTo>
                  <a:pt x="916555" y="509892"/>
                </a:lnTo>
                <a:lnTo>
                  <a:pt x="914342" y="509892"/>
                </a:lnTo>
                <a:lnTo>
                  <a:pt x="914339" y="509892"/>
                </a:lnTo>
                <a:lnTo>
                  <a:pt x="914330" y="509892"/>
                </a:lnTo>
                <a:lnTo>
                  <a:pt x="914329" y="509892"/>
                </a:lnTo>
                <a:lnTo>
                  <a:pt x="912772" y="509892"/>
                </a:lnTo>
                <a:lnTo>
                  <a:pt x="909971" y="509892"/>
                </a:lnTo>
                <a:lnTo>
                  <a:pt x="909967" y="509892"/>
                </a:lnTo>
                <a:lnTo>
                  <a:pt x="909958" y="509892"/>
                </a:lnTo>
                <a:lnTo>
                  <a:pt x="909454" y="509892"/>
                </a:lnTo>
                <a:lnTo>
                  <a:pt x="905848" y="509892"/>
                </a:lnTo>
                <a:lnTo>
                  <a:pt x="905846" y="509892"/>
                </a:lnTo>
                <a:lnTo>
                  <a:pt x="905836" y="509892"/>
                </a:lnTo>
                <a:lnTo>
                  <a:pt x="905835" y="509892"/>
                </a:lnTo>
                <a:lnTo>
                  <a:pt x="901477" y="509892"/>
                </a:lnTo>
                <a:lnTo>
                  <a:pt x="901474" y="509892"/>
                </a:lnTo>
                <a:lnTo>
                  <a:pt x="901464" y="509892"/>
                </a:lnTo>
                <a:lnTo>
                  <a:pt x="899251" y="509892"/>
                </a:lnTo>
                <a:lnTo>
                  <a:pt x="899249" y="509892"/>
                </a:lnTo>
                <a:lnTo>
                  <a:pt x="894880" y="509892"/>
                </a:lnTo>
                <a:lnTo>
                  <a:pt x="894877" y="509892"/>
                </a:lnTo>
                <a:lnTo>
                  <a:pt x="891356" y="509892"/>
                </a:lnTo>
                <a:lnTo>
                  <a:pt x="891355" y="509892"/>
                </a:lnTo>
                <a:lnTo>
                  <a:pt x="882862" y="509892"/>
                </a:lnTo>
                <a:lnTo>
                  <a:pt x="882861" y="509892"/>
                </a:lnTo>
                <a:lnTo>
                  <a:pt x="880328" y="509892"/>
                </a:lnTo>
                <a:lnTo>
                  <a:pt x="876266" y="509892"/>
                </a:lnTo>
                <a:lnTo>
                  <a:pt x="876265" y="509892"/>
                </a:lnTo>
                <a:lnTo>
                  <a:pt x="873404" y="509892"/>
                </a:lnTo>
                <a:lnTo>
                  <a:pt x="873401" y="509892"/>
                </a:lnTo>
                <a:lnTo>
                  <a:pt x="871834" y="509892"/>
                </a:lnTo>
                <a:lnTo>
                  <a:pt x="869032" y="509892"/>
                </a:lnTo>
                <a:lnTo>
                  <a:pt x="869030" y="509892"/>
                </a:lnTo>
                <a:lnTo>
                  <a:pt x="866807" y="509892"/>
                </a:lnTo>
                <a:lnTo>
                  <a:pt x="866805" y="509892"/>
                </a:lnTo>
                <a:lnTo>
                  <a:pt x="865250" y="509892"/>
                </a:lnTo>
                <a:lnTo>
                  <a:pt x="865247" y="509892"/>
                </a:lnTo>
                <a:lnTo>
                  <a:pt x="865237" y="509892"/>
                </a:lnTo>
                <a:lnTo>
                  <a:pt x="862436" y="509892"/>
                </a:lnTo>
                <a:lnTo>
                  <a:pt x="862433" y="509892"/>
                </a:lnTo>
                <a:lnTo>
                  <a:pt x="861932" y="509892"/>
                </a:lnTo>
                <a:lnTo>
                  <a:pt x="861930" y="509892"/>
                </a:lnTo>
                <a:lnTo>
                  <a:pt x="858313" y="509892"/>
                </a:lnTo>
                <a:lnTo>
                  <a:pt x="858311" y="509892"/>
                </a:lnTo>
                <a:lnTo>
                  <a:pt x="853942" y="509892"/>
                </a:lnTo>
                <a:lnTo>
                  <a:pt x="853939" y="509892"/>
                </a:lnTo>
                <a:lnTo>
                  <a:pt x="853735" y="509892"/>
                </a:lnTo>
                <a:lnTo>
                  <a:pt x="853734" y="509892"/>
                </a:lnTo>
                <a:lnTo>
                  <a:pt x="850417" y="509892"/>
                </a:lnTo>
                <a:lnTo>
                  <a:pt x="850416" y="509892"/>
                </a:lnTo>
                <a:lnTo>
                  <a:pt x="847139" y="509892"/>
                </a:lnTo>
                <a:lnTo>
                  <a:pt x="847138" y="509892"/>
                </a:lnTo>
                <a:lnTo>
                  <a:pt x="846635" y="509892"/>
                </a:lnTo>
                <a:lnTo>
                  <a:pt x="846634" y="509892"/>
                </a:lnTo>
                <a:lnTo>
                  <a:pt x="843833" y="509892"/>
                </a:lnTo>
                <a:lnTo>
                  <a:pt x="843831" y="509892"/>
                </a:lnTo>
                <a:lnTo>
                  <a:pt x="843821" y="509892"/>
                </a:lnTo>
                <a:lnTo>
                  <a:pt x="843820" y="509892"/>
                </a:lnTo>
                <a:lnTo>
                  <a:pt x="842264" y="509892"/>
                </a:lnTo>
                <a:lnTo>
                  <a:pt x="838645" y="509892"/>
                </a:lnTo>
                <a:lnTo>
                  <a:pt x="838644" y="509892"/>
                </a:lnTo>
                <a:lnTo>
                  <a:pt x="835339" y="509892"/>
                </a:lnTo>
                <a:lnTo>
                  <a:pt x="835337" y="509892"/>
                </a:lnTo>
                <a:lnTo>
                  <a:pt x="835327" y="509892"/>
                </a:lnTo>
                <a:lnTo>
                  <a:pt x="835326" y="509892"/>
                </a:lnTo>
                <a:lnTo>
                  <a:pt x="832805" y="509892"/>
                </a:lnTo>
                <a:lnTo>
                  <a:pt x="832803" y="509892"/>
                </a:lnTo>
                <a:lnTo>
                  <a:pt x="828742" y="509892"/>
                </a:lnTo>
                <a:lnTo>
                  <a:pt x="828741" y="509892"/>
                </a:lnTo>
                <a:lnTo>
                  <a:pt x="824311" y="509892"/>
                </a:lnTo>
                <a:lnTo>
                  <a:pt x="824309" y="509892"/>
                </a:lnTo>
                <a:lnTo>
                  <a:pt x="817715" y="509892"/>
                </a:lnTo>
                <a:lnTo>
                  <a:pt x="817712" y="509892"/>
                </a:lnTo>
                <a:lnTo>
                  <a:pt x="814190" y="509892"/>
                </a:lnTo>
                <a:lnTo>
                  <a:pt x="809819" y="509892"/>
                </a:lnTo>
                <a:lnTo>
                  <a:pt x="806213" y="509892"/>
                </a:lnTo>
                <a:lnTo>
                  <a:pt x="806209" y="509892"/>
                </a:lnTo>
                <a:lnTo>
                  <a:pt x="806200" y="509892"/>
                </a:lnTo>
                <a:lnTo>
                  <a:pt x="805696" y="509892"/>
                </a:lnTo>
                <a:lnTo>
                  <a:pt x="802895" y="509892"/>
                </a:lnTo>
                <a:lnTo>
                  <a:pt x="802892" y="509892"/>
                </a:lnTo>
                <a:lnTo>
                  <a:pt x="801325" y="509892"/>
                </a:lnTo>
                <a:lnTo>
                  <a:pt x="799615" y="509892"/>
                </a:lnTo>
                <a:lnTo>
                  <a:pt x="799613" y="509892"/>
                </a:lnTo>
                <a:lnTo>
                  <a:pt x="799112" y="509892"/>
                </a:lnTo>
                <a:lnTo>
                  <a:pt x="799110" y="509892"/>
                </a:lnTo>
                <a:lnTo>
                  <a:pt x="799100" y="509892"/>
                </a:lnTo>
                <a:lnTo>
                  <a:pt x="799099" y="509892"/>
                </a:lnTo>
                <a:lnTo>
                  <a:pt x="796298" y="509892"/>
                </a:lnTo>
                <a:lnTo>
                  <a:pt x="796296" y="509892"/>
                </a:lnTo>
                <a:lnTo>
                  <a:pt x="794741" y="509892"/>
                </a:lnTo>
                <a:lnTo>
                  <a:pt x="794739" y="509892"/>
                </a:lnTo>
                <a:lnTo>
                  <a:pt x="794728" y="509892"/>
                </a:lnTo>
                <a:lnTo>
                  <a:pt x="791122" y="509892"/>
                </a:lnTo>
                <a:lnTo>
                  <a:pt x="791119" y="509892"/>
                </a:lnTo>
                <a:lnTo>
                  <a:pt x="787804" y="509892"/>
                </a:lnTo>
                <a:lnTo>
                  <a:pt x="787802" y="509892"/>
                </a:lnTo>
                <a:lnTo>
                  <a:pt x="787598" y="509892"/>
                </a:lnTo>
                <a:lnTo>
                  <a:pt x="787597" y="509892"/>
                </a:lnTo>
                <a:lnTo>
                  <a:pt x="783227" y="509892"/>
                </a:lnTo>
                <a:lnTo>
                  <a:pt x="783226" y="509892"/>
                </a:lnTo>
                <a:lnTo>
                  <a:pt x="781001" y="509892"/>
                </a:lnTo>
                <a:lnTo>
                  <a:pt x="781000" y="509892"/>
                </a:lnTo>
                <a:lnTo>
                  <a:pt x="776631" y="509892"/>
                </a:lnTo>
                <a:lnTo>
                  <a:pt x="776629" y="509892"/>
                </a:lnTo>
                <a:lnTo>
                  <a:pt x="776126" y="509892"/>
                </a:lnTo>
                <a:lnTo>
                  <a:pt x="776125" y="509892"/>
                </a:lnTo>
                <a:lnTo>
                  <a:pt x="772508" y="509892"/>
                </a:lnTo>
                <a:lnTo>
                  <a:pt x="772507" y="509892"/>
                </a:lnTo>
                <a:lnTo>
                  <a:pt x="768137" y="509892"/>
                </a:lnTo>
                <a:lnTo>
                  <a:pt x="768136" y="509892"/>
                </a:lnTo>
                <a:lnTo>
                  <a:pt x="766668" y="509892"/>
                </a:lnTo>
                <a:lnTo>
                  <a:pt x="766666" y="509892"/>
                </a:lnTo>
                <a:lnTo>
                  <a:pt x="762296" y="509892"/>
                </a:lnTo>
                <a:lnTo>
                  <a:pt x="762294" y="509892"/>
                </a:lnTo>
                <a:lnTo>
                  <a:pt x="758678" y="509892"/>
                </a:lnTo>
                <a:lnTo>
                  <a:pt x="758675" y="509892"/>
                </a:lnTo>
                <a:lnTo>
                  <a:pt x="758174" y="509892"/>
                </a:lnTo>
                <a:lnTo>
                  <a:pt x="758172" y="509892"/>
                </a:lnTo>
                <a:lnTo>
                  <a:pt x="753802" y="509892"/>
                </a:lnTo>
                <a:lnTo>
                  <a:pt x="753800" y="509892"/>
                </a:lnTo>
                <a:lnTo>
                  <a:pt x="751578" y="509892"/>
                </a:lnTo>
                <a:lnTo>
                  <a:pt x="751575" y="509892"/>
                </a:lnTo>
                <a:lnTo>
                  <a:pt x="747206" y="509892"/>
                </a:lnTo>
                <a:lnTo>
                  <a:pt x="747203" y="509892"/>
                </a:lnTo>
                <a:lnTo>
                  <a:pt x="746999" y="509892"/>
                </a:lnTo>
                <a:lnTo>
                  <a:pt x="743681" y="509892"/>
                </a:lnTo>
                <a:lnTo>
                  <a:pt x="740075" y="509892"/>
                </a:lnTo>
                <a:lnTo>
                  <a:pt x="740073" y="509892"/>
                </a:lnTo>
                <a:lnTo>
                  <a:pt x="740063" y="509892"/>
                </a:lnTo>
                <a:lnTo>
                  <a:pt x="740062" y="509892"/>
                </a:lnTo>
                <a:lnTo>
                  <a:pt x="738506" y="509892"/>
                </a:lnTo>
                <a:lnTo>
                  <a:pt x="735704" y="509892"/>
                </a:lnTo>
                <a:lnTo>
                  <a:pt x="735701" y="509892"/>
                </a:lnTo>
                <a:lnTo>
                  <a:pt x="735691" y="509892"/>
                </a:lnTo>
                <a:lnTo>
                  <a:pt x="735187" y="509892"/>
                </a:lnTo>
                <a:lnTo>
                  <a:pt x="733478" y="509892"/>
                </a:lnTo>
                <a:lnTo>
                  <a:pt x="733476" y="509892"/>
                </a:lnTo>
                <a:lnTo>
                  <a:pt x="731909" y="509892"/>
                </a:lnTo>
                <a:lnTo>
                  <a:pt x="731908" y="509892"/>
                </a:lnTo>
                <a:lnTo>
                  <a:pt x="729107" y="509892"/>
                </a:lnTo>
                <a:lnTo>
                  <a:pt x="729104" y="509892"/>
                </a:lnTo>
                <a:lnTo>
                  <a:pt x="728603" y="509892"/>
                </a:lnTo>
                <a:lnTo>
                  <a:pt x="728601" y="509892"/>
                </a:lnTo>
                <a:lnTo>
                  <a:pt x="728591" y="509892"/>
                </a:lnTo>
                <a:lnTo>
                  <a:pt x="728590" y="509892"/>
                </a:lnTo>
                <a:lnTo>
                  <a:pt x="724984" y="509892"/>
                </a:lnTo>
                <a:lnTo>
                  <a:pt x="724983" y="509892"/>
                </a:lnTo>
                <a:lnTo>
                  <a:pt x="720613" y="509892"/>
                </a:lnTo>
                <a:lnTo>
                  <a:pt x="720611" y="509892"/>
                </a:lnTo>
                <a:lnTo>
                  <a:pt x="717089" y="509892"/>
                </a:lnTo>
                <a:lnTo>
                  <a:pt x="717088" y="509892"/>
                </a:lnTo>
                <a:lnTo>
                  <a:pt x="710493" y="509892"/>
                </a:lnTo>
                <a:lnTo>
                  <a:pt x="710492" y="509892"/>
                </a:lnTo>
                <a:lnTo>
                  <a:pt x="706061" y="509892"/>
                </a:lnTo>
                <a:lnTo>
                  <a:pt x="701999" y="509892"/>
                </a:lnTo>
                <a:lnTo>
                  <a:pt x="701998" y="509892"/>
                </a:lnTo>
                <a:lnTo>
                  <a:pt x="699477" y="509892"/>
                </a:lnTo>
                <a:lnTo>
                  <a:pt x="699474" y="509892"/>
                </a:lnTo>
                <a:lnTo>
                  <a:pt x="699464" y="509892"/>
                </a:lnTo>
                <a:lnTo>
                  <a:pt x="696159" y="509892"/>
                </a:lnTo>
                <a:lnTo>
                  <a:pt x="696157" y="509892"/>
                </a:lnTo>
                <a:lnTo>
                  <a:pt x="692540" y="509892"/>
                </a:lnTo>
                <a:lnTo>
                  <a:pt x="692538" y="509892"/>
                </a:lnTo>
                <a:lnTo>
                  <a:pt x="690983" y="509892"/>
                </a:lnTo>
                <a:lnTo>
                  <a:pt x="690981" y="509892"/>
                </a:lnTo>
                <a:lnTo>
                  <a:pt x="690970" y="509892"/>
                </a:lnTo>
                <a:lnTo>
                  <a:pt x="688169" y="509892"/>
                </a:lnTo>
                <a:lnTo>
                  <a:pt x="688166" y="509892"/>
                </a:lnTo>
                <a:lnTo>
                  <a:pt x="687666" y="509892"/>
                </a:lnTo>
                <a:lnTo>
                  <a:pt x="687663" y="509892"/>
                </a:lnTo>
                <a:lnTo>
                  <a:pt x="684387" y="509892"/>
                </a:lnTo>
                <a:lnTo>
                  <a:pt x="684383" y="509892"/>
                </a:lnTo>
                <a:lnTo>
                  <a:pt x="681069" y="509892"/>
                </a:lnTo>
                <a:lnTo>
                  <a:pt x="681066" y="509892"/>
                </a:lnTo>
                <a:lnTo>
                  <a:pt x="680862" y="509892"/>
                </a:lnTo>
                <a:lnTo>
                  <a:pt x="680861" y="509892"/>
                </a:lnTo>
                <a:lnTo>
                  <a:pt x="676491" y="509892"/>
                </a:lnTo>
                <a:lnTo>
                  <a:pt x="672872" y="509892"/>
                </a:lnTo>
                <a:lnTo>
                  <a:pt x="672871" y="509892"/>
                </a:lnTo>
                <a:lnTo>
                  <a:pt x="672368" y="509892"/>
                </a:lnTo>
                <a:lnTo>
                  <a:pt x="672367" y="509892"/>
                </a:lnTo>
                <a:lnTo>
                  <a:pt x="669566" y="509892"/>
                </a:lnTo>
                <a:lnTo>
                  <a:pt x="669564" y="509892"/>
                </a:lnTo>
                <a:lnTo>
                  <a:pt x="669554" y="509892"/>
                </a:lnTo>
                <a:lnTo>
                  <a:pt x="669553" y="509892"/>
                </a:lnTo>
                <a:lnTo>
                  <a:pt x="667997" y="509892"/>
                </a:lnTo>
                <a:lnTo>
                  <a:pt x="665772" y="509892"/>
                </a:lnTo>
                <a:lnTo>
                  <a:pt x="665771" y="509892"/>
                </a:lnTo>
                <a:lnTo>
                  <a:pt x="662969" y="509892"/>
                </a:lnTo>
                <a:lnTo>
                  <a:pt x="662968" y="509892"/>
                </a:lnTo>
                <a:lnTo>
                  <a:pt x="661401" y="509892"/>
                </a:lnTo>
                <a:lnTo>
                  <a:pt x="661400" y="509892"/>
                </a:lnTo>
                <a:lnTo>
                  <a:pt x="658538" y="509892"/>
                </a:lnTo>
                <a:lnTo>
                  <a:pt x="658536" y="509892"/>
                </a:lnTo>
                <a:lnTo>
                  <a:pt x="654475" y="509892"/>
                </a:lnTo>
                <a:lnTo>
                  <a:pt x="654474" y="509892"/>
                </a:lnTo>
                <a:lnTo>
                  <a:pt x="651942" y="509892"/>
                </a:lnTo>
                <a:lnTo>
                  <a:pt x="651939" y="509892"/>
                </a:lnTo>
                <a:lnTo>
                  <a:pt x="643448" y="509892"/>
                </a:lnTo>
                <a:lnTo>
                  <a:pt x="643445" y="509892"/>
                </a:lnTo>
                <a:lnTo>
                  <a:pt x="639923" y="509892"/>
                </a:lnTo>
                <a:lnTo>
                  <a:pt x="635552" y="509892"/>
                </a:lnTo>
                <a:lnTo>
                  <a:pt x="633339" y="509892"/>
                </a:lnTo>
                <a:lnTo>
                  <a:pt x="633337" y="509892"/>
                </a:lnTo>
                <a:lnTo>
                  <a:pt x="633327" y="509892"/>
                </a:lnTo>
                <a:lnTo>
                  <a:pt x="633326" y="509892"/>
                </a:lnTo>
                <a:lnTo>
                  <a:pt x="628968" y="509892"/>
                </a:lnTo>
                <a:lnTo>
                  <a:pt x="628966" y="509892"/>
                </a:lnTo>
                <a:lnTo>
                  <a:pt x="628955" y="509892"/>
                </a:lnTo>
                <a:lnTo>
                  <a:pt x="625349" y="509892"/>
                </a:lnTo>
                <a:lnTo>
                  <a:pt x="625346" y="509892"/>
                </a:lnTo>
                <a:lnTo>
                  <a:pt x="624845" y="509892"/>
                </a:lnTo>
                <a:lnTo>
                  <a:pt x="624843" y="509892"/>
                </a:lnTo>
                <a:lnTo>
                  <a:pt x="624833" y="509892"/>
                </a:lnTo>
                <a:lnTo>
                  <a:pt x="624832" y="509892"/>
                </a:lnTo>
                <a:lnTo>
                  <a:pt x="622031" y="509892"/>
                </a:lnTo>
                <a:lnTo>
                  <a:pt x="622029" y="509892"/>
                </a:lnTo>
                <a:lnTo>
                  <a:pt x="620474" y="509892"/>
                </a:lnTo>
                <a:lnTo>
                  <a:pt x="620472" y="509892"/>
                </a:lnTo>
                <a:lnTo>
                  <a:pt x="620461" y="509892"/>
                </a:lnTo>
                <a:lnTo>
                  <a:pt x="618249" y="509892"/>
                </a:lnTo>
                <a:lnTo>
                  <a:pt x="618247" y="509892"/>
                </a:lnTo>
                <a:lnTo>
                  <a:pt x="610353" y="509892"/>
                </a:lnTo>
                <a:lnTo>
                  <a:pt x="610352" y="509892"/>
                </a:lnTo>
                <a:lnTo>
                  <a:pt x="606735" y="509892"/>
                </a:lnTo>
                <a:lnTo>
                  <a:pt x="606734" y="509892"/>
                </a:lnTo>
                <a:lnTo>
                  <a:pt x="602364" y="509892"/>
                </a:lnTo>
                <a:lnTo>
                  <a:pt x="602363" y="509892"/>
                </a:lnTo>
                <a:lnTo>
                  <a:pt x="592401" y="509892"/>
                </a:lnTo>
                <a:lnTo>
                  <a:pt x="592399" y="509892"/>
                </a:lnTo>
                <a:lnTo>
                  <a:pt x="588029" y="509892"/>
                </a:lnTo>
                <a:lnTo>
                  <a:pt x="588027" y="509892"/>
                </a:lnTo>
                <a:lnTo>
                  <a:pt x="585805" y="509892"/>
                </a:lnTo>
                <a:lnTo>
                  <a:pt x="585802" y="509892"/>
                </a:lnTo>
                <a:lnTo>
                  <a:pt x="581433" y="509892"/>
                </a:lnTo>
                <a:lnTo>
                  <a:pt x="581430" y="509892"/>
                </a:lnTo>
                <a:lnTo>
                  <a:pt x="572733" y="509892"/>
                </a:lnTo>
                <a:lnTo>
                  <a:pt x="569414" y="509892"/>
                </a:lnTo>
                <a:lnTo>
                  <a:pt x="566136" y="509892"/>
                </a:lnTo>
                <a:lnTo>
                  <a:pt x="566135" y="509892"/>
                </a:lnTo>
                <a:lnTo>
                  <a:pt x="562830" y="509892"/>
                </a:lnTo>
                <a:lnTo>
                  <a:pt x="562828" y="509892"/>
                </a:lnTo>
                <a:lnTo>
                  <a:pt x="562818" y="509892"/>
                </a:lnTo>
                <a:lnTo>
                  <a:pt x="562817" y="509892"/>
                </a:lnTo>
                <a:lnTo>
                  <a:pt x="559211" y="509892"/>
                </a:lnTo>
                <a:lnTo>
                  <a:pt x="559210" y="509892"/>
                </a:lnTo>
                <a:lnTo>
                  <a:pt x="554840" y="509892"/>
                </a:lnTo>
                <a:lnTo>
                  <a:pt x="554838" y="509892"/>
                </a:lnTo>
                <a:lnTo>
                  <a:pt x="536226" y="509892"/>
                </a:lnTo>
                <a:lnTo>
                  <a:pt x="536225" y="509892"/>
                </a:lnTo>
                <a:lnTo>
                  <a:pt x="525210" y="509892"/>
                </a:lnTo>
                <a:lnTo>
                  <a:pt x="525208" y="509892"/>
                </a:lnTo>
                <a:lnTo>
                  <a:pt x="525197" y="509892"/>
                </a:lnTo>
                <a:lnTo>
                  <a:pt x="521893" y="509892"/>
                </a:lnTo>
                <a:lnTo>
                  <a:pt x="521890" y="509892"/>
                </a:lnTo>
                <a:lnTo>
                  <a:pt x="518614" y="509892"/>
                </a:lnTo>
                <a:lnTo>
                  <a:pt x="518610" y="509892"/>
                </a:lnTo>
                <a:lnTo>
                  <a:pt x="515296" y="509892"/>
                </a:lnTo>
                <a:lnTo>
                  <a:pt x="515293" y="509892"/>
                </a:lnTo>
                <a:lnTo>
                  <a:pt x="506595" y="509892"/>
                </a:lnTo>
                <a:lnTo>
                  <a:pt x="506594" y="509892"/>
                </a:lnTo>
                <a:lnTo>
                  <a:pt x="502224" y="509892"/>
                </a:lnTo>
                <a:lnTo>
                  <a:pt x="499999" y="509892"/>
                </a:lnTo>
                <a:lnTo>
                  <a:pt x="499998" y="509892"/>
                </a:lnTo>
                <a:lnTo>
                  <a:pt x="495628" y="509892"/>
                </a:lnTo>
                <a:lnTo>
                  <a:pt x="495627" y="509892"/>
                </a:lnTo>
                <a:lnTo>
                  <a:pt x="488702" y="509892"/>
                </a:lnTo>
                <a:lnTo>
                  <a:pt x="488701" y="509892"/>
                </a:lnTo>
                <a:lnTo>
                  <a:pt x="477675" y="509892"/>
                </a:lnTo>
                <a:lnTo>
                  <a:pt x="477672" y="509892"/>
                </a:lnTo>
                <a:lnTo>
                  <a:pt x="459072" y="509892"/>
                </a:lnTo>
                <a:lnTo>
                  <a:pt x="459070" y="509892"/>
                </a:lnTo>
                <a:lnTo>
                  <a:pt x="459060" y="509892"/>
                </a:lnTo>
                <a:lnTo>
                  <a:pt x="459059" y="509892"/>
                </a:lnTo>
                <a:lnTo>
                  <a:pt x="454701" y="509892"/>
                </a:lnTo>
                <a:lnTo>
                  <a:pt x="454699" y="509892"/>
                </a:lnTo>
                <a:lnTo>
                  <a:pt x="454688" y="509892"/>
                </a:lnTo>
                <a:lnTo>
                  <a:pt x="452476" y="509892"/>
                </a:lnTo>
                <a:lnTo>
                  <a:pt x="452474" y="509892"/>
                </a:lnTo>
                <a:lnTo>
                  <a:pt x="254947" y="509891"/>
                </a:lnTo>
                <a:cubicBezTo>
                  <a:pt x="131743" y="509891"/>
                  <a:pt x="28953" y="422501"/>
                  <a:pt x="5179" y="306326"/>
                </a:cubicBezTo>
                <a:lnTo>
                  <a:pt x="0" y="254947"/>
                </a:lnTo>
                <a:lnTo>
                  <a:pt x="5179" y="203566"/>
                </a:lnTo>
                <a:cubicBezTo>
                  <a:pt x="28953" y="87392"/>
                  <a:pt x="131743" y="0"/>
                  <a:pt x="254947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65" name="Рисунок 6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4168" y="3486310"/>
            <a:ext cx="645557" cy="384107"/>
          </a:xfrm>
          <a:prstGeom prst="rect">
            <a:avLst/>
          </a:prstGeom>
        </p:spPr>
      </p:pic>
      <p:sp>
        <p:nvSpPr>
          <p:cNvPr id="67" name="Полилиния 66"/>
          <p:cNvSpPr/>
          <p:nvPr/>
        </p:nvSpPr>
        <p:spPr>
          <a:xfrm>
            <a:off x="6987022" y="3490576"/>
            <a:ext cx="1188055" cy="379841"/>
          </a:xfrm>
          <a:custGeom>
            <a:avLst/>
            <a:gdLst>
              <a:gd name="connsiteX0" fmla="*/ 254947 w 1337274"/>
              <a:gd name="connsiteY0" fmla="*/ 0 h 509892"/>
              <a:gd name="connsiteX1" fmla="*/ 255223 w 1337274"/>
              <a:gd name="connsiteY1" fmla="*/ 0 h 509892"/>
              <a:gd name="connsiteX2" fmla="*/ 257162 w 1337274"/>
              <a:gd name="connsiteY2" fmla="*/ 0 h 509892"/>
              <a:gd name="connsiteX3" fmla="*/ 257172 w 1337274"/>
              <a:gd name="connsiteY3" fmla="*/ 0 h 509892"/>
              <a:gd name="connsiteX4" fmla="*/ 261533 w 1337274"/>
              <a:gd name="connsiteY4" fmla="*/ 0 h 509892"/>
              <a:gd name="connsiteX5" fmla="*/ 261544 w 1337274"/>
              <a:gd name="connsiteY5" fmla="*/ 0 h 509892"/>
              <a:gd name="connsiteX6" fmla="*/ 273836 w 1337274"/>
              <a:gd name="connsiteY6" fmla="*/ 0 h 509892"/>
              <a:gd name="connsiteX7" fmla="*/ 278208 w 1337274"/>
              <a:gd name="connsiteY7" fmla="*/ 0 h 509892"/>
              <a:gd name="connsiteX8" fmla="*/ 280145 w 1337274"/>
              <a:gd name="connsiteY8" fmla="*/ 0 h 509892"/>
              <a:gd name="connsiteX9" fmla="*/ 291174 w 1337274"/>
              <a:gd name="connsiteY9" fmla="*/ 0 h 509892"/>
              <a:gd name="connsiteX10" fmla="*/ 298100 w 1337274"/>
              <a:gd name="connsiteY10" fmla="*/ 0 h 509892"/>
              <a:gd name="connsiteX11" fmla="*/ 302471 w 1337274"/>
              <a:gd name="connsiteY11" fmla="*/ 0 h 509892"/>
              <a:gd name="connsiteX12" fmla="*/ 304697 w 1337274"/>
              <a:gd name="connsiteY12" fmla="*/ 0 h 509892"/>
              <a:gd name="connsiteX13" fmla="*/ 309068 w 1337274"/>
              <a:gd name="connsiteY13" fmla="*/ 0 h 509892"/>
              <a:gd name="connsiteX14" fmla="*/ 317767 w 1337274"/>
              <a:gd name="connsiteY14" fmla="*/ 0 h 509892"/>
              <a:gd name="connsiteX15" fmla="*/ 321084 w 1337274"/>
              <a:gd name="connsiteY15" fmla="*/ 0 h 509892"/>
              <a:gd name="connsiteX16" fmla="*/ 321361 w 1337274"/>
              <a:gd name="connsiteY16" fmla="*/ 0 h 509892"/>
              <a:gd name="connsiteX17" fmla="*/ 324363 w 1337274"/>
              <a:gd name="connsiteY17" fmla="*/ 0 h 509892"/>
              <a:gd name="connsiteX18" fmla="*/ 325732 w 1337274"/>
              <a:gd name="connsiteY18" fmla="*/ 0 h 509892"/>
              <a:gd name="connsiteX19" fmla="*/ 327670 w 1337274"/>
              <a:gd name="connsiteY19" fmla="*/ 0 h 509892"/>
              <a:gd name="connsiteX20" fmla="*/ 327680 w 1337274"/>
              <a:gd name="connsiteY20" fmla="*/ 0 h 509892"/>
              <a:gd name="connsiteX21" fmla="*/ 338698 w 1337274"/>
              <a:gd name="connsiteY21" fmla="*/ 0 h 509892"/>
              <a:gd name="connsiteX22" fmla="*/ 341028 w 1337274"/>
              <a:gd name="connsiteY22" fmla="*/ 0 h 509892"/>
              <a:gd name="connsiteX23" fmla="*/ 344345 w 1337274"/>
              <a:gd name="connsiteY23" fmla="*/ 0 h 509892"/>
              <a:gd name="connsiteX24" fmla="*/ 357311 w 1337274"/>
              <a:gd name="connsiteY24" fmla="*/ 0 h 509892"/>
              <a:gd name="connsiteX25" fmla="*/ 361682 w 1337274"/>
              <a:gd name="connsiteY25" fmla="*/ 0 h 509892"/>
              <a:gd name="connsiteX26" fmla="*/ 365291 w 1337274"/>
              <a:gd name="connsiteY26" fmla="*/ 0 h 509892"/>
              <a:gd name="connsiteX27" fmla="*/ 365302 w 1337274"/>
              <a:gd name="connsiteY27" fmla="*/ 0 h 509892"/>
              <a:gd name="connsiteX28" fmla="*/ 368609 w 1337274"/>
              <a:gd name="connsiteY28" fmla="*/ 0 h 509892"/>
              <a:gd name="connsiteX29" fmla="*/ 371887 w 1337274"/>
              <a:gd name="connsiteY29" fmla="*/ 0 h 509892"/>
              <a:gd name="connsiteX30" fmla="*/ 375205 w 1337274"/>
              <a:gd name="connsiteY30" fmla="*/ 0 h 509892"/>
              <a:gd name="connsiteX31" fmla="*/ 381966 w 1337274"/>
              <a:gd name="connsiteY31" fmla="*/ 0 h 509892"/>
              <a:gd name="connsiteX32" fmla="*/ 383903 w 1337274"/>
              <a:gd name="connsiteY32" fmla="*/ 0 h 509892"/>
              <a:gd name="connsiteX33" fmla="*/ 388275 w 1337274"/>
              <a:gd name="connsiteY33" fmla="*/ 0 h 509892"/>
              <a:gd name="connsiteX34" fmla="*/ 388551 w 1337274"/>
              <a:gd name="connsiteY34" fmla="*/ 0 h 509892"/>
              <a:gd name="connsiteX35" fmla="*/ 388562 w 1337274"/>
              <a:gd name="connsiteY35" fmla="*/ 0 h 509892"/>
              <a:gd name="connsiteX36" fmla="*/ 390501 w 1337274"/>
              <a:gd name="connsiteY36" fmla="*/ 0 h 509892"/>
              <a:gd name="connsiteX37" fmla="*/ 391870 w 1337274"/>
              <a:gd name="connsiteY37" fmla="*/ 0 h 509892"/>
              <a:gd name="connsiteX38" fmla="*/ 394872 w 1337274"/>
              <a:gd name="connsiteY38" fmla="*/ 0 h 509892"/>
              <a:gd name="connsiteX39" fmla="*/ 404836 w 1337274"/>
              <a:gd name="connsiteY39" fmla="*/ 0 h 509892"/>
              <a:gd name="connsiteX40" fmla="*/ 407164 w 1337274"/>
              <a:gd name="connsiteY40" fmla="*/ 0 h 509892"/>
              <a:gd name="connsiteX41" fmla="*/ 409206 w 1337274"/>
              <a:gd name="connsiteY41" fmla="*/ 0 h 509892"/>
              <a:gd name="connsiteX42" fmla="*/ 411536 w 1337274"/>
              <a:gd name="connsiteY42" fmla="*/ 0 h 509892"/>
              <a:gd name="connsiteX43" fmla="*/ 412826 w 1337274"/>
              <a:gd name="connsiteY43" fmla="*/ 0 h 509892"/>
              <a:gd name="connsiteX44" fmla="*/ 420720 w 1337274"/>
              <a:gd name="connsiteY44" fmla="*/ 0 h 509892"/>
              <a:gd name="connsiteX45" fmla="*/ 420996 w 1337274"/>
              <a:gd name="connsiteY45" fmla="*/ 0 h 509892"/>
              <a:gd name="connsiteX46" fmla="*/ 422935 w 1337274"/>
              <a:gd name="connsiteY46" fmla="*/ 0 h 509892"/>
              <a:gd name="connsiteX47" fmla="*/ 422945 w 1337274"/>
              <a:gd name="connsiteY47" fmla="*/ 0 h 509892"/>
              <a:gd name="connsiteX48" fmla="*/ 424503 w 1337274"/>
              <a:gd name="connsiteY48" fmla="*/ 0 h 509892"/>
              <a:gd name="connsiteX49" fmla="*/ 427306 w 1337274"/>
              <a:gd name="connsiteY49" fmla="*/ 0 h 509892"/>
              <a:gd name="connsiteX50" fmla="*/ 427317 w 1337274"/>
              <a:gd name="connsiteY50" fmla="*/ 0 h 509892"/>
              <a:gd name="connsiteX51" fmla="*/ 427820 w 1337274"/>
              <a:gd name="connsiteY51" fmla="*/ 0 h 509892"/>
              <a:gd name="connsiteX52" fmla="*/ 429490 w 1337274"/>
              <a:gd name="connsiteY52" fmla="*/ 0 h 509892"/>
              <a:gd name="connsiteX53" fmla="*/ 431428 w 1337274"/>
              <a:gd name="connsiteY53" fmla="*/ 0 h 509892"/>
              <a:gd name="connsiteX54" fmla="*/ 431438 w 1337274"/>
              <a:gd name="connsiteY54" fmla="*/ 0 h 509892"/>
              <a:gd name="connsiteX55" fmla="*/ 435799 w 1337274"/>
              <a:gd name="connsiteY55" fmla="*/ 0 h 509892"/>
              <a:gd name="connsiteX56" fmla="*/ 435810 w 1337274"/>
              <a:gd name="connsiteY56" fmla="*/ 0 h 509892"/>
              <a:gd name="connsiteX57" fmla="*/ 436086 w 1337274"/>
              <a:gd name="connsiteY57" fmla="*/ 0 h 509892"/>
              <a:gd name="connsiteX58" fmla="*/ 438026 w 1337274"/>
              <a:gd name="connsiteY58" fmla="*/ 0 h 509892"/>
              <a:gd name="connsiteX59" fmla="*/ 439609 w 1337274"/>
              <a:gd name="connsiteY59" fmla="*/ 0 h 509892"/>
              <a:gd name="connsiteX60" fmla="*/ 442396 w 1337274"/>
              <a:gd name="connsiteY60" fmla="*/ 0 h 509892"/>
              <a:gd name="connsiteX61" fmla="*/ 443981 w 1337274"/>
              <a:gd name="connsiteY61" fmla="*/ 0 h 509892"/>
              <a:gd name="connsiteX62" fmla="*/ 445918 w 1337274"/>
              <a:gd name="connsiteY62" fmla="*/ 0 h 509892"/>
              <a:gd name="connsiteX63" fmla="*/ 448103 w 1337274"/>
              <a:gd name="connsiteY63" fmla="*/ 0 h 509892"/>
              <a:gd name="connsiteX64" fmla="*/ 452475 w 1337274"/>
              <a:gd name="connsiteY64" fmla="*/ 0 h 509892"/>
              <a:gd name="connsiteX65" fmla="*/ 454412 w 1337274"/>
              <a:gd name="connsiteY65" fmla="*/ 0 h 509892"/>
              <a:gd name="connsiteX66" fmla="*/ 454689 w 1337274"/>
              <a:gd name="connsiteY66" fmla="*/ 0 h 509892"/>
              <a:gd name="connsiteX67" fmla="*/ 454699 w 1337274"/>
              <a:gd name="connsiteY67" fmla="*/ 0 h 509892"/>
              <a:gd name="connsiteX68" fmla="*/ 456947 w 1337274"/>
              <a:gd name="connsiteY68" fmla="*/ 0 h 509892"/>
              <a:gd name="connsiteX69" fmla="*/ 459060 w 1337274"/>
              <a:gd name="connsiteY69" fmla="*/ 0 h 509892"/>
              <a:gd name="connsiteX70" fmla="*/ 459071 w 1337274"/>
              <a:gd name="connsiteY70" fmla="*/ 0 h 509892"/>
              <a:gd name="connsiteX71" fmla="*/ 461009 w 1337274"/>
              <a:gd name="connsiteY71" fmla="*/ 0 h 509892"/>
              <a:gd name="connsiteX72" fmla="*/ 463873 w 1337274"/>
              <a:gd name="connsiteY72" fmla="*/ 0 h 509892"/>
              <a:gd name="connsiteX73" fmla="*/ 465440 w 1337274"/>
              <a:gd name="connsiteY73" fmla="*/ 0 h 509892"/>
              <a:gd name="connsiteX74" fmla="*/ 468244 w 1337274"/>
              <a:gd name="connsiteY74" fmla="*/ 0 h 509892"/>
              <a:gd name="connsiteX75" fmla="*/ 470470 w 1337274"/>
              <a:gd name="connsiteY75" fmla="*/ 0 h 509892"/>
              <a:gd name="connsiteX76" fmla="*/ 472027 w 1337274"/>
              <a:gd name="connsiteY76" fmla="*/ 0 h 509892"/>
              <a:gd name="connsiteX77" fmla="*/ 472038 w 1337274"/>
              <a:gd name="connsiteY77" fmla="*/ 0 h 509892"/>
              <a:gd name="connsiteX78" fmla="*/ 474841 w 1337274"/>
              <a:gd name="connsiteY78" fmla="*/ 0 h 509892"/>
              <a:gd name="connsiteX79" fmla="*/ 475345 w 1337274"/>
              <a:gd name="connsiteY79" fmla="*/ 0 h 509892"/>
              <a:gd name="connsiteX80" fmla="*/ 477673 w 1337274"/>
              <a:gd name="connsiteY80" fmla="*/ 0 h 509892"/>
              <a:gd name="connsiteX81" fmla="*/ 478963 w 1337274"/>
              <a:gd name="connsiteY81" fmla="*/ 0 h 509892"/>
              <a:gd name="connsiteX82" fmla="*/ 483334 w 1337274"/>
              <a:gd name="connsiteY82" fmla="*/ 0 h 509892"/>
              <a:gd name="connsiteX83" fmla="*/ 483540 w 1337274"/>
              <a:gd name="connsiteY83" fmla="*/ 0 h 509892"/>
              <a:gd name="connsiteX84" fmla="*/ 486857 w 1337274"/>
              <a:gd name="connsiteY84" fmla="*/ 0 h 509892"/>
              <a:gd name="connsiteX85" fmla="*/ 487134 w 1337274"/>
              <a:gd name="connsiteY85" fmla="*/ 0 h 509892"/>
              <a:gd name="connsiteX86" fmla="*/ 488701 w 1337274"/>
              <a:gd name="connsiteY86" fmla="*/ 0 h 509892"/>
              <a:gd name="connsiteX87" fmla="*/ 490136 w 1337274"/>
              <a:gd name="connsiteY87" fmla="*/ 0 h 509892"/>
              <a:gd name="connsiteX88" fmla="*/ 490639 w 1337274"/>
              <a:gd name="connsiteY88" fmla="*/ 0 h 509892"/>
              <a:gd name="connsiteX89" fmla="*/ 491505 w 1337274"/>
              <a:gd name="connsiteY89" fmla="*/ 0 h 509892"/>
              <a:gd name="connsiteX90" fmla="*/ 493443 w 1337274"/>
              <a:gd name="connsiteY90" fmla="*/ 0 h 509892"/>
              <a:gd name="connsiteX91" fmla="*/ 493453 w 1337274"/>
              <a:gd name="connsiteY91" fmla="*/ 0 h 509892"/>
              <a:gd name="connsiteX92" fmla="*/ 495012 w 1337274"/>
              <a:gd name="connsiteY92" fmla="*/ 0 h 509892"/>
              <a:gd name="connsiteX93" fmla="*/ 495628 w 1337274"/>
              <a:gd name="connsiteY93" fmla="*/ 0 h 509892"/>
              <a:gd name="connsiteX94" fmla="*/ 498630 w 1337274"/>
              <a:gd name="connsiteY94" fmla="*/ 0 h 509892"/>
              <a:gd name="connsiteX95" fmla="*/ 499999 w 1337274"/>
              <a:gd name="connsiteY95" fmla="*/ 0 h 509892"/>
              <a:gd name="connsiteX96" fmla="*/ 501937 w 1337274"/>
              <a:gd name="connsiteY96" fmla="*/ 0 h 509892"/>
              <a:gd name="connsiteX97" fmla="*/ 501947 w 1337274"/>
              <a:gd name="connsiteY97" fmla="*/ 0 h 509892"/>
              <a:gd name="connsiteX98" fmla="*/ 502224 w 1337274"/>
              <a:gd name="connsiteY98" fmla="*/ 0 h 509892"/>
              <a:gd name="connsiteX99" fmla="*/ 504471 w 1337274"/>
              <a:gd name="connsiteY99" fmla="*/ 0 h 509892"/>
              <a:gd name="connsiteX100" fmla="*/ 506595 w 1337274"/>
              <a:gd name="connsiteY100" fmla="*/ 0 h 509892"/>
              <a:gd name="connsiteX101" fmla="*/ 506801 w 1337274"/>
              <a:gd name="connsiteY101" fmla="*/ 0 h 509892"/>
              <a:gd name="connsiteX102" fmla="*/ 508534 w 1337274"/>
              <a:gd name="connsiteY102" fmla="*/ 0 h 509892"/>
              <a:gd name="connsiteX103" fmla="*/ 510118 w 1337274"/>
              <a:gd name="connsiteY103" fmla="*/ 0 h 509892"/>
              <a:gd name="connsiteX104" fmla="*/ 512964 w 1337274"/>
              <a:gd name="connsiteY104" fmla="*/ 0 h 509892"/>
              <a:gd name="connsiteX105" fmla="*/ 515294 w 1337274"/>
              <a:gd name="connsiteY105" fmla="*/ 0 h 509892"/>
              <a:gd name="connsiteX106" fmla="*/ 518611 w 1337274"/>
              <a:gd name="connsiteY106" fmla="*/ 0 h 509892"/>
              <a:gd name="connsiteX107" fmla="*/ 519562 w 1337274"/>
              <a:gd name="connsiteY107" fmla="*/ 0 h 509892"/>
              <a:gd name="connsiteX108" fmla="*/ 521890 w 1337274"/>
              <a:gd name="connsiteY108" fmla="*/ 0 h 509892"/>
              <a:gd name="connsiteX109" fmla="*/ 523084 w 1337274"/>
              <a:gd name="connsiteY109" fmla="*/ 0 h 509892"/>
              <a:gd name="connsiteX110" fmla="*/ 525198 w 1337274"/>
              <a:gd name="connsiteY110" fmla="*/ 0 h 509892"/>
              <a:gd name="connsiteX111" fmla="*/ 525208 w 1337274"/>
              <a:gd name="connsiteY111" fmla="*/ 0 h 509892"/>
              <a:gd name="connsiteX112" fmla="*/ 527455 w 1337274"/>
              <a:gd name="connsiteY112" fmla="*/ 0 h 509892"/>
              <a:gd name="connsiteX113" fmla="*/ 531064 w 1337274"/>
              <a:gd name="connsiteY113" fmla="*/ 0 h 509892"/>
              <a:gd name="connsiteX114" fmla="*/ 531075 w 1337274"/>
              <a:gd name="connsiteY114" fmla="*/ 0 h 509892"/>
              <a:gd name="connsiteX115" fmla="*/ 531578 w 1337274"/>
              <a:gd name="connsiteY115" fmla="*/ 0 h 509892"/>
              <a:gd name="connsiteX116" fmla="*/ 534382 w 1337274"/>
              <a:gd name="connsiteY116" fmla="*/ 0 h 509892"/>
              <a:gd name="connsiteX117" fmla="*/ 535949 w 1337274"/>
              <a:gd name="connsiteY117" fmla="*/ 0 h 509892"/>
              <a:gd name="connsiteX118" fmla="*/ 536226 w 1337274"/>
              <a:gd name="connsiteY118" fmla="*/ 0 h 509892"/>
              <a:gd name="connsiteX119" fmla="*/ 537660 w 1337274"/>
              <a:gd name="connsiteY119" fmla="*/ 0 h 509892"/>
              <a:gd name="connsiteX120" fmla="*/ 538165 w 1337274"/>
              <a:gd name="connsiteY120" fmla="*/ 0 h 509892"/>
              <a:gd name="connsiteX121" fmla="*/ 538174 w 1337274"/>
              <a:gd name="connsiteY121" fmla="*/ 0 h 509892"/>
              <a:gd name="connsiteX122" fmla="*/ 540978 w 1337274"/>
              <a:gd name="connsiteY122" fmla="*/ 0 h 509892"/>
              <a:gd name="connsiteX123" fmla="*/ 542535 w 1337274"/>
              <a:gd name="connsiteY123" fmla="*/ 0 h 509892"/>
              <a:gd name="connsiteX124" fmla="*/ 542546 w 1337274"/>
              <a:gd name="connsiteY124" fmla="*/ 0 h 509892"/>
              <a:gd name="connsiteX125" fmla="*/ 546154 w 1337274"/>
              <a:gd name="connsiteY125" fmla="*/ 0 h 509892"/>
              <a:gd name="connsiteX126" fmla="*/ 547739 w 1337274"/>
              <a:gd name="connsiteY126" fmla="*/ 0 h 509892"/>
              <a:gd name="connsiteX127" fmla="*/ 549472 w 1337274"/>
              <a:gd name="connsiteY127" fmla="*/ 0 h 509892"/>
              <a:gd name="connsiteX128" fmla="*/ 549676 w 1337274"/>
              <a:gd name="connsiteY128" fmla="*/ 0 h 509892"/>
              <a:gd name="connsiteX129" fmla="*/ 554048 w 1337274"/>
              <a:gd name="connsiteY129" fmla="*/ 0 h 509892"/>
              <a:gd name="connsiteX130" fmla="*/ 554324 w 1337274"/>
              <a:gd name="connsiteY130" fmla="*/ 0 h 509892"/>
              <a:gd name="connsiteX131" fmla="*/ 554335 w 1337274"/>
              <a:gd name="connsiteY131" fmla="*/ 0 h 509892"/>
              <a:gd name="connsiteX132" fmla="*/ 554839 w 1337274"/>
              <a:gd name="connsiteY132" fmla="*/ 0 h 509892"/>
              <a:gd name="connsiteX133" fmla="*/ 556274 w 1337274"/>
              <a:gd name="connsiteY133" fmla="*/ 0 h 509892"/>
              <a:gd name="connsiteX134" fmla="*/ 557643 w 1337274"/>
              <a:gd name="connsiteY134" fmla="*/ 0 h 509892"/>
              <a:gd name="connsiteX135" fmla="*/ 559210 w 1337274"/>
              <a:gd name="connsiteY135" fmla="*/ 0 h 509892"/>
              <a:gd name="connsiteX136" fmla="*/ 560645 w 1337274"/>
              <a:gd name="connsiteY136" fmla="*/ 0 h 509892"/>
              <a:gd name="connsiteX137" fmla="*/ 561148 w 1337274"/>
              <a:gd name="connsiteY137" fmla="*/ 0 h 509892"/>
              <a:gd name="connsiteX138" fmla="*/ 562818 w 1337274"/>
              <a:gd name="connsiteY138" fmla="*/ 0 h 509892"/>
              <a:gd name="connsiteX139" fmla="*/ 562829 w 1337274"/>
              <a:gd name="connsiteY139" fmla="*/ 0 h 509892"/>
              <a:gd name="connsiteX140" fmla="*/ 564768 w 1337274"/>
              <a:gd name="connsiteY140" fmla="*/ 0 h 509892"/>
              <a:gd name="connsiteX141" fmla="*/ 566136 w 1337274"/>
              <a:gd name="connsiteY141" fmla="*/ 0 h 509892"/>
              <a:gd name="connsiteX142" fmla="*/ 569138 w 1337274"/>
              <a:gd name="connsiteY142" fmla="*/ 0 h 509892"/>
              <a:gd name="connsiteX143" fmla="*/ 569414 w 1337274"/>
              <a:gd name="connsiteY143" fmla="*/ 0 h 509892"/>
              <a:gd name="connsiteX144" fmla="*/ 570609 w 1337274"/>
              <a:gd name="connsiteY144" fmla="*/ 0 h 509892"/>
              <a:gd name="connsiteX145" fmla="*/ 572733 w 1337274"/>
              <a:gd name="connsiteY145" fmla="*/ 0 h 509892"/>
              <a:gd name="connsiteX146" fmla="*/ 572937 w 1337274"/>
              <a:gd name="connsiteY146" fmla="*/ 0 h 509892"/>
              <a:gd name="connsiteX147" fmla="*/ 574979 w 1337274"/>
              <a:gd name="connsiteY147" fmla="*/ 0 h 509892"/>
              <a:gd name="connsiteX148" fmla="*/ 577309 w 1337274"/>
              <a:gd name="connsiteY148" fmla="*/ 0 h 509892"/>
              <a:gd name="connsiteX149" fmla="*/ 578599 w 1337274"/>
              <a:gd name="connsiteY149" fmla="*/ 0 h 509892"/>
              <a:gd name="connsiteX150" fmla="*/ 579103 w 1337274"/>
              <a:gd name="connsiteY150" fmla="*/ 0 h 509892"/>
              <a:gd name="connsiteX151" fmla="*/ 581431 w 1337274"/>
              <a:gd name="connsiteY151" fmla="*/ 0 h 509892"/>
              <a:gd name="connsiteX152" fmla="*/ 583473 w 1337274"/>
              <a:gd name="connsiteY152" fmla="*/ 0 h 509892"/>
              <a:gd name="connsiteX153" fmla="*/ 585699 w 1337274"/>
              <a:gd name="connsiteY153" fmla="*/ 0 h 509892"/>
              <a:gd name="connsiteX154" fmla="*/ 585803 w 1337274"/>
              <a:gd name="connsiteY154" fmla="*/ 0 h 509892"/>
              <a:gd name="connsiteX155" fmla="*/ 588028 w 1337274"/>
              <a:gd name="connsiteY155" fmla="*/ 0 h 509892"/>
              <a:gd name="connsiteX156" fmla="*/ 590070 w 1337274"/>
              <a:gd name="connsiteY156" fmla="*/ 0 h 509892"/>
              <a:gd name="connsiteX157" fmla="*/ 590276 w 1337274"/>
              <a:gd name="connsiteY157" fmla="*/ 0 h 509892"/>
              <a:gd name="connsiteX158" fmla="*/ 592399 w 1337274"/>
              <a:gd name="connsiteY158" fmla="*/ 0 h 509892"/>
              <a:gd name="connsiteX159" fmla="*/ 593593 w 1337274"/>
              <a:gd name="connsiteY159" fmla="*/ 0 h 509892"/>
              <a:gd name="connsiteX160" fmla="*/ 595263 w 1337274"/>
              <a:gd name="connsiteY160" fmla="*/ 0 h 509892"/>
              <a:gd name="connsiteX161" fmla="*/ 597201 w 1337274"/>
              <a:gd name="connsiteY161" fmla="*/ 0 h 509892"/>
              <a:gd name="connsiteX162" fmla="*/ 597211 w 1337274"/>
              <a:gd name="connsiteY162" fmla="*/ 0 h 509892"/>
              <a:gd name="connsiteX163" fmla="*/ 598770 w 1337274"/>
              <a:gd name="connsiteY163" fmla="*/ 0 h 509892"/>
              <a:gd name="connsiteX164" fmla="*/ 601572 w 1337274"/>
              <a:gd name="connsiteY164" fmla="*/ 0 h 509892"/>
              <a:gd name="connsiteX165" fmla="*/ 601583 w 1337274"/>
              <a:gd name="connsiteY165" fmla="*/ 0 h 509892"/>
              <a:gd name="connsiteX166" fmla="*/ 601859 w 1337274"/>
              <a:gd name="connsiteY166" fmla="*/ 0 h 509892"/>
              <a:gd name="connsiteX167" fmla="*/ 602087 w 1337274"/>
              <a:gd name="connsiteY167" fmla="*/ 0 h 509892"/>
              <a:gd name="connsiteX168" fmla="*/ 602364 w 1337274"/>
              <a:gd name="connsiteY168" fmla="*/ 0 h 509892"/>
              <a:gd name="connsiteX169" fmla="*/ 603799 w 1337274"/>
              <a:gd name="connsiteY169" fmla="*/ 0 h 509892"/>
              <a:gd name="connsiteX170" fmla="*/ 605366 w 1337274"/>
              <a:gd name="connsiteY170" fmla="*/ 0 h 509892"/>
              <a:gd name="connsiteX171" fmla="*/ 606735 w 1337274"/>
              <a:gd name="connsiteY171" fmla="*/ 0 h 509892"/>
              <a:gd name="connsiteX172" fmla="*/ 608169 w 1337274"/>
              <a:gd name="connsiteY172" fmla="*/ 0 h 509892"/>
              <a:gd name="connsiteX173" fmla="*/ 608673 w 1337274"/>
              <a:gd name="connsiteY173" fmla="*/ 0 h 509892"/>
              <a:gd name="connsiteX174" fmla="*/ 608683 w 1337274"/>
              <a:gd name="connsiteY174" fmla="*/ 0 h 509892"/>
              <a:gd name="connsiteX175" fmla="*/ 610353 w 1337274"/>
              <a:gd name="connsiteY175" fmla="*/ 0 h 509892"/>
              <a:gd name="connsiteX176" fmla="*/ 612293 w 1337274"/>
              <a:gd name="connsiteY176" fmla="*/ 0 h 509892"/>
              <a:gd name="connsiteX177" fmla="*/ 613876 w 1337274"/>
              <a:gd name="connsiteY177" fmla="*/ 0 h 509892"/>
              <a:gd name="connsiteX178" fmla="*/ 616662 w 1337274"/>
              <a:gd name="connsiteY178" fmla="*/ 0 h 509892"/>
              <a:gd name="connsiteX179" fmla="*/ 618248 w 1337274"/>
              <a:gd name="connsiteY179" fmla="*/ 0 h 509892"/>
              <a:gd name="connsiteX180" fmla="*/ 620185 w 1337274"/>
              <a:gd name="connsiteY180" fmla="*/ 0 h 509892"/>
              <a:gd name="connsiteX181" fmla="*/ 620462 w 1337274"/>
              <a:gd name="connsiteY181" fmla="*/ 0 h 509892"/>
              <a:gd name="connsiteX182" fmla="*/ 620472 w 1337274"/>
              <a:gd name="connsiteY182" fmla="*/ 0 h 509892"/>
              <a:gd name="connsiteX183" fmla="*/ 622030 w 1337274"/>
              <a:gd name="connsiteY183" fmla="*/ 0 h 509892"/>
              <a:gd name="connsiteX184" fmla="*/ 624833 w 1337274"/>
              <a:gd name="connsiteY184" fmla="*/ 0 h 509892"/>
              <a:gd name="connsiteX185" fmla="*/ 624844 w 1337274"/>
              <a:gd name="connsiteY185" fmla="*/ 0 h 509892"/>
              <a:gd name="connsiteX186" fmla="*/ 625347 w 1337274"/>
              <a:gd name="connsiteY186" fmla="*/ 0 h 509892"/>
              <a:gd name="connsiteX187" fmla="*/ 626782 w 1337274"/>
              <a:gd name="connsiteY187" fmla="*/ 0 h 509892"/>
              <a:gd name="connsiteX188" fmla="*/ 628956 w 1337274"/>
              <a:gd name="connsiteY188" fmla="*/ 0 h 509892"/>
              <a:gd name="connsiteX189" fmla="*/ 628966 w 1337274"/>
              <a:gd name="connsiteY189" fmla="*/ 0 h 509892"/>
              <a:gd name="connsiteX190" fmla="*/ 631213 w 1337274"/>
              <a:gd name="connsiteY190" fmla="*/ 0 h 509892"/>
              <a:gd name="connsiteX191" fmla="*/ 633327 w 1337274"/>
              <a:gd name="connsiteY191" fmla="*/ 0 h 509892"/>
              <a:gd name="connsiteX192" fmla="*/ 633338 w 1337274"/>
              <a:gd name="connsiteY192" fmla="*/ 0 h 509892"/>
              <a:gd name="connsiteX193" fmla="*/ 635276 w 1337274"/>
              <a:gd name="connsiteY193" fmla="*/ 0 h 509892"/>
              <a:gd name="connsiteX194" fmla="*/ 635553 w 1337274"/>
              <a:gd name="connsiteY194" fmla="*/ 0 h 509892"/>
              <a:gd name="connsiteX195" fmla="*/ 637800 w 1337274"/>
              <a:gd name="connsiteY195" fmla="*/ 0 h 509892"/>
              <a:gd name="connsiteX196" fmla="*/ 637811 w 1337274"/>
              <a:gd name="connsiteY196" fmla="*/ 0 h 509892"/>
              <a:gd name="connsiteX197" fmla="*/ 639923 w 1337274"/>
              <a:gd name="connsiteY197" fmla="*/ 0 h 509892"/>
              <a:gd name="connsiteX198" fmla="*/ 641118 w 1337274"/>
              <a:gd name="connsiteY198" fmla="*/ 0 h 509892"/>
              <a:gd name="connsiteX199" fmla="*/ 643446 w 1337274"/>
              <a:gd name="connsiteY199" fmla="*/ 0 h 509892"/>
              <a:gd name="connsiteX200" fmla="*/ 644736 w 1337274"/>
              <a:gd name="connsiteY200" fmla="*/ 0 h 509892"/>
              <a:gd name="connsiteX201" fmla="*/ 646293 w 1337274"/>
              <a:gd name="connsiteY201" fmla="*/ 0 h 509892"/>
              <a:gd name="connsiteX202" fmla="*/ 646304 w 1337274"/>
              <a:gd name="connsiteY202" fmla="*/ 0 h 509892"/>
              <a:gd name="connsiteX203" fmla="*/ 649107 w 1337274"/>
              <a:gd name="connsiteY203" fmla="*/ 0 h 509892"/>
              <a:gd name="connsiteX204" fmla="*/ 649612 w 1337274"/>
              <a:gd name="connsiteY204" fmla="*/ 0 h 509892"/>
              <a:gd name="connsiteX205" fmla="*/ 651940 w 1337274"/>
              <a:gd name="connsiteY205" fmla="*/ 0 h 509892"/>
              <a:gd name="connsiteX206" fmla="*/ 652890 w 1337274"/>
              <a:gd name="connsiteY206" fmla="*/ 0 h 509892"/>
              <a:gd name="connsiteX207" fmla="*/ 654474 w 1337274"/>
              <a:gd name="connsiteY207" fmla="*/ 0 h 509892"/>
              <a:gd name="connsiteX208" fmla="*/ 656208 w 1337274"/>
              <a:gd name="connsiteY208" fmla="*/ 0 h 509892"/>
              <a:gd name="connsiteX209" fmla="*/ 656412 w 1337274"/>
              <a:gd name="connsiteY209" fmla="*/ 0 h 509892"/>
              <a:gd name="connsiteX210" fmla="*/ 658537 w 1337274"/>
              <a:gd name="connsiteY210" fmla="*/ 0 h 509892"/>
              <a:gd name="connsiteX211" fmla="*/ 660785 w 1337274"/>
              <a:gd name="connsiteY211" fmla="*/ 0 h 509892"/>
              <a:gd name="connsiteX212" fmla="*/ 661401 w 1337274"/>
              <a:gd name="connsiteY212" fmla="*/ 0 h 509892"/>
              <a:gd name="connsiteX213" fmla="*/ 662968 w 1337274"/>
              <a:gd name="connsiteY213" fmla="*/ 0 h 509892"/>
              <a:gd name="connsiteX214" fmla="*/ 664403 w 1337274"/>
              <a:gd name="connsiteY214" fmla="*/ 0 h 509892"/>
              <a:gd name="connsiteX215" fmla="*/ 664906 w 1337274"/>
              <a:gd name="connsiteY215" fmla="*/ 0 h 509892"/>
              <a:gd name="connsiteX216" fmla="*/ 665772 w 1337274"/>
              <a:gd name="connsiteY216" fmla="*/ 0 h 509892"/>
              <a:gd name="connsiteX217" fmla="*/ 667710 w 1337274"/>
              <a:gd name="connsiteY217" fmla="*/ 0 h 509892"/>
              <a:gd name="connsiteX218" fmla="*/ 667720 w 1337274"/>
              <a:gd name="connsiteY218" fmla="*/ 0 h 509892"/>
              <a:gd name="connsiteX219" fmla="*/ 667997 w 1337274"/>
              <a:gd name="connsiteY219" fmla="*/ 0 h 509892"/>
              <a:gd name="connsiteX220" fmla="*/ 669278 w 1337274"/>
              <a:gd name="connsiteY220" fmla="*/ 0 h 509892"/>
              <a:gd name="connsiteX221" fmla="*/ 669554 w 1337274"/>
              <a:gd name="connsiteY221" fmla="*/ 0 h 509892"/>
              <a:gd name="connsiteX222" fmla="*/ 669565 w 1337274"/>
              <a:gd name="connsiteY222" fmla="*/ 0 h 509892"/>
              <a:gd name="connsiteX223" fmla="*/ 671502 w 1337274"/>
              <a:gd name="connsiteY223" fmla="*/ 0 h 509892"/>
              <a:gd name="connsiteX224" fmla="*/ 672368 w 1337274"/>
              <a:gd name="connsiteY224" fmla="*/ 0 h 509892"/>
              <a:gd name="connsiteX225" fmla="*/ 672872 w 1337274"/>
              <a:gd name="connsiteY225" fmla="*/ 0 h 509892"/>
              <a:gd name="connsiteX226" fmla="*/ 674307 w 1337274"/>
              <a:gd name="connsiteY226" fmla="*/ 0 h 509892"/>
              <a:gd name="connsiteX227" fmla="*/ 675874 w 1337274"/>
              <a:gd name="connsiteY227" fmla="*/ 0 h 509892"/>
              <a:gd name="connsiteX228" fmla="*/ 676491 w 1337274"/>
              <a:gd name="connsiteY228" fmla="*/ 0 h 509892"/>
              <a:gd name="connsiteX229" fmla="*/ 678737 w 1337274"/>
              <a:gd name="connsiteY229" fmla="*/ 0 h 509892"/>
              <a:gd name="connsiteX230" fmla="*/ 680862 w 1337274"/>
              <a:gd name="connsiteY230" fmla="*/ 0 h 509892"/>
              <a:gd name="connsiteX231" fmla="*/ 681067 w 1337274"/>
              <a:gd name="connsiteY231" fmla="*/ 0 h 509892"/>
              <a:gd name="connsiteX232" fmla="*/ 682801 w 1337274"/>
              <a:gd name="connsiteY232" fmla="*/ 0 h 509892"/>
              <a:gd name="connsiteX233" fmla="*/ 684384 w 1337274"/>
              <a:gd name="connsiteY233" fmla="*/ 0 h 509892"/>
              <a:gd name="connsiteX234" fmla="*/ 685335 w 1337274"/>
              <a:gd name="connsiteY234" fmla="*/ 0 h 509892"/>
              <a:gd name="connsiteX235" fmla="*/ 687663 w 1337274"/>
              <a:gd name="connsiteY235" fmla="*/ 0 h 509892"/>
              <a:gd name="connsiteX236" fmla="*/ 688167 w 1337274"/>
              <a:gd name="connsiteY236" fmla="*/ 0 h 509892"/>
              <a:gd name="connsiteX237" fmla="*/ 690971 w 1337274"/>
              <a:gd name="connsiteY237" fmla="*/ 0 h 509892"/>
              <a:gd name="connsiteX238" fmla="*/ 690981 w 1337274"/>
              <a:gd name="connsiteY238" fmla="*/ 0 h 509892"/>
              <a:gd name="connsiteX239" fmla="*/ 692539 w 1337274"/>
              <a:gd name="connsiteY239" fmla="*/ 0 h 509892"/>
              <a:gd name="connsiteX240" fmla="*/ 693828 w 1337274"/>
              <a:gd name="connsiteY240" fmla="*/ 0 h 509892"/>
              <a:gd name="connsiteX241" fmla="*/ 696157 w 1337274"/>
              <a:gd name="connsiteY241" fmla="*/ 0 h 509892"/>
              <a:gd name="connsiteX242" fmla="*/ 697351 w 1337274"/>
              <a:gd name="connsiteY242" fmla="*/ 0 h 509892"/>
              <a:gd name="connsiteX243" fmla="*/ 699465 w 1337274"/>
              <a:gd name="connsiteY243" fmla="*/ 0 h 509892"/>
              <a:gd name="connsiteX244" fmla="*/ 699474 w 1337274"/>
              <a:gd name="connsiteY244" fmla="*/ 0 h 509892"/>
              <a:gd name="connsiteX245" fmla="*/ 701722 w 1337274"/>
              <a:gd name="connsiteY245" fmla="*/ 0 h 509892"/>
              <a:gd name="connsiteX246" fmla="*/ 701999 w 1337274"/>
              <a:gd name="connsiteY246" fmla="*/ 0 h 509892"/>
              <a:gd name="connsiteX247" fmla="*/ 703938 w 1337274"/>
              <a:gd name="connsiteY247" fmla="*/ 0 h 509892"/>
              <a:gd name="connsiteX248" fmla="*/ 703947 w 1337274"/>
              <a:gd name="connsiteY248" fmla="*/ 0 h 509892"/>
              <a:gd name="connsiteX249" fmla="*/ 706062 w 1337274"/>
              <a:gd name="connsiteY249" fmla="*/ 0 h 509892"/>
              <a:gd name="connsiteX250" fmla="*/ 708308 w 1337274"/>
              <a:gd name="connsiteY250" fmla="*/ 0 h 509892"/>
              <a:gd name="connsiteX251" fmla="*/ 708319 w 1337274"/>
              <a:gd name="connsiteY251" fmla="*/ 0 h 509892"/>
              <a:gd name="connsiteX252" fmla="*/ 710493 w 1337274"/>
              <a:gd name="connsiteY252" fmla="*/ 0 h 509892"/>
              <a:gd name="connsiteX253" fmla="*/ 711927 w 1337274"/>
              <a:gd name="connsiteY253" fmla="*/ 0 h 509892"/>
              <a:gd name="connsiteX254" fmla="*/ 712431 w 1337274"/>
              <a:gd name="connsiteY254" fmla="*/ 0 h 509892"/>
              <a:gd name="connsiteX255" fmla="*/ 712441 w 1337274"/>
              <a:gd name="connsiteY255" fmla="*/ 0 h 509892"/>
              <a:gd name="connsiteX256" fmla="*/ 715245 w 1337274"/>
              <a:gd name="connsiteY256" fmla="*/ 0 h 509892"/>
              <a:gd name="connsiteX257" fmla="*/ 716802 w 1337274"/>
              <a:gd name="connsiteY257" fmla="*/ 0 h 509892"/>
              <a:gd name="connsiteX258" fmla="*/ 716813 w 1337274"/>
              <a:gd name="connsiteY258" fmla="*/ 0 h 509892"/>
              <a:gd name="connsiteX259" fmla="*/ 717089 w 1337274"/>
              <a:gd name="connsiteY259" fmla="*/ 0 h 509892"/>
              <a:gd name="connsiteX260" fmla="*/ 719027 w 1337274"/>
              <a:gd name="connsiteY260" fmla="*/ 0 h 509892"/>
              <a:gd name="connsiteX261" fmla="*/ 720612 w 1337274"/>
              <a:gd name="connsiteY261" fmla="*/ 0 h 509892"/>
              <a:gd name="connsiteX262" fmla="*/ 723398 w 1337274"/>
              <a:gd name="connsiteY262" fmla="*/ 0 h 509892"/>
              <a:gd name="connsiteX263" fmla="*/ 724983 w 1337274"/>
              <a:gd name="connsiteY263" fmla="*/ 0 h 509892"/>
              <a:gd name="connsiteX264" fmla="*/ 726921 w 1337274"/>
              <a:gd name="connsiteY264" fmla="*/ 0 h 509892"/>
              <a:gd name="connsiteX265" fmla="*/ 728591 w 1337274"/>
              <a:gd name="connsiteY265" fmla="*/ 0 h 509892"/>
              <a:gd name="connsiteX266" fmla="*/ 728602 w 1337274"/>
              <a:gd name="connsiteY266" fmla="*/ 0 h 509892"/>
              <a:gd name="connsiteX267" fmla="*/ 729106 w 1337274"/>
              <a:gd name="connsiteY267" fmla="*/ 0 h 509892"/>
              <a:gd name="connsiteX268" fmla="*/ 730541 w 1337274"/>
              <a:gd name="connsiteY268" fmla="*/ 0 h 509892"/>
              <a:gd name="connsiteX269" fmla="*/ 731909 w 1337274"/>
              <a:gd name="connsiteY269" fmla="*/ 0 h 509892"/>
              <a:gd name="connsiteX270" fmla="*/ 733476 w 1337274"/>
              <a:gd name="connsiteY270" fmla="*/ 0 h 509892"/>
              <a:gd name="connsiteX271" fmla="*/ 734911 w 1337274"/>
              <a:gd name="connsiteY271" fmla="*/ 0 h 509892"/>
              <a:gd name="connsiteX272" fmla="*/ 735187 w 1337274"/>
              <a:gd name="connsiteY272" fmla="*/ 0 h 509892"/>
              <a:gd name="connsiteX273" fmla="*/ 735415 w 1337274"/>
              <a:gd name="connsiteY273" fmla="*/ 0 h 509892"/>
              <a:gd name="connsiteX274" fmla="*/ 735692 w 1337274"/>
              <a:gd name="connsiteY274" fmla="*/ 0 h 509892"/>
              <a:gd name="connsiteX275" fmla="*/ 735702 w 1337274"/>
              <a:gd name="connsiteY275" fmla="*/ 0 h 509892"/>
              <a:gd name="connsiteX276" fmla="*/ 738506 w 1337274"/>
              <a:gd name="connsiteY276" fmla="*/ 0 h 509892"/>
              <a:gd name="connsiteX277" fmla="*/ 740063 w 1337274"/>
              <a:gd name="connsiteY277" fmla="*/ 0 h 509892"/>
              <a:gd name="connsiteX278" fmla="*/ 740074 w 1337274"/>
              <a:gd name="connsiteY278" fmla="*/ 0 h 509892"/>
              <a:gd name="connsiteX279" fmla="*/ 742011 w 1337274"/>
              <a:gd name="connsiteY279" fmla="*/ 0 h 509892"/>
              <a:gd name="connsiteX280" fmla="*/ 743681 w 1337274"/>
              <a:gd name="connsiteY280" fmla="*/ 0 h 509892"/>
              <a:gd name="connsiteX281" fmla="*/ 744876 w 1337274"/>
              <a:gd name="connsiteY281" fmla="*/ 0 h 509892"/>
              <a:gd name="connsiteX282" fmla="*/ 746999 w 1337274"/>
              <a:gd name="connsiteY282" fmla="*/ 0 h 509892"/>
              <a:gd name="connsiteX283" fmla="*/ 747204 w 1337274"/>
              <a:gd name="connsiteY283" fmla="*/ 0 h 509892"/>
              <a:gd name="connsiteX284" fmla="*/ 749246 w 1337274"/>
              <a:gd name="connsiteY284" fmla="*/ 0 h 509892"/>
              <a:gd name="connsiteX285" fmla="*/ 751472 w 1337274"/>
              <a:gd name="connsiteY285" fmla="*/ 0 h 509892"/>
              <a:gd name="connsiteX286" fmla="*/ 751576 w 1337274"/>
              <a:gd name="connsiteY286" fmla="*/ 0 h 509892"/>
              <a:gd name="connsiteX287" fmla="*/ 753801 w 1337274"/>
              <a:gd name="connsiteY287" fmla="*/ 0 h 509892"/>
              <a:gd name="connsiteX288" fmla="*/ 755843 w 1337274"/>
              <a:gd name="connsiteY288" fmla="*/ 0 h 509892"/>
              <a:gd name="connsiteX289" fmla="*/ 758172 w 1337274"/>
              <a:gd name="connsiteY289" fmla="*/ 0 h 509892"/>
              <a:gd name="connsiteX290" fmla="*/ 758676 w 1337274"/>
              <a:gd name="connsiteY290" fmla="*/ 0 h 509892"/>
              <a:gd name="connsiteX291" fmla="*/ 759966 w 1337274"/>
              <a:gd name="connsiteY291" fmla="*/ 0 h 509892"/>
              <a:gd name="connsiteX292" fmla="*/ 762295 w 1337274"/>
              <a:gd name="connsiteY292" fmla="*/ 0 h 509892"/>
              <a:gd name="connsiteX293" fmla="*/ 764337 w 1337274"/>
              <a:gd name="connsiteY293" fmla="*/ 0 h 509892"/>
              <a:gd name="connsiteX294" fmla="*/ 764543 w 1337274"/>
              <a:gd name="connsiteY294" fmla="*/ 0 h 509892"/>
              <a:gd name="connsiteX295" fmla="*/ 766666 w 1337274"/>
              <a:gd name="connsiteY295" fmla="*/ 0 h 509892"/>
              <a:gd name="connsiteX296" fmla="*/ 767860 w 1337274"/>
              <a:gd name="connsiteY296" fmla="*/ 0 h 509892"/>
              <a:gd name="connsiteX297" fmla="*/ 768137 w 1337274"/>
              <a:gd name="connsiteY297" fmla="*/ 0 h 509892"/>
              <a:gd name="connsiteX298" fmla="*/ 771139 w 1337274"/>
              <a:gd name="connsiteY298" fmla="*/ 0 h 509892"/>
              <a:gd name="connsiteX299" fmla="*/ 772508 w 1337274"/>
              <a:gd name="connsiteY299" fmla="*/ 0 h 509892"/>
              <a:gd name="connsiteX300" fmla="*/ 774446 w 1337274"/>
              <a:gd name="connsiteY300" fmla="*/ 0 h 509892"/>
              <a:gd name="connsiteX301" fmla="*/ 774456 w 1337274"/>
              <a:gd name="connsiteY301" fmla="*/ 0 h 509892"/>
              <a:gd name="connsiteX302" fmla="*/ 776126 w 1337274"/>
              <a:gd name="connsiteY302" fmla="*/ 0 h 509892"/>
              <a:gd name="connsiteX303" fmla="*/ 776631 w 1337274"/>
              <a:gd name="connsiteY303" fmla="*/ 0 h 509892"/>
              <a:gd name="connsiteX304" fmla="*/ 778066 w 1337274"/>
              <a:gd name="connsiteY304" fmla="*/ 0 h 509892"/>
              <a:gd name="connsiteX305" fmla="*/ 779633 w 1337274"/>
              <a:gd name="connsiteY305" fmla="*/ 0 h 509892"/>
              <a:gd name="connsiteX306" fmla="*/ 781001 w 1337274"/>
              <a:gd name="connsiteY306" fmla="*/ 0 h 509892"/>
              <a:gd name="connsiteX307" fmla="*/ 782435 w 1337274"/>
              <a:gd name="connsiteY307" fmla="*/ 0 h 509892"/>
              <a:gd name="connsiteX308" fmla="*/ 782940 w 1337274"/>
              <a:gd name="connsiteY308" fmla="*/ 0 h 509892"/>
              <a:gd name="connsiteX309" fmla="*/ 782950 w 1337274"/>
              <a:gd name="connsiteY309" fmla="*/ 0 h 509892"/>
              <a:gd name="connsiteX310" fmla="*/ 783227 w 1337274"/>
              <a:gd name="connsiteY310" fmla="*/ 0 h 509892"/>
              <a:gd name="connsiteX311" fmla="*/ 787598 w 1337274"/>
              <a:gd name="connsiteY311" fmla="*/ 0 h 509892"/>
              <a:gd name="connsiteX312" fmla="*/ 787803 w 1337274"/>
              <a:gd name="connsiteY312" fmla="*/ 0 h 509892"/>
              <a:gd name="connsiteX313" fmla="*/ 789536 w 1337274"/>
              <a:gd name="connsiteY313" fmla="*/ 0 h 509892"/>
              <a:gd name="connsiteX314" fmla="*/ 791120 w 1337274"/>
              <a:gd name="connsiteY314" fmla="*/ 0 h 509892"/>
              <a:gd name="connsiteX315" fmla="*/ 794729 w 1337274"/>
              <a:gd name="connsiteY315" fmla="*/ 0 h 509892"/>
              <a:gd name="connsiteX316" fmla="*/ 794739 w 1337274"/>
              <a:gd name="connsiteY316" fmla="*/ 0 h 509892"/>
              <a:gd name="connsiteX317" fmla="*/ 796297 w 1337274"/>
              <a:gd name="connsiteY317" fmla="*/ 0 h 509892"/>
              <a:gd name="connsiteX318" fmla="*/ 799100 w 1337274"/>
              <a:gd name="connsiteY318" fmla="*/ 0 h 509892"/>
              <a:gd name="connsiteX319" fmla="*/ 799111 w 1337274"/>
              <a:gd name="connsiteY319" fmla="*/ 0 h 509892"/>
              <a:gd name="connsiteX320" fmla="*/ 799614 w 1337274"/>
              <a:gd name="connsiteY320" fmla="*/ 0 h 509892"/>
              <a:gd name="connsiteX321" fmla="*/ 801049 w 1337274"/>
              <a:gd name="connsiteY321" fmla="*/ 0 h 509892"/>
              <a:gd name="connsiteX322" fmla="*/ 801326 w 1337274"/>
              <a:gd name="connsiteY322" fmla="*/ 0 h 509892"/>
              <a:gd name="connsiteX323" fmla="*/ 802893 w 1337274"/>
              <a:gd name="connsiteY323" fmla="*/ 0 h 509892"/>
              <a:gd name="connsiteX324" fmla="*/ 805696 w 1337274"/>
              <a:gd name="connsiteY324" fmla="*/ 0 h 509892"/>
              <a:gd name="connsiteX325" fmla="*/ 806201 w 1337274"/>
              <a:gd name="connsiteY325" fmla="*/ 0 h 509892"/>
              <a:gd name="connsiteX326" fmla="*/ 806210 w 1337274"/>
              <a:gd name="connsiteY326" fmla="*/ 0 h 509892"/>
              <a:gd name="connsiteX327" fmla="*/ 809820 w 1337274"/>
              <a:gd name="connsiteY327" fmla="*/ 0 h 509892"/>
              <a:gd name="connsiteX328" fmla="*/ 812066 w 1337274"/>
              <a:gd name="connsiteY328" fmla="*/ 0 h 509892"/>
              <a:gd name="connsiteX329" fmla="*/ 812077 w 1337274"/>
              <a:gd name="connsiteY329" fmla="*/ 0 h 509892"/>
              <a:gd name="connsiteX330" fmla="*/ 814190 w 1337274"/>
              <a:gd name="connsiteY330" fmla="*/ 0 h 509892"/>
              <a:gd name="connsiteX331" fmla="*/ 815385 w 1337274"/>
              <a:gd name="connsiteY331" fmla="*/ 0 h 509892"/>
              <a:gd name="connsiteX332" fmla="*/ 817713 w 1337274"/>
              <a:gd name="connsiteY332" fmla="*/ 0 h 509892"/>
              <a:gd name="connsiteX333" fmla="*/ 818663 w 1337274"/>
              <a:gd name="connsiteY333" fmla="*/ 0 h 509892"/>
              <a:gd name="connsiteX334" fmla="*/ 821981 w 1337274"/>
              <a:gd name="connsiteY334" fmla="*/ 0 h 509892"/>
              <a:gd name="connsiteX335" fmla="*/ 824310 w 1337274"/>
              <a:gd name="connsiteY335" fmla="*/ 0 h 509892"/>
              <a:gd name="connsiteX336" fmla="*/ 827156 w 1337274"/>
              <a:gd name="connsiteY336" fmla="*/ 0 h 509892"/>
              <a:gd name="connsiteX337" fmla="*/ 828741 w 1337274"/>
              <a:gd name="connsiteY337" fmla="*/ 0 h 509892"/>
              <a:gd name="connsiteX338" fmla="*/ 830475 w 1337274"/>
              <a:gd name="connsiteY338" fmla="*/ 0 h 509892"/>
              <a:gd name="connsiteX339" fmla="*/ 830679 w 1337274"/>
              <a:gd name="connsiteY339" fmla="*/ 0 h 509892"/>
              <a:gd name="connsiteX340" fmla="*/ 832804 w 1337274"/>
              <a:gd name="connsiteY340" fmla="*/ 0 h 509892"/>
              <a:gd name="connsiteX341" fmla="*/ 835051 w 1337274"/>
              <a:gd name="connsiteY341" fmla="*/ 0 h 509892"/>
              <a:gd name="connsiteX342" fmla="*/ 835327 w 1337274"/>
              <a:gd name="connsiteY342" fmla="*/ 0 h 509892"/>
              <a:gd name="connsiteX343" fmla="*/ 835338 w 1337274"/>
              <a:gd name="connsiteY343" fmla="*/ 0 h 509892"/>
              <a:gd name="connsiteX344" fmla="*/ 837275 w 1337274"/>
              <a:gd name="connsiteY344" fmla="*/ 0 h 509892"/>
              <a:gd name="connsiteX345" fmla="*/ 838645 w 1337274"/>
              <a:gd name="connsiteY345" fmla="*/ 0 h 509892"/>
              <a:gd name="connsiteX346" fmla="*/ 841647 w 1337274"/>
              <a:gd name="connsiteY346" fmla="*/ 0 h 509892"/>
              <a:gd name="connsiteX347" fmla="*/ 842264 w 1337274"/>
              <a:gd name="connsiteY347" fmla="*/ 0 h 509892"/>
              <a:gd name="connsiteX348" fmla="*/ 843821 w 1337274"/>
              <a:gd name="connsiteY348" fmla="*/ 0 h 509892"/>
              <a:gd name="connsiteX349" fmla="*/ 843832 w 1337274"/>
              <a:gd name="connsiteY349" fmla="*/ 0 h 509892"/>
              <a:gd name="connsiteX350" fmla="*/ 845769 w 1337274"/>
              <a:gd name="connsiteY350" fmla="*/ 0 h 509892"/>
              <a:gd name="connsiteX351" fmla="*/ 846635 w 1337274"/>
              <a:gd name="connsiteY351" fmla="*/ 0 h 509892"/>
              <a:gd name="connsiteX352" fmla="*/ 847139 w 1337274"/>
              <a:gd name="connsiteY352" fmla="*/ 0 h 509892"/>
              <a:gd name="connsiteX353" fmla="*/ 848574 w 1337274"/>
              <a:gd name="connsiteY353" fmla="*/ 0 h 509892"/>
              <a:gd name="connsiteX354" fmla="*/ 850141 w 1337274"/>
              <a:gd name="connsiteY354" fmla="*/ 0 h 509892"/>
              <a:gd name="connsiteX355" fmla="*/ 850417 w 1337274"/>
              <a:gd name="connsiteY355" fmla="*/ 0 h 509892"/>
              <a:gd name="connsiteX356" fmla="*/ 853735 w 1337274"/>
              <a:gd name="connsiteY356" fmla="*/ 0 h 509892"/>
              <a:gd name="connsiteX357" fmla="*/ 853940 w 1337274"/>
              <a:gd name="connsiteY357" fmla="*/ 0 h 509892"/>
              <a:gd name="connsiteX358" fmla="*/ 858312 w 1337274"/>
              <a:gd name="connsiteY358" fmla="*/ 0 h 509892"/>
              <a:gd name="connsiteX359" fmla="*/ 859601 w 1337274"/>
              <a:gd name="connsiteY359" fmla="*/ 0 h 509892"/>
              <a:gd name="connsiteX360" fmla="*/ 861930 w 1337274"/>
              <a:gd name="connsiteY360" fmla="*/ 0 h 509892"/>
              <a:gd name="connsiteX361" fmla="*/ 862434 w 1337274"/>
              <a:gd name="connsiteY361" fmla="*/ 0 h 509892"/>
              <a:gd name="connsiteX362" fmla="*/ 865238 w 1337274"/>
              <a:gd name="connsiteY362" fmla="*/ 0 h 509892"/>
              <a:gd name="connsiteX363" fmla="*/ 865247 w 1337274"/>
              <a:gd name="connsiteY363" fmla="*/ 0 h 509892"/>
              <a:gd name="connsiteX364" fmla="*/ 866806 w 1337274"/>
              <a:gd name="connsiteY364" fmla="*/ 0 h 509892"/>
              <a:gd name="connsiteX365" fmla="*/ 869030 w 1337274"/>
              <a:gd name="connsiteY365" fmla="*/ 0 h 509892"/>
              <a:gd name="connsiteX366" fmla="*/ 871835 w 1337274"/>
              <a:gd name="connsiteY366" fmla="*/ 0 h 509892"/>
              <a:gd name="connsiteX367" fmla="*/ 873402 w 1337274"/>
              <a:gd name="connsiteY367" fmla="*/ 0 h 509892"/>
              <a:gd name="connsiteX368" fmla="*/ 876266 w 1337274"/>
              <a:gd name="connsiteY368" fmla="*/ 0 h 509892"/>
              <a:gd name="connsiteX369" fmla="*/ 878204 w 1337274"/>
              <a:gd name="connsiteY369" fmla="*/ 0 h 509892"/>
              <a:gd name="connsiteX370" fmla="*/ 878214 w 1337274"/>
              <a:gd name="connsiteY370" fmla="*/ 0 h 509892"/>
              <a:gd name="connsiteX371" fmla="*/ 880329 w 1337274"/>
              <a:gd name="connsiteY371" fmla="*/ 0 h 509892"/>
              <a:gd name="connsiteX372" fmla="*/ 882575 w 1337274"/>
              <a:gd name="connsiteY372" fmla="*/ 0 h 509892"/>
              <a:gd name="connsiteX373" fmla="*/ 882586 w 1337274"/>
              <a:gd name="connsiteY373" fmla="*/ 0 h 509892"/>
              <a:gd name="connsiteX374" fmla="*/ 882862 w 1337274"/>
              <a:gd name="connsiteY374" fmla="*/ 0 h 509892"/>
              <a:gd name="connsiteX375" fmla="*/ 884800 w 1337274"/>
              <a:gd name="connsiteY375" fmla="*/ 0 h 509892"/>
              <a:gd name="connsiteX376" fmla="*/ 889171 w 1337274"/>
              <a:gd name="connsiteY376" fmla="*/ 0 h 509892"/>
              <a:gd name="connsiteX377" fmla="*/ 891356 w 1337274"/>
              <a:gd name="connsiteY377" fmla="*/ 0 h 509892"/>
              <a:gd name="connsiteX378" fmla="*/ 893294 w 1337274"/>
              <a:gd name="connsiteY378" fmla="*/ 0 h 509892"/>
              <a:gd name="connsiteX379" fmla="*/ 894879 w 1337274"/>
              <a:gd name="connsiteY379" fmla="*/ 0 h 509892"/>
              <a:gd name="connsiteX380" fmla="*/ 897665 w 1337274"/>
              <a:gd name="connsiteY380" fmla="*/ 0 h 509892"/>
              <a:gd name="connsiteX381" fmla="*/ 899249 w 1337274"/>
              <a:gd name="connsiteY381" fmla="*/ 0 h 509892"/>
              <a:gd name="connsiteX382" fmla="*/ 901188 w 1337274"/>
              <a:gd name="connsiteY382" fmla="*/ 0 h 509892"/>
              <a:gd name="connsiteX383" fmla="*/ 901465 w 1337274"/>
              <a:gd name="connsiteY383" fmla="*/ 0 h 509892"/>
              <a:gd name="connsiteX384" fmla="*/ 901475 w 1337274"/>
              <a:gd name="connsiteY384" fmla="*/ 0 h 509892"/>
              <a:gd name="connsiteX385" fmla="*/ 905836 w 1337274"/>
              <a:gd name="connsiteY385" fmla="*/ 0 h 509892"/>
              <a:gd name="connsiteX386" fmla="*/ 905847 w 1337274"/>
              <a:gd name="connsiteY386" fmla="*/ 0 h 509892"/>
              <a:gd name="connsiteX387" fmla="*/ 907784 w 1337274"/>
              <a:gd name="connsiteY387" fmla="*/ 0 h 509892"/>
              <a:gd name="connsiteX388" fmla="*/ 909454 w 1337274"/>
              <a:gd name="connsiteY388" fmla="*/ 0 h 509892"/>
              <a:gd name="connsiteX389" fmla="*/ 909959 w 1337274"/>
              <a:gd name="connsiteY389" fmla="*/ 0 h 509892"/>
              <a:gd name="connsiteX390" fmla="*/ 909968 w 1337274"/>
              <a:gd name="connsiteY390" fmla="*/ 0 h 509892"/>
              <a:gd name="connsiteX391" fmla="*/ 912772 w 1337274"/>
              <a:gd name="connsiteY391" fmla="*/ 0 h 509892"/>
              <a:gd name="connsiteX392" fmla="*/ 914330 w 1337274"/>
              <a:gd name="connsiteY392" fmla="*/ 0 h 509892"/>
              <a:gd name="connsiteX393" fmla="*/ 914341 w 1337274"/>
              <a:gd name="connsiteY393" fmla="*/ 0 h 509892"/>
              <a:gd name="connsiteX394" fmla="*/ 916278 w 1337274"/>
              <a:gd name="connsiteY394" fmla="*/ 0 h 509892"/>
              <a:gd name="connsiteX395" fmla="*/ 916555 w 1337274"/>
              <a:gd name="connsiteY395" fmla="*/ 0 h 509892"/>
              <a:gd name="connsiteX396" fmla="*/ 924449 w 1337274"/>
              <a:gd name="connsiteY396" fmla="*/ 0 h 509892"/>
              <a:gd name="connsiteX397" fmla="*/ 925739 w 1337274"/>
              <a:gd name="connsiteY397" fmla="*/ 0 h 509892"/>
              <a:gd name="connsiteX398" fmla="*/ 928068 w 1337274"/>
              <a:gd name="connsiteY398" fmla="*/ 0 h 509892"/>
              <a:gd name="connsiteX399" fmla="*/ 930110 w 1337274"/>
              <a:gd name="connsiteY399" fmla="*/ 0 h 509892"/>
              <a:gd name="connsiteX400" fmla="*/ 932439 w 1337274"/>
              <a:gd name="connsiteY400" fmla="*/ 0 h 509892"/>
              <a:gd name="connsiteX401" fmla="*/ 942404 w 1337274"/>
              <a:gd name="connsiteY401" fmla="*/ 0 h 509892"/>
              <a:gd name="connsiteX402" fmla="*/ 945406 w 1337274"/>
              <a:gd name="connsiteY402" fmla="*/ 0 h 509892"/>
              <a:gd name="connsiteX403" fmla="*/ 946774 w 1337274"/>
              <a:gd name="connsiteY403" fmla="*/ 0 h 509892"/>
              <a:gd name="connsiteX404" fmla="*/ 948713 w 1337274"/>
              <a:gd name="connsiteY404" fmla="*/ 0 h 509892"/>
              <a:gd name="connsiteX405" fmla="*/ 948723 w 1337274"/>
              <a:gd name="connsiteY405" fmla="*/ 0 h 509892"/>
              <a:gd name="connsiteX406" fmla="*/ 949000 w 1337274"/>
              <a:gd name="connsiteY406" fmla="*/ 0 h 509892"/>
              <a:gd name="connsiteX407" fmla="*/ 953371 w 1337274"/>
              <a:gd name="connsiteY407" fmla="*/ 0 h 509892"/>
              <a:gd name="connsiteX408" fmla="*/ 955309 w 1337274"/>
              <a:gd name="connsiteY408" fmla="*/ 0 h 509892"/>
              <a:gd name="connsiteX409" fmla="*/ 962070 w 1337274"/>
              <a:gd name="connsiteY409" fmla="*/ 0 h 509892"/>
              <a:gd name="connsiteX410" fmla="*/ 965387 w 1337274"/>
              <a:gd name="connsiteY410" fmla="*/ 0 h 509892"/>
              <a:gd name="connsiteX411" fmla="*/ 968666 w 1337274"/>
              <a:gd name="connsiteY411" fmla="*/ 0 h 509892"/>
              <a:gd name="connsiteX412" fmla="*/ 971974 w 1337274"/>
              <a:gd name="connsiteY412" fmla="*/ 0 h 509892"/>
              <a:gd name="connsiteX413" fmla="*/ 971983 w 1337274"/>
              <a:gd name="connsiteY413" fmla="*/ 0 h 509892"/>
              <a:gd name="connsiteX414" fmla="*/ 975593 w 1337274"/>
              <a:gd name="connsiteY414" fmla="*/ 0 h 509892"/>
              <a:gd name="connsiteX415" fmla="*/ 979963 w 1337274"/>
              <a:gd name="connsiteY415" fmla="*/ 0 h 509892"/>
              <a:gd name="connsiteX416" fmla="*/ 992929 w 1337274"/>
              <a:gd name="connsiteY416" fmla="*/ 0 h 509892"/>
              <a:gd name="connsiteX417" fmla="*/ 996248 w 1337274"/>
              <a:gd name="connsiteY417" fmla="*/ 0 h 509892"/>
              <a:gd name="connsiteX418" fmla="*/ 998577 w 1337274"/>
              <a:gd name="connsiteY418" fmla="*/ 0 h 509892"/>
              <a:gd name="connsiteX419" fmla="*/ 1009594 w 1337274"/>
              <a:gd name="connsiteY419" fmla="*/ 0 h 509892"/>
              <a:gd name="connsiteX420" fmla="*/ 1009605 w 1337274"/>
              <a:gd name="connsiteY420" fmla="*/ 0 h 509892"/>
              <a:gd name="connsiteX421" fmla="*/ 1011542 w 1337274"/>
              <a:gd name="connsiteY421" fmla="*/ 0 h 509892"/>
              <a:gd name="connsiteX422" fmla="*/ 1012912 w 1337274"/>
              <a:gd name="connsiteY422" fmla="*/ 0 h 509892"/>
              <a:gd name="connsiteX423" fmla="*/ 1015914 w 1337274"/>
              <a:gd name="connsiteY423" fmla="*/ 0 h 509892"/>
              <a:gd name="connsiteX424" fmla="*/ 1016190 w 1337274"/>
              <a:gd name="connsiteY424" fmla="*/ 0 h 509892"/>
              <a:gd name="connsiteX425" fmla="*/ 1019508 w 1337274"/>
              <a:gd name="connsiteY425" fmla="*/ 0 h 509892"/>
              <a:gd name="connsiteX426" fmla="*/ 1028207 w 1337274"/>
              <a:gd name="connsiteY426" fmla="*/ 0 h 509892"/>
              <a:gd name="connsiteX427" fmla="*/ 1032579 w 1337274"/>
              <a:gd name="connsiteY427" fmla="*/ 0 h 509892"/>
              <a:gd name="connsiteX428" fmla="*/ 1034803 w 1337274"/>
              <a:gd name="connsiteY428" fmla="*/ 0 h 509892"/>
              <a:gd name="connsiteX429" fmla="*/ 1039175 w 1337274"/>
              <a:gd name="connsiteY429" fmla="*/ 0 h 509892"/>
              <a:gd name="connsiteX430" fmla="*/ 1046102 w 1337274"/>
              <a:gd name="connsiteY430" fmla="*/ 0 h 509892"/>
              <a:gd name="connsiteX431" fmla="*/ 1057129 w 1337274"/>
              <a:gd name="connsiteY431" fmla="*/ 0 h 509892"/>
              <a:gd name="connsiteX432" fmla="*/ 1059067 w 1337274"/>
              <a:gd name="connsiteY432" fmla="*/ 0 h 509892"/>
              <a:gd name="connsiteX433" fmla="*/ 1063438 w 1337274"/>
              <a:gd name="connsiteY433" fmla="*/ 0 h 509892"/>
              <a:gd name="connsiteX434" fmla="*/ 1075732 w 1337274"/>
              <a:gd name="connsiteY434" fmla="*/ 0 h 509892"/>
              <a:gd name="connsiteX435" fmla="*/ 1075741 w 1337274"/>
              <a:gd name="connsiteY435" fmla="*/ 0 h 509892"/>
              <a:gd name="connsiteX436" fmla="*/ 1080103 w 1337274"/>
              <a:gd name="connsiteY436" fmla="*/ 0 h 509892"/>
              <a:gd name="connsiteX437" fmla="*/ 1080114 w 1337274"/>
              <a:gd name="connsiteY437" fmla="*/ 0 h 509892"/>
              <a:gd name="connsiteX438" fmla="*/ 1082051 w 1337274"/>
              <a:gd name="connsiteY438" fmla="*/ 0 h 509892"/>
              <a:gd name="connsiteX439" fmla="*/ 1082328 w 1337274"/>
              <a:gd name="connsiteY439" fmla="*/ 0 h 509892"/>
              <a:gd name="connsiteX440" fmla="*/ 1337274 w 1337274"/>
              <a:gd name="connsiteY440" fmla="*/ 254947 h 509892"/>
              <a:gd name="connsiteX441" fmla="*/ 1337273 w 1337274"/>
              <a:gd name="connsiteY441" fmla="*/ 254947 h 509892"/>
              <a:gd name="connsiteX442" fmla="*/ 1082328 w 1337274"/>
              <a:gd name="connsiteY442" fmla="*/ 509892 h 509892"/>
              <a:gd name="connsiteX443" fmla="*/ 1080115 w 1337274"/>
              <a:gd name="connsiteY443" fmla="*/ 509892 h 509892"/>
              <a:gd name="connsiteX444" fmla="*/ 1080112 w 1337274"/>
              <a:gd name="connsiteY444" fmla="*/ 509892 h 509892"/>
              <a:gd name="connsiteX445" fmla="*/ 1080103 w 1337274"/>
              <a:gd name="connsiteY445" fmla="*/ 509892 h 509892"/>
              <a:gd name="connsiteX446" fmla="*/ 1080102 w 1337274"/>
              <a:gd name="connsiteY446" fmla="*/ 509892 h 509892"/>
              <a:gd name="connsiteX447" fmla="*/ 1075744 w 1337274"/>
              <a:gd name="connsiteY447" fmla="*/ 509892 h 509892"/>
              <a:gd name="connsiteX448" fmla="*/ 1075740 w 1337274"/>
              <a:gd name="connsiteY448" fmla="*/ 509892 h 509892"/>
              <a:gd name="connsiteX449" fmla="*/ 1075731 w 1337274"/>
              <a:gd name="connsiteY449" fmla="*/ 509892 h 509892"/>
              <a:gd name="connsiteX450" fmla="*/ 1057129 w 1337274"/>
              <a:gd name="connsiteY450" fmla="*/ 509892 h 509892"/>
              <a:gd name="connsiteX451" fmla="*/ 1057128 w 1337274"/>
              <a:gd name="connsiteY451" fmla="*/ 509892 h 509892"/>
              <a:gd name="connsiteX452" fmla="*/ 1046101 w 1337274"/>
              <a:gd name="connsiteY452" fmla="*/ 509892 h 509892"/>
              <a:gd name="connsiteX453" fmla="*/ 1039177 w 1337274"/>
              <a:gd name="connsiteY453" fmla="*/ 509892 h 509892"/>
              <a:gd name="connsiteX454" fmla="*/ 1039174 w 1337274"/>
              <a:gd name="connsiteY454" fmla="*/ 509892 h 509892"/>
              <a:gd name="connsiteX455" fmla="*/ 1034805 w 1337274"/>
              <a:gd name="connsiteY455" fmla="*/ 509892 h 509892"/>
              <a:gd name="connsiteX456" fmla="*/ 1034803 w 1337274"/>
              <a:gd name="connsiteY456" fmla="*/ 509892 h 509892"/>
              <a:gd name="connsiteX457" fmla="*/ 1032580 w 1337274"/>
              <a:gd name="connsiteY457" fmla="*/ 509892 h 509892"/>
              <a:gd name="connsiteX458" fmla="*/ 1032578 w 1337274"/>
              <a:gd name="connsiteY458" fmla="*/ 509892 h 509892"/>
              <a:gd name="connsiteX459" fmla="*/ 1028209 w 1337274"/>
              <a:gd name="connsiteY459" fmla="*/ 509892 h 509892"/>
              <a:gd name="connsiteX460" fmla="*/ 1028206 w 1337274"/>
              <a:gd name="connsiteY460" fmla="*/ 509892 h 509892"/>
              <a:gd name="connsiteX461" fmla="*/ 1019508 w 1337274"/>
              <a:gd name="connsiteY461" fmla="*/ 509892 h 509892"/>
              <a:gd name="connsiteX462" fmla="*/ 1019507 w 1337274"/>
              <a:gd name="connsiteY462" fmla="*/ 509892 h 509892"/>
              <a:gd name="connsiteX463" fmla="*/ 1016190 w 1337274"/>
              <a:gd name="connsiteY463" fmla="*/ 509892 h 509892"/>
              <a:gd name="connsiteX464" fmla="*/ 1016189 w 1337274"/>
              <a:gd name="connsiteY464" fmla="*/ 509892 h 509892"/>
              <a:gd name="connsiteX465" fmla="*/ 1012912 w 1337274"/>
              <a:gd name="connsiteY465" fmla="*/ 509892 h 509892"/>
              <a:gd name="connsiteX466" fmla="*/ 1012911 w 1337274"/>
              <a:gd name="connsiteY466" fmla="*/ 509892 h 509892"/>
              <a:gd name="connsiteX467" fmla="*/ 1009606 w 1337274"/>
              <a:gd name="connsiteY467" fmla="*/ 509892 h 509892"/>
              <a:gd name="connsiteX468" fmla="*/ 1009604 w 1337274"/>
              <a:gd name="connsiteY468" fmla="*/ 509892 h 509892"/>
              <a:gd name="connsiteX469" fmla="*/ 1009594 w 1337274"/>
              <a:gd name="connsiteY469" fmla="*/ 509892 h 509892"/>
              <a:gd name="connsiteX470" fmla="*/ 1009593 w 1337274"/>
              <a:gd name="connsiteY470" fmla="*/ 509892 h 509892"/>
              <a:gd name="connsiteX471" fmla="*/ 998578 w 1337274"/>
              <a:gd name="connsiteY471" fmla="*/ 509892 h 509892"/>
              <a:gd name="connsiteX472" fmla="*/ 998576 w 1337274"/>
              <a:gd name="connsiteY472" fmla="*/ 509892 h 509892"/>
              <a:gd name="connsiteX473" fmla="*/ 979963 w 1337274"/>
              <a:gd name="connsiteY473" fmla="*/ 509892 h 509892"/>
              <a:gd name="connsiteX474" fmla="*/ 975592 w 1337274"/>
              <a:gd name="connsiteY474" fmla="*/ 509892 h 509892"/>
              <a:gd name="connsiteX475" fmla="*/ 971986 w 1337274"/>
              <a:gd name="connsiteY475" fmla="*/ 509892 h 509892"/>
              <a:gd name="connsiteX476" fmla="*/ 971982 w 1337274"/>
              <a:gd name="connsiteY476" fmla="*/ 509892 h 509892"/>
              <a:gd name="connsiteX477" fmla="*/ 971973 w 1337274"/>
              <a:gd name="connsiteY477" fmla="*/ 509892 h 509892"/>
              <a:gd name="connsiteX478" fmla="*/ 968668 w 1337274"/>
              <a:gd name="connsiteY478" fmla="*/ 509892 h 509892"/>
              <a:gd name="connsiteX479" fmla="*/ 968665 w 1337274"/>
              <a:gd name="connsiteY479" fmla="*/ 509892 h 509892"/>
              <a:gd name="connsiteX480" fmla="*/ 965388 w 1337274"/>
              <a:gd name="connsiteY480" fmla="*/ 509892 h 509892"/>
              <a:gd name="connsiteX481" fmla="*/ 965386 w 1337274"/>
              <a:gd name="connsiteY481" fmla="*/ 509892 h 509892"/>
              <a:gd name="connsiteX482" fmla="*/ 962071 w 1337274"/>
              <a:gd name="connsiteY482" fmla="*/ 509892 h 509892"/>
              <a:gd name="connsiteX483" fmla="*/ 962069 w 1337274"/>
              <a:gd name="connsiteY483" fmla="*/ 509892 h 509892"/>
              <a:gd name="connsiteX484" fmla="*/ 953371 w 1337274"/>
              <a:gd name="connsiteY484" fmla="*/ 509892 h 509892"/>
              <a:gd name="connsiteX485" fmla="*/ 953370 w 1337274"/>
              <a:gd name="connsiteY485" fmla="*/ 509892 h 509892"/>
              <a:gd name="connsiteX486" fmla="*/ 949000 w 1337274"/>
              <a:gd name="connsiteY486" fmla="*/ 509892 h 509892"/>
              <a:gd name="connsiteX487" fmla="*/ 948999 w 1337274"/>
              <a:gd name="connsiteY487" fmla="*/ 509892 h 509892"/>
              <a:gd name="connsiteX488" fmla="*/ 946774 w 1337274"/>
              <a:gd name="connsiteY488" fmla="*/ 509892 h 509892"/>
              <a:gd name="connsiteX489" fmla="*/ 946773 w 1337274"/>
              <a:gd name="connsiteY489" fmla="*/ 509892 h 509892"/>
              <a:gd name="connsiteX490" fmla="*/ 942404 w 1337274"/>
              <a:gd name="connsiteY490" fmla="*/ 509892 h 509892"/>
              <a:gd name="connsiteX491" fmla="*/ 942402 w 1337274"/>
              <a:gd name="connsiteY491" fmla="*/ 509892 h 509892"/>
              <a:gd name="connsiteX492" fmla="*/ 932441 w 1337274"/>
              <a:gd name="connsiteY492" fmla="*/ 509892 h 509892"/>
              <a:gd name="connsiteX493" fmla="*/ 932439 w 1337274"/>
              <a:gd name="connsiteY493" fmla="*/ 509892 h 509892"/>
              <a:gd name="connsiteX494" fmla="*/ 928069 w 1337274"/>
              <a:gd name="connsiteY494" fmla="*/ 509892 h 509892"/>
              <a:gd name="connsiteX495" fmla="*/ 928067 w 1337274"/>
              <a:gd name="connsiteY495" fmla="*/ 509892 h 509892"/>
              <a:gd name="connsiteX496" fmla="*/ 924451 w 1337274"/>
              <a:gd name="connsiteY496" fmla="*/ 509892 h 509892"/>
              <a:gd name="connsiteX497" fmla="*/ 924448 w 1337274"/>
              <a:gd name="connsiteY497" fmla="*/ 509892 h 509892"/>
              <a:gd name="connsiteX498" fmla="*/ 916555 w 1337274"/>
              <a:gd name="connsiteY498" fmla="*/ 509892 h 509892"/>
              <a:gd name="connsiteX499" fmla="*/ 914342 w 1337274"/>
              <a:gd name="connsiteY499" fmla="*/ 509892 h 509892"/>
              <a:gd name="connsiteX500" fmla="*/ 914339 w 1337274"/>
              <a:gd name="connsiteY500" fmla="*/ 509892 h 509892"/>
              <a:gd name="connsiteX501" fmla="*/ 914330 w 1337274"/>
              <a:gd name="connsiteY501" fmla="*/ 509892 h 509892"/>
              <a:gd name="connsiteX502" fmla="*/ 914329 w 1337274"/>
              <a:gd name="connsiteY502" fmla="*/ 509892 h 509892"/>
              <a:gd name="connsiteX503" fmla="*/ 912772 w 1337274"/>
              <a:gd name="connsiteY503" fmla="*/ 509892 h 509892"/>
              <a:gd name="connsiteX504" fmla="*/ 909971 w 1337274"/>
              <a:gd name="connsiteY504" fmla="*/ 509892 h 509892"/>
              <a:gd name="connsiteX505" fmla="*/ 909967 w 1337274"/>
              <a:gd name="connsiteY505" fmla="*/ 509892 h 509892"/>
              <a:gd name="connsiteX506" fmla="*/ 909958 w 1337274"/>
              <a:gd name="connsiteY506" fmla="*/ 509892 h 509892"/>
              <a:gd name="connsiteX507" fmla="*/ 909454 w 1337274"/>
              <a:gd name="connsiteY507" fmla="*/ 509892 h 509892"/>
              <a:gd name="connsiteX508" fmla="*/ 905848 w 1337274"/>
              <a:gd name="connsiteY508" fmla="*/ 509892 h 509892"/>
              <a:gd name="connsiteX509" fmla="*/ 905846 w 1337274"/>
              <a:gd name="connsiteY509" fmla="*/ 509892 h 509892"/>
              <a:gd name="connsiteX510" fmla="*/ 905836 w 1337274"/>
              <a:gd name="connsiteY510" fmla="*/ 509892 h 509892"/>
              <a:gd name="connsiteX511" fmla="*/ 905835 w 1337274"/>
              <a:gd name="connsiteY511" fmla="*/ 509892 h 509892"/>
              <a:gd name="connsiteX512" fmla="*/ 901477 w 1337274"/>
              <a:gd name="connsiteY512" fmla="*/ 509892 h 509892"/>
              <a:gd name="connsiteX513" fmla="*/ 901474 w 1337274"/>
              <a:gd name="connsiteY513" fmla="*/ 509892 h 509892"/>
              <a:gd name="connsiteX514" fmla="*/ 901464 w 1337274"/>
              <a:gd name="connsiteY514" fmla="*/ 509892 h 509892"/>
              <a:gd name="connsiteX515" fmla="*/ 899251 w 1337274"/>
              <a:gd name="connsiteY515" fmla="*/ 509892 h 509892"/>
              <a:gd name="connsiteX516" fmla="*/ 899249 w 1337274"/>
              <a:gd name="connsiteY516" fmla="*/ 509892 h 509892"/>
              <a:gd name="connsiteX517" fmla="*/ 894880 w 1337274"/>
              <a:gd name="connsiteY517" fmla="*/ 509892 h 509892"/>
              <a:gd name="connsiteX518" fmla="*/ 894877 w 1337274"/>
              <a:gd name="connsiteY518" fmla="*/ 509892 h 509892"/>
              <a:gd name="connsiteX519" fmla="*/ 891356 w 1337274"/>
              <a:gd name="connsiteY519" fmla="*/ 509892 h 509892"/>
              <a:gd name="connsiteX520" fmla="*/ 891355 w 1337274"/>
              <a:gd name="connsiteY520" fmla="*/ 509892 h 509892"/>
              <a:gd name="connsiteX521" fmla="*/ 882862 w 1337274"/>
              <a:gd name="connsiteY521" fmla="*/ 509892 h 509892"/>
              <a:gd name="connsiteX522" fmla="*/ 882861 w 1337274"/>
              <a:gd name="connsiteY522" fmla="*/ 509892 h 509892"/>
              <a:gd name="connsiteX523" fmla="*/ 880328 w 1337274"/>
              <a:gd name="connsiteY523" fmla="*/ 509892 h 509892"/>
              <a:gd name="connsiteX524" fmla="*/ 876266 w 1337274"/>
              <a:gd name="connsiteY524" fmla="*/ 509892 h 509892"/>
              <a:gd name="connsiteX525" fmla="*/ 876265 w 1337274"/>
              <a:gd name="connsiteY525" fmla="*/ 509892 h 509892"/>
              <a:gd name="connsiteX526" fmla="*/ 873404 w 1337274"/>
              <a:gd name="connsiteY526" fmla="*/ 509892 h 509892"/>
              <a:gd name="connsiteX527" fmla="*/ 873401 w 1337274"/>
              <a:gd name="connsiteY527" fmla="*/ 509892 h 509892"/>
              <a:gd name="connsiteX528" fmla="*/ 871834 w 1337274"/>
              <a:gd name="connsiteY528" fmla="*/ 509892 h 509892"/>
              <a:gd name="connsiteX529" fmla="*/ 869032 w 1337274"/>
              <a:gd name="connsiteY529" fmla="*/ 509892 h 509892"/>
              <a:gd name="connsiteX530" fmla="*/ 869030 w 1337274"/>
              <a:gd name="connsiteY530" fmla="*/ 509892 h 509892"/>
              <a:gd name="connsiteX531" fmla="*/ 866807 w 1337274"/>
              <a:gd name="connsiteY531" fmla="*/ 509892 h 509892"/>
              <a:gd name="connsiteX532" fmla="*/ 866805 w 1337274"/>
              <a:gd name="connsiteY532" fmla="*/ 509892 h 509892"/>
              <a:gd name="connsiteX533" fmla="*/ 865250 w 1337274"/>
              <a:gd name="connsiteY533" fmla="*/ 509892 h 509892"/>
              <a:gd name="connsiteX534" fmla="*/ 865247 w 1337274"/>
              <a:gd name="connsiteY534" fmla="*/ 509892 h 509892"/>
              <a:gd name="connsiteX535" fmla="*/ 865237 w 1337274"/>
              <a:gd name="connsiteY535" fmla="*/ 509892 h 509892"/>
              <a:gd name="connsiteX536" fmla="*/ 862436 w 1337274"/>
              <a:gd name="connsiteY536" fmla="*/ 509892 h 509892"/>
              <a:gd name="connsiteX537" fmla="*/ 862433 w 1337274"/>
              <a:gd name="connsiteY537" fmla="*/ 509892 h 509892"/>
              <a:gd name="connsiteX538" fmla="*/ 861932 w 1337274"/>
              <a:gd name="connsiteY538" fmla="*/ 509892 h 509892"/>
              <a:gd name="connsiteX539" fmla="*/ 861930 w 1337274"/>
              <a:gd name="connsiteY539" fmla="*/ 509892 h 509892"/>
              <a:gd name="connsiteX540" fmla="*/ 858313 w 1337274"/>
              <a:gd name="connsiteY540" fmla="*/ 509892 h 509892"/>
              <a:gd name="connsiteX541" fmla="*/ 858311 w 1337274"/>
              <a:gd name="connsiteY541" fmla="*/ 509892 h 509892"/>
              <a:gd name="connsiteX542" fmla="*/ 853942 w 1337274"/>
              <a:gd name="connsiteY542" fmla="*/ 509892 h 509892"/>
              <a:gd name="connsiteX543" fmla="*/ 853939 w 1337274"/>
              <a:gd name="connsiteY543" fmla="*/ 509892 h 509892"/>
              <a:gd name="connsiteX544" fmla="*/ 853735 w 1337274"/>
              <a:gd name="connsiteY544" fmla="*/ 509892 h 509892"/>
              <a:gd name="connsiteX545" fmla="*/ 853734 w 1337274"/>
              <a:gd name="connsiteY545" fmla="*/ 509892 h 509892"/>
              <a:gd name="connsiteX546" fmla="*/ 850417 w 1337274"/>
              <a:gd name="connsiteY546" fmla="*/ 509892 h 509892"/>
              <a:gd name="connsiteX547" fmla="*/ 850416 w 1337274"/>
              <a:gd name="connsiteY547" fmla="*/ 509892 h 509892"/>
              <a:gd name="connsiteX548" fmla="*/ 847139 w 1337274"/>
              <a:gd name="connsiteY548" fmla="*/ 509892 h 509892"/>
              <a:gd name="connsiteX549" fmla="*/ 847138 w 1337274"/>
              <a:gd name="connsiteY549" fmla="*/ 509892 h 509892"/>
              <a:gd name="connsiteX550" fmla="*/ 846635 w 1337274"/>
              <a:gd name="connsiteY550" fmla="*/ 509892 h 509892"/>
              <a:gd name="connsiteX551" fmla="*/ 846634 w 1337274"/>
              <a:gd name="connsiteY551" fmla="*/ 509892 h 509892"/>
              <a:gd name="connsiteX552" fmla="*/ 843833 w 1337274"/>
              <a:gd name="connsiteY552" fmla="*/ 509892 h 509892"/>
              <a:gd name="connsiteX553" fmla="*/ 843831 w 1337274"/>
              <a:gd name="connsiteY553" fmla="*/ 509892 h 509892"/>
              <a:gd name="connsiteX554" fmla="*/ 843821 w 1337274"/>
              <a:gd name="connsiteY554" fmla="*/ 509892 h 509892"/>
              <a:gd name="connsiteX555" fmla="*/ 843820 w 1337274"/>
              <a:gd name="connsiteY555" fmla="*/ 509892 h 509892"/>
              <a:gd name="connsiteX556" fmla="*/ 842264 w 1337274"/>
              <a:gd name="connsiteY556" fmla="*/ 509892 h 509892"/>
              <a:gd name="connsiteX557" fmla="*/ 838645 w 1337274"/>
              <a:gd name="connsiteY557" fmla="*/ 509892 h 509892"/>
              <a:gd name="connsiteX558" fmla="*/ 838644 w 1337274"/>
              <a:gd name="connsiteY558" fmla="*/ 509892 h 509892"/>
              <a:gd name="connsiteX559" fmla="*/ 835339 w 1337274"/>
              <a:gd name="connsiteY559" fmla="*/ 509892 h 509892"/>
              <a:gd name="connsiteX560" fmla="*/ 835337 w 1337274"/>
              <a:gd name="connsiteY560" fmla="*/ 509892 h 509892"/>
              <a:gd name="connsiteX561" fmla="*/ 835327 w 1337274"/>
              <a:gd name="connsiteY561" fmla="*/ 509892 h 509892"/>
              <a:gd name="connsiteX562" fmla="*/ 835326 w 1337274"/>
              <a:gd name="connsiteY562" fmla="*/ 509892 h 509892"/>
              <a:gd name="connsiteX563" fmla="*/ 832805 w 1337274"/>
              <a:gd name="connsiteY563" fmla="*/ 509892 h 509892"/>
              <a:gd name="connsiteX564" fmla="*/ 832803 w 1337274"/>
              <a:gd name="connsiteY564" fmla="*/ 509892 h 509892"/>
              <a:gd name="connsiteX565" fmla="*/ 828742 w 1337274"/>
              <a:gd name="connsiteY565" fmla="*/ 509892 h 509892"/>
              <a:gd name="connsiteX566" fmla="*/ 828741 w 1337274"/>
              <a:gd name="connsiteY566" fmla="*/ 509892 h 509892"/>
              <a:gd name="connsiteX567" fmla="*/ 824311 w 1337274"/>
              <a:gd name="connsiteY567" fmla="*/ 509892 h 509892"/>
              <a:gd name="connsiteX568" fmla="*/ 824309 w 1337274"/>
              <a:gd name="connsiteY568" fmla="*/ 509892 h 509892"/>
              <a:gd name="connsiteX569" fmla="*/ 817715 w 1337274"/>
              <a:gd name="connsiteY569" fmla="*/ 509892 h 509892"/>
              <a:gd name="connsiteX570" fmla="*/ 817712 w 1337274"/>
              <a:gd name="connsiteY570" fmla="*/ 509892 h 509892"/>
              <a:gd name="connsiteX571" fmla="*/ 814190 w 1337274"/>
              <a:gd name="connsiteY571" fmla="*/ 509892 h 509892"/>
              <a:gd name="connsiteX572" fmla="*/ 809819 w 1337274"/>
              <a:gd name="connsiteY572" fmla="*/ 509892 h 509892"/>
              <a:gd name="connsiteX573" fmla="*/ 806213 w 1337274"/>
              <a:gd name="connsiteY573" fmla="*/ 509892 h 509892"/>
              <a:gd name="connsiteX574" fmla="*/ 806209 w 1337274"/>
              <a:gd name="connsiteY574" fmla="*/ 509892 h 509892"/>
              <a:gd name="connsiteX575" fmla="*/ 806200 w 1337274"/>
              <a:gd name="connsiteY575" fmla="*/ 509892 h 509892"/>
              <a:gd name="connsiteX576" fmla="*/ 805696 w 1337274"/>
              <a:gd name="connsiteY576" fmla="*/ 509892 h 509892"/>
              <a:gd name="connsiteX577" fmla="*/ 802895 w 1337274"/>
              <a:gd name="connsiteY577" fmla="*/ 509892 h 509892"/>
              <a:gd name="connsiteX578" fmla="*/ 802892 w 1337274"/>
              <a:gd name="connsiteY578" fmla="*/ 509892 h 509892"/>
              <a:gd name="connsiteX579" fmla="*/ 801325 w 1337274"/>
              <a:gd name="connsiteY579" fmla="*/ 509892 h 509892"/>
              <a:gd name="connsiteX580" fmla="*/ 799615 w 1337274"/>
              <a:gd name="connsiteY580" fmla="*/ 509892 h 509892"/>
              <a:gd name="connsiteX581" fmla="*/ 799613 w 1337274"/>
              <a:gd name="connsiteY581" fmla="*/ 509892 h 509892"/>
              <a:gd name="connsiteX582" fmla="*/ 799112 w 1337274"/>
              <a:gd name="connsiteY582" fmla="*/ 509892 h 509892"/>
              <a:gd name="connsiteX583" fmla="*/ 799110 w 1337274"/>
              <a:gd name="connsiteY583" fmla="*/ 509892 h 509892"/>
              <a:gd name="connsiteX584" fmla="*/ 799100 w 1337274"/>
              <a:gd name="connsiteY584" fmla="*/ 509892 h 509892"/>
              <a:gd name="connsiteX585" fmla="*/ 799099 w 1337274"/>
              <a:gd name="connsiteY585" fmla="*/ 509892 h 509892"/>
              <a:gd name="connsiteX586" fmla="*/ 796298 w 1337274"/>
              <a:gd name="connsiteY586" fmla="*/ 509892 h 509892"/>
              <a:gd name="connsiteX587" fmla="*/ 796296 w 1337274"/>
              <a:gd name="connsiteY587" fmla="*/ 509892 h 509892"/>
              <a:gd name="connsiteX588" fmla="*/ 794741 w 1337274"/>
              <a:gd name="connsiteY588" fmla="*/ 509892 h 509892"/>
              <a:gd name="connsiteX589" fmla="*/ 794739 w 1337274"/>
              <a:gd name="connsiteY589" fmla="*/ 509892 h 509892"/>
              <a:gd name="connsiteX590" fmla="*/ 794728 w 1337274"/>
              <a:gd name="connsiteY590" fmla="*/ 509892 h 509892"/>
              <a:gd name="connsiteX591" fmla="*/ 791122 w 1337274"/>
              <a:gd name="connsiteY591" fmla="*/ 509892 h 509892"/>
              <a:gd name="connsiteX592" fmla="*/ 791119 w 1337274"/>
              <a:gd name="connsiteY592" fmla="*/ 509892 h 509892"/>
              <a:gd name="connsiteX593" fmla="*/ 787804 w 1337274"/>
              <a:gd name="connsiteY593" fmla="*/ 509892 h 509892"/>
              <a:gd name="connsiteX594" fmla="*/ 787802 w 1337274"/>
              <a:gd name="connsiteY594" fmla="*/ 509892 h 509892"/>
              <a:gd name="connsiteX595" fmla="*/ 787598 w 1337274"/>
              <a:gd name="connsiteY595" fmla="*/ 509892 h 509892"/>
              <a:gd name="connsiteX596" fmla="*/ 787597 w 1337274"/>
              <a:gd name="connsiteY596" fmla="*/ 509892 h 509892"/>
              <a:gd name="connsiteX597" fmla="*/ 783227 w 1337274"/>
              <a:gd name="connsiteY597" fmla="*/ 509892 h 509892"/>
              <a:gd name="connsiteX598" fmla="*/ 783226 w 1337274"/>
              <a:gd name="connsiteY598" fmla="*/ 509892 h 509892"/>
              <a:gd name="connsiteX599" fmla="*/ 781001 w 1337274"/>
              <a:gd name="connsiteY599" fmla="*/ 509892 h 509892"/>
              <a:gd name="connsiteX600" fmla="*/ 781000 w 1337274"/>
              <a:gd name="connsiteY600" fmla="*/ 509892 h 509892"/>
              <a:gd name="connsiteX601" fmla="*/ 776631 w 1337274"/>
              <a:gd name="connsiteY601" fmla="*/ 509892 h 509892"/>
              <a:gd name="connsiteX602" fmla="*/ 776629 w 1337274"/>
              <a:gd name="connsiteY602" fmla="*/ 509892 h 509892"/>
              <a:gd name="connsiteX603" fmla="*/ 776126 w 1337274"/>
              <a:gd name="connsiteY603" fmla="*/ 509892 h 509892"/>
              <a:gd name="connsiteX604" fmla="*/ 776125 w 1337274"/>
              <a:gd name="connsiteY604" fmla="*/ 509892 h 509892"/>
              <a:gd name="connsiteX605" fmla="*/ 772508 w 1337274"/>
              <a:gd name="connsiteY605" fmla="*/ 509892 h 509892"/>
              <a:gd name="connsiteX606" fmla="*/ 772507 w 1337274"/>
              <a:gd name="connsiteY606" fmla="*/ 509892 h 509892"/>
              <a:gd name="connsiteX607" fmla="*/ 768137 w 1337274"/>
              <a:gd name="connsiteY607" fmla="*/ 509892 h 509892"/>
              <a:gd name="connsiteX608" fmla="*/ 768136 w 1337274"/>
              <a:gd name="connsiteY608" fmla="*/ 509892 h 509892"/>
              <a:gd name="connsiteX609" fmla="*/ 766668 w 1337274"/>
              <a:gd name="connsiteY609" fmla="*/ 509892 h 509892"/>
              <a:gd name="connsiteX610" fmla="*/ 766666 w 1337274"/>
              <a:gd name="connsiteY610" fmla="*/ 509892 h 509892"/>
              <a:gd name="connsiteX611" fmla="*/ 762296 w 1337274"/>
              <a:gd name="connsiteY611" fmla="*/ 509892 h 509892"/>
              <a:gd name="connsiteX612" fmla="*/ 762294 w 1337274"/>
              <a:gd name="connsiteY612" fmla="*/ 509892 h 509892"/>
              <a:gd name="connsiteX613" fmla="*/ 758678 w 1337274"/>
              <a:gd name="connsiteY613" fmla="*/ 509892 h 509892"/>
              <a:gd name="connsiteX614" fmla="*/ 758675 w 1337274"/>
              <a:gd name="connsiteY614" fmla="*/ 509892 h 509892"/>
              <a:gd name="connsiteX615" fmla="*/ 758174 w 1337274"/>
              <a:gd name="connsiteY615" fmla="*/ 509892 h 509892"/>
              <a:gd name="connsiteX616" fmla="*/ 758172 w 1337274"/>
              <a:gd name="connsiteY616" fmla="*/ 509892 h 509892"/>
              <a:gd name="connsiteX617" fmla="*/ 753802 w 1337274"/>
              <a:gd name="connsiteY617" fmla="*/ 509892 h 509892"/>
              <a:gd name="connsiteX618" fmla="*/ 753800 w 1337274"/>
              <a:gd name="connsiteY618" fmla="*/ 509892 h 509892"/>
              <a:gd name="connsiteX619" fmla="*/ 751578 w 1337274"/>
              <a:gd name="connsiteY619" fmla="*/ 509892 h 509892"/>
              <a:gd name="connsiteX620" fmla="*/ 751575 w 1337274"/>
              <a:gd name="connsiteY620" fmla="*/ 509892 h 509892"/>
              <a:gd name="connsiteX621" fmla="*/ 747206 w 1337274"/>
              <a:gd name="connsiteY621" fmla="*/ 509892 h 509892"/>
              <a:gd name="connsiteX622" fmla="*/ 747203 w 1337274"/>
              <a:gd name="connsiteY622" fmla="*/ 509892 h 509892"/>
              <a:gd name="connsiteX623" fmla="*/ 746999 w 1337274"/>
              <a:gd name="connsiteY623" fmla="*/ 509892 h 509892"/>
              <a:gd name="connsiteX624" fmla="*/ 743681 w 1337274"/>
              <a:gd name="connsiteY624" fmla="*/ 509892 h 509892"/>
              <a:gd name="connsiteX625" fmla="*/ 740075 w 1337274"/>
              <a:gd name="connsiteY625" fmla="*/ 509892 h 509892"/>
              <a:gd name="connsiteX626" fmla="*/ 740073 w 1337274"/>
              <a:gd name="connsiteY626" fmla="*/ 509892 h 509892"/>
              <a:gd name="connsiteX627" fmla="*/ 740063 w 1337274"/>
              <a:gd name="connsiteY627" fmla="*/ 509892 h 509892"/>
              <a:gd name="connsiteX628" fmla="*/ 740062 w 1337274"/>
              <a:gd name="connsiteY628" fmla="*/ 509892 h 509892"/>
              <a:gd name="connsiteX629" fmla="*/ 738506 w 1337274"/>
              <a:gd name="connsiteY629" fmla="*/ 509892 h 509892"/>
              <a:gd name="connsiteX630" fmla="*/ 735704 w 1337274"/>
              <a:gd name="connsiteY630" fmla="*/ 509892 h 509892"/>
              <a:gd name="connsiteX631" fmla="*/ 735701 w 1337274"/>
              <a:gd name="connsiteY631" fmla="*/ 509892 h 509892"/>
              <a:gd name="connsiteX632" fmla="*/ 735691 w 1337274"/>
              <a:gd name="connsiteY632" fmla="*/ 509892 h 509892"/>
              <a:gd name="connsiteX633" fmla="*/ 735187 w 1337274"/>
              <a:gd name="connsiteY633" fmla="*/ 509892 h 509892"/>
              <a:gd name="connsiteX634" fmla="*/ 733478 w 1337274"/>
              <a:gd name="connsiteY634" fmla="*/ 509892 h 509892"/>
              <a:gd name="connsiteX635" fmla="*/ 733476 w 1337274"/>
              <a:gd name="connsiteY635" fmla="*/ 509892 h 509892"/>
              <a:gd name="connsiteX636" fmla="*/ 731909 w 1337274"/>
              <a:gd name="connsiteY636" fmla="*/ 509892 h 509892"/>
              <a:gd name="connsiteX637" fmla="*/ 731908 w 1337274"/>
              <a:gd name="connsiteY637" fmla="*/ 509892 h 509892"/>
              <a:gd name="connsiteX638" fmla="*/ 729107 w 1337274"/>
              <a:gd name="connsiteY638" fmla="*/ 509892 h 509892"/>
              <a:gd name="connsiteX639" fmla="*/ 729104 w 1337274"/>
              <a:gd name="connsiteY639" fmla="*/ 509892 h 509892"/>
              <a:gd name="connsiteX640" fmla="*/ 728603 w 1337274"/>
              <a:gd name="connsiteY640" fmla="*/ 509892 h 509892"/>
              <a:gd name="connsiteX641" fmla="*/ 728601 w 1337274"/>
              <a:gd name="connsiteY641" fmla="*/ 509892 h 509892"/>
              <a:gd name="connsiteX642" fmla="*/ 728591 w 1337274"/>
              <a:gd name="connsiteY642" fmla="*/ 509892 h 509892"/>
              <a:gd name="connsiteX643" fmla="*/ 728590 w 1337274"/>
              <a:gd name="connsiteY643" fmla="*/ 509892 h 509892"/>
              <a:gd name="connsiteX644" fmla="*/ 724984 w 1337274"/>
              <a:gd name="connsiteY644" fmla="*/ 509892 h 509892"/>
              <a:gd name="connsiteX645" fmla="*/ 724983 w 1337274"/>
              <a:gd name="connsiteY645" fmla="*/ 509892 h 509892"/>
              <a:gd name="connsiteX646" fmla="*/ 720613 w 1337274"/>
              <a:gd name="connsiteY646" fmla="*/ 509892 h 509892"/>
              <a:gd name="connsiteX647" fmla="*/ 720611 w 1337274"/>
              <a:gd name="connsiteY647" fmla="*/ 509892 h 509892"/>
              <a:gd name="connsiteX648" fmla="*/ 717089 w 1337274"/>
              <a:gd name="connsiteY648" fmla="*/ 509892 h 509892"/>
              <a:gd name="connsiteX649" fmla="*/ 717088 w 1337274"/>
              <a:gd name="connsiteY649" fmla="*/ 509892 h 509892"/>
              <a:gd name="connsiteX650" fmla="*/ 710493 w 1337274"/>
              <a:gd name="connsiteY650" fmla="*/ 509892 h 509892"/>
              <a:gd name="connsiteX651" fmla="*/ 710492 w 1337274"/>
              <a:gd name="connsiteY651" fmla="*/ 509892 h 509892"/>
              <a:gd name="connsiteX652" fmla="*/ 706061 w 1337274"/>
              <a:gd name="connsiteY652" fmla="*/ 509892 h 509892"/>
              <a:gd name="connsiteX653" fmla="*/ 701999 w 1337274"/>
              <a:gd name="connsiteY653" fmla="*/ 509892 h 509892"/>
              <a:gd name="connsiteX654" fmla="*/ 701998 w 1337274"/>
              <a:gd name="connsiteY654" fmla="*/ 509892 h 509892"/>
              <a:gd name="connsiteX655" fmla="*/ 699477 w 1337274"/>
              <a:gd name="connsiteY655" fmla="*/ 509892 h 509892"/>
              <a:gd name="connsiteX656" fmla="*/ 699474 w 1337274"/>
              <a:gd name="connsiteY656" fmla="*/ 509892 h 509892"/>
              <a:gd name="connsiteX657" fmla="*/ 699464 w 1337274"/>
              <a:gd name="connsiteY657" fmla="*/ 509892 h 509892"/>
              <a:gd name="connsiteX658" fmla="*/ 696159 w 1337274"/>
              <a:gd name="connsiteY658" fmla="*/ 509892 h 509892"/>
              <a:gd name="connsiteX659" fmla="*/ 696157 w 1337274"/>
              <a:gd name="connsiteY659" fmla="*/ 509892 h 509892"/>
              <a:gd name="connsiteX660" fmla="*/ 692540 w 1337274"/>
              <a:gd name="connsiteY660" fmla="*/ 509892 h 509892"/>
              <a:gd name="connsiteX661" fmla="*/ 692538 w 1337274"/>
              <a:gd name="connsiteY661" fmla="*/ 509892 h 509892"/>
              <a:gd name="connsiteX662" fmla="*/ 690983 w 1337274"/>
              <a:gd name="connsiteY662" fmla="*/ 509892 h 509892"/>
              <a:gd name="connsiteX663" fmla="*/ 690981 w 1337274"/>
              <a:gd name="connsiteY663" fmla="*/ 509892 h 509892"/>
              <a:gd name="connsiteX664" fmla="*/ 690970 w 1337274"/>
              <a:gd name="connsiteY664" fmla="*/ 509892 h 509892"/>
              <a:gd name="connsiteX665" fmla="*/ 688169 w 1337274"/>
              <a:gd name="connsiteY665" fmla="*/ 509892 h 509892"/>
              <a:gd name="connsiteX666" fmla="*/ 688166 w 1337274"/>
              <a:gd name="connsiteY666" fmla="*/ 509892 h 509892"/>
              <a:gd name="connsiteX667" fmla="*/ 687666 w 1337274"/>
              <a:gd name="connsiteY667" fmla="*/ 509892 h 509892"/>
              <a:gd name="connsiteX668" fmla="*/ 687663 w 1337274"/>
              <a:gd name="connsiteY668" fmla="*/ 509892 h 509892"/>
              <a:gd name="connsiteX669" fmla="*/ 684387 w 1337274"/>
              <a:gd name="connsiteY669" fmla="*/ 509892 h 509892"/>
              <a:gd name="connsiteX670" fmla="*/ 684383 w 1337274"/>
              <a:gd name="connsiteY670" fmla="*/ 509892 h 509892"/>
              <a:gd name="connsiteX671" fmla="*/ 681069 w 1337274"/>
              <a:gd name="connsiteY671" fmla="*/ 509892 h 509892"/>
              <a:gd name="connsiteX672" fmla="*/ 681066 w 1337274"/>
              <a:gd name="connsiteY672" fmla="*/ 509892 h 509892"/>
              <a:gd name="connsiteX673" fmla="*/ 680862 w 1337274"/>
              <a:gd name="connsiteY673" fmla="*/ 509892 h 509892"/>
              <a:gd name="connsiteX674" fmla="*/ 680861 w 1337274"/>
              <a:gd name="connsiteY674" fmla="*/ 509892 h 509892"/>
              <a:gd name="connsiteX675" fmla="*/ 676491 w 1337274"/>
              <a:gd name="connsiteY675" fmla="*/ 509892 h 509892"/>
              <a:gd name="connsiteX676" fmla="*/ 672872 w 1337274"/>
              <a:gd name="connsiteY676" fmla="*/ 509892 h 509892"/>
              <a:gd name="connsiteX677" fmla="*/ 672871 w 1337274"/>
              <a:gd name="connsiteY677" fmla="*/ 509892 h 509892"/>
              <a:gd name="connsiteX678" fmla="*/ 672368 w 1337274"/>
              <a:gd name="connsiteY678" fmla="*/ 509892 h 509892"/>
              <a:gd name="connsiteX679" fmla="*/ 672367 w 1337274"/>
              <a:gd name="connsiteY679" fmla="*/ 509892 h 509892"/>
              <a:gd name="connsiteX680" fmla="*/ 669566 w 1337274"/>
              <a:gd name="connsiteY680" fmla="*/ 509892 h 509892"/>
              <a:gd name="connsiteX681" fmla="*/ 669564 w 1337274"/>
              <a:gd name="connsiteY681" fmla="*/ 509892 h 509892"/>
              <a:gd name="connsiteX682" fmla="*/ 669554 w 1337274"/>
              <a:gd name="connsiteY682" fmla="*/ 509892 h 509892"/>
              <a:gd name="connsiteX683" fmla="*/ 669553 w 1337274"/>
              <a:gd name="connsiteY683" fmla="*/ 509892 h 509892"/>
              <a:gd name="connsiteX684" fmla="*/ 667997 w 1337274"/>
              <a:gd name="connsiteY684" fmla="*/ 509892 h 509892"/>
              <a:gd name="connsiteX685" fmla="*/ 665772 w 1337274"/>
              <a:gd name="connsiteY685" fmla="*/ 509892 h 509892"/>
              <a:gd name="connsiteX686" fmla="*/ 665771 w 1337274"/>
              <a:gd name="connsiteY686" fmla="*/ 509892 h 509892"/>
              <a:gd name="connsiteX687" fmla="*/ 662969 w 1337274"/>
              <a:gd name="connsiteY687" fmla="*/ 509892 h 509892"/>
              <a:gd name="connsiteX688" fmla="*/ 662968 w 1337274"/>
              <a:gd name="connsiteY688" fmla="*/ 509892 h 509892"/>
              <a:gd name="connsiteX689" fmla="*/ 661401 w 1337274"/>
              <a:gd name="connsiteY689" fmla="*/ 509892 h 509892"/>
              <a:gd name="connsiteX690" fmla="*/ 661400 w 1337274"/>
              <a:gd name="connsiteY690" fmla="*/ 509892 h 509892"/>
              <a:gd name="connsiteX691" fmla="*/ 658538 w 1337274"/>
              <a:gd name="connsiteY691" fmla="*/ 509892 h 509892"/>
              <a:gd name="connsiteX692" fmla="*/ 658536 w 1337274"/>
              <a:gd name="connsiteY692" fmla="*/ 509892 h 509892"/>
              <a:gd name="connsiteX693" fmla="*/ 654475 w 1337274"/>
              <a:gd name="connsiteY693" fmla="*/ 509892 h 509892"/>
              <a:gd name="connsiteX694" fmla="*/ 654474 w 1337274"/>
              <a:gd name="connsiteY694" fmla="*/ 509892 h 509892"/>
              <a:gd name="connsiteX695" fmla="*/ 651942 w 1337274"/>
              <a:gd name="connsiteY695" fmla="*/ 509892 h 509892"/>
              <a:gd name="connsiteX696" fmla="*/ 651939 w 1337274"/>
              <a:gd name="connsiteY696" fmla="*/ 509892 h 509892"/>
              <a:gd name="connsiteX697" fmla="*/ 643448 w 1337274"/>
              <a:gd name="connsiteY697" fmla="*/ 509892 h 509892"/>
              <a:gd name="connsiteX698" fmla="*/ 643445 w 1337274"/>
              <a:gd name="connsiteY698" fmla="*/ 509892 h 509892"/>
              <a:gd name="connsiteX699" fmla="*/ 639923 w 1337274"/>
              <a:gd name="connsiteY699" fmla="*/ 509892 h 509892"/>
              <a:gd name="connsiteX700" fmla="*/ 635552 w 1337274"/>
              <a:gd name="connsiteY700" fmla="*/ 509892 h 509892"/>
              <a:gd name="connsiteX701" fmla="*/ 633339 w 1337274"/>
              <a:gd name="connsiteY701" fmla="*/ 509892 h 509892"/>
              <a:gd name="connsiteX702" fmla="*/ 633337 w 1337274"/>
              <a:gd name="connsiteY702" fmla="*/ 509892 h 509892"/>
              <a:gd name="connsiteX703" fmla="*/ 633327 w 1337274"/>
              <a:gd name="connsiteY703" fmla="*/ 509892 h 509892"/>
              <a:gd name="connsiteX704" fmla="*/ 633326 w 1337274"/>
              <a:gd name="connsiteY704" fmla="*/ 509892 h 509892"/>
              <a:gd name="connsiteX705" fmla="*/ 628968 w 1337274"/>
              <a:gd name="connsiteY705" fmla="*/ 509892 h 509892"/>
              <a:gd name="connsiteX706" fmla="*/ 628966 w 1337274"/>
              <a:gd name="connsiteY706" fmla="*/ 509892 h 509892"/>
              <a:gd name="connsiteX707" fmla="*/ 628955 w 1337274"/>
              <a:gd name="connsiteY707" fmla="*/ 509892 h 509892"/>
              <a:gd name="connsiteX708" fmla="*/ 625349 w 1337274"/>
              <a:gd name="connsiteY708" fmla="*/ 509892 h 509892"/>
              <a:gd name="connsiteX709" fmla="*/ 625346 w 1337274"/>
              <a:gd name="connsiteY709" fmla="*/ 509892 h 509892"/>
              <a:gd name="connsiteX710" fmla="*/ 624845 w 1337274"/>
              <a:gd name="connsiteY710" fmla="*/ 509892 h 509892"/>
              <a:gd name="connsiteX711" fmla="*/ 624843 w 1337274"/>
              <a:gd name="connsiteY711" fmla="*/ 509892 h 509892"/>
              <a:gd name="connsiteX712" fmla="*/ 624833 w 1337274"/>
              <a:gd name="connsiteY712" fmla="*/ 509892 h 509892"/>
              <a:gd name="connsiteX713" fmla="*/ 624832 w 1337274"/>
              <a:gd name="connsiteY713" fmla="*/ 509892 h 509892"/>
              <a:gd name="connsiteX714" fmla="*/ 622031 w 1337274"/>
              <a:gd name="connsiteY714" fmla="*/ 509892 h 509892"/>
              <a:gd name="connsiteX715" fmla="*/ 622029 w 1337274"/>
              <a:gd name="connsiteY715" fmla="*/ 509892 h 509892"/>
              <a:gd name="connsiteX716" fmla="*/ 620474 w 1337274"/>
              <a:gd name="connsiteY716" fmla="*/ 509892 h 509892"/>
              <a:gd name="connsiteX717" fmla="*/ 620472 w 1337274"/>
              <a:gd name="connsiteY717" fmla="*/ 509892 h 509892"/>
              <a:gd name="connsiteX718" fmla="*/ 620461 w 1337274"/>
              <a:gd name="connsiteY718" fmla="*/ 509892 h 509892"/>
              <a:gd name="connsiteX719" fmla="*/ 618249 w 1337274"/>
              <a:gd name="connsiteY719" fmla="*/ 509892 h 509892"/>
              <a:gd name="connsiteX720" fmla="*/ 618247 w 1337274"/>
              <a:gd name="connsiteY720" fmla="*/ 509892 h 509892"/>
              <a:gd name="connsiteX721" fmla="*/ 610353 w 1337274"/>
              <a:gd name="connsiteY721" fmla="*/ 509892 h 509892"/>
              <a:gd name="connsiteX722" fmla="*/ 610352 w 1337274"/>
              <a:gd name="connsiteY722" fmla="*/ 509892 h 509892"/>
              <a:gd name="connsiteX723" fmla="*/ 606735 w 1337274"/>
              <a:gd name="connsiteY723" fmla="*/ 509892 h 509892"/>
              <a:gd name="connsiteX724" fmla="*/ 606734 w 1337274"/>
              <a:gd name="connsiteY724" fmla="*/ 509892 h 509892"/>
              <a:gd name="connsiteX725" fmla="*/ 602364 w 1337274"/>
              <a:gd name="connsiteY725" fmla="*/ 509892 h 509892"/>
              <a:gd name="connsiteX726" fmla="*/ 602363 w 1337274"/>
              <a:gd name="connsiteY726" fmla="*/ 509892 h 509892"/>
              <a:gd name="connsiteX727" fmla="*/ 592401 w 1337274"/>
              <a:gd name="connsiteY727" fmla="*/ 509892 h 509892"/>
              <a:gd name="connsiteX728" fmla="*/ 592399 w 1337274"/>
              <a:gd name="connsiteY728" fmla="*/ 509892 h 509892"/>
              <a:gd name="connsiteX729" fmla="*/ 588029 w 1337274"/>
              <a:gd name="connsiteY729" fmla="*/ 509892 h 509892"/>
              <a:gd name="connsiteX730" fmla="*/ 588027 w 1337274"/>
              <a:gd name="connsiteY730" fmla="*/ 509892 h 509892"/>
              <a:gd name="connsiteX731" fmla="*/ 585805 w 1337274"/>
              <a:gd name="connsiteY731" fmla="*/ 509892 h 509892"/>
              <a:gd name="connsiteX732" fmla="*/ 585802 w 1337274"/>
              <a:gd name="connsiteY732" fmla="*/ 509892 h 509892"/>
              <a:gd name="connsiteX733" fmla="*/ 581433 w 1337274"/>
              <a:gd name="connsiteY733" fmla="*/ 509892 h 509892"/>
              <a:gd name="connsiteX734" fmla="*/ 581430 w 1337274"/>
              <a:gd name="connsiteY734" fmla="*/ 509892 h 509892"/>
              <a:gd name="connsiteX735" fmla="*/ 572733 w 1337274"/>
              <a:gd name="connsiteY735" fmla="*/ 509892 h 509892"/>
              <a:gd name="connsiteX736" fmla="*/ 569414 w 1337274"/>
              <a:gd name="connsiteY736" fmla="*/ 509892 h 509892"/>
              <a:gd name="connsiteX737" fmla="*/ 566136 w 1337274"/>
              <a:gd name="connsiteY737" fmla="*/ 509892 h 509892"/>
              <a:gd name="connsiteX738" fmla="*/ 566135 w 1337274"/>
              <a:gd name="connsiteY738" fmla="*/ 509892 h 509892"/>
              <a:gd name="connsiteX739" fmla="*/ 562830 w 1337274"/>
              <a:gd name="connsiteY739" fmla="*/ 509892 h 509892"/>
              <a:gd name="connsiteX740" fmla="*/ 562828 w 1337274"/>
              <a:gd name="connsiteY740" fmla="*/ 509892 h 509892"/>
              <a:gd name="connsiteX741" fmla="*/ 562818 w 1337274"/>
              <a:gd name="connsiteY741" fmla="*/ 509892 h 509892"/>
              <a:gd name="connsiteX742" fmla="*/ 562817 w 1337274"/>
              <a:gd name="connsiteY742" fmla="*/ 509892 h 509892"/>
              <a:gd name="connsiteX743" fmla="*/ 559211 w 1337274"/>
              <a:gd name="connsiteY743" fmla="*/ 509892 h 509892"/>
              <a:gd name="connsiteX744" fmla="*/ 559210 w 1337274"/>
              <a:gd name="connsiteY744" fmla="*/ 509892 h 509892"/>
              <a:gd name="connsiteX745" fmla="*/ 554840 w 1337274"/>
              <a:gd name="connsiteY745" fmla="*/ 509892 h 509892"/>
              <a:gd name="connsiteX746" fmla="*/ 554838 w 1337274"/>
              <a:gd name="connsiteY746" fmla="*/ 509892 h 509892"/>
              <a:gd name="connsiteX747" fmla="*/ 536226 w 1337274"/>
              <a:gd name="connsiteY747" fmla="*/ 509892 h 509892"/>
              <a:gd name="connsiteX748" fmla="*/ 536225 w 1337274"/>
              <a:gd name="connsiteY748" fmla="*/ 509892 h 509892"/>
              <a:gd name="connsiteX749" fmla="*/ 525210 w 1337274"/>
              <a:gd name="connsiteY749" fmla="*/ 509892 h 509892"/>
              <a:gd name="connsiteX750" fmla="*/ 525208 w 1337274"/>
              <a:gd name="connsiteY750" fmla="*/ 509892 h 509892"/>
              <a:gd name="connsiteX751" fmla="*/ 525197 w 1337274"/>
              <a:gd name="connsiteY751" fmla="*/ 509892 h 509892"/>
              <a:gd name="connsiteX752" fmla="*/ 521893 w 1337274"/>
              <a:gd name="connsiteY752" fmla="*/ 509892 h 509892"/>
              <a:gd name="connsiteX753" fmla="*/ 521890 w 1337274"/>
              <a:gd name="connsiteY753" fmla="*/ 509892 h 509892"/>
              <a:gd name="connsiteX754" fmla="*/ 518614 w 1337274"/>
              <a:gd name="connsiteY754" fmla="*/ 509892 h 509892"/>
              <a:gd name="connsiteX755" fmla="*/ 518610 w 1337274"/>
              <a:gd name="connsiteY755" fmla="*/ 509892 h 509892"/>
              <a:gd name="connsiteX756" fmla="*/ 515296 w 1337274"/>
              <a:gd name="connsiteY756" fmla="*/ 509892 h 509892"/>
              <a:gd name="connsiteX757" fmla="*/ 515293 w 1337274"/>
              <a:gd name="connsiteY757" fmla="*/ 509892 h 509892"/>
              <a:gd name="connsiteX758" fmla="*/ 506595 w 1337274"/>
              <a:gd name="connsiteY758" fmla="*/ 509892 h 509892"/>
              <a:gd name="connsiteX759" fmla="*/ 506594 w 1337274"/>
              <a:gd name="connsiteY759" fmla="*/ 509892 h 509892"/>
              <a:gd name="connsiteX760" fmla="*/ 502224 w 1337274"/>
              <a:gd name="connsiteY760" fmla="*/ 509892 h 509892"/>
              <a:gd name="connsiteX761" fmla="*/ 499999 w 1337274"/>
              <a:gd name="connsiteY761" fmla="*/ 509892 h 509892"/>
              <a:gd name="connsiteX762" fmla="*/ 499998 w 1337274"/>
              <a:gd name="connsiteY762" fmla="*/ 509892 h 509892"/>
              <a:gd name="connsiteX763" fmla="*/ 495628 w 1337274"/>
              <a:gd name="connsiteY763" fmla="*/ 509892 h 509892"/>
              <a:gd name="connsiteX764" fmla="*/ 495627 w 1337274"/>
              <a:gd name="connsiteY764" fmla="*/ 509892 h 509892"/>
              <a:gd name="connsiteX765" fmla="*/ 488702 w 1337274"/>
              <a:gd name="connsiteY765" fmla="*/ 509892 h 509892"/>
              <a:gd name="connsiteX766" fmla="*/ 488701 w 1337274"/>
              <a:gd name="connsiteY766" fmla="*/ 509892 h 509892"/>
              <a:gd name="connsiteX767" fmla="*/ 477675 w 1337274"/>
              <a:gd name="connsiteY767" fmla="*/ 509892 h 509892"/>
              <a:gd name="connsiteX768" fmla="*/ 477672 w 1337274"/>
              <a:gd name="connsiteY768" fmla="*/ 509892 h 509892"/>
              <a:gd name="connsiteX769" fmla="*/ 459072 w 1337274"/>
              <a:gd name="connsiteY769" fmla="*/ 509892 h 509892"/>
              <a:gd name="connsiteX770" fmla="*/ 459070 w 1337274"/>
              <a:gd name="connsiteY770" fmla="*/ 509892 h 509892"/>
              <a:gd name="connsiteX771" fmla="*/ 459060 w 1337274"/>
              <a:gd name="connsiteY771" fmla="*/ 509892 h 509892"/>
              <a:gd name="connsiteX772" fmla="*/ 459059 w 1337274"/>
              <a:gd name="connsiteY772" fmla="*/ 509892 h 509892"/>
              <a:gd name="connsiteX773" fmla="*/ 454701 w 1337274"/>
              <a:gd name="connsiteY773" fmla="*/ 509892 h 509892"/>
              <a:gd name="connsiteX774" fmla="*/ 454699 w 1337274"/>
              <a:gd name="connsiteY774" fmla="*/ 509892 h 509892"/>
              <a:gd name="connsiteX775" fmla="*/ 454688 w 1337274"/>
              <a:gd name="connsiteY775" fmla="*/ 509892 h 509892"/>
              <a:gd name="connsiteX776" fmla="*/ 452476 w 1337274"/>
              <a:gd name="connsiteY776" fmla="*/ 509892 h 509892"/>
              <a:gd name="connsiteX777" fmla="*/ 452474 w 1337274"/>
              <a:gd name="connsiteY777" fmla="*/ 509892 h 509892"/>
              <a:gd name="connsiteX778" fmla="*/ 254947 w 1337274"/>
              <a:gd name="connsiteY778" fmla="*/ 509891 h 509892"/>
              <a:gd name="connsiteX779" fmla="*/ 5179 w 1337274"/>
              <a:gd name="connsiteY779" fmla="*/ 306326 h 509892"/>
              <a:gd name="connsiteX780" fmla="*/ 0 w 1337274"/>
              <a:gd name="connsiteY780" fmla="*/ 254947 h 509892"/>
              <a:gd name="connsiteX781" fmla="*/ 5179 w 1337274"/>
              <a:gd name="connsiteY781" fmla="*/ 203566 h 509892"/>
              <a:gd name="connsiteX782" fmla="*/ 254947 w 1337274"/>
              <a:gd name="connsiteY782" fmla="*/ 0 h 50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</a:cxnLst>
            <a:rect l="l" t="t" r="r" b="b"/>
            <a:pathLst>
              <a:path w="1337274" h="509892">
                <a:moveTo>
                  <a:pt x="254947" y="0"/>
                </a:moveTo>
                <a:lnTo>
                  <a:pt x="255223" y="0"/>
                </a:lnTo>
                <a:lnTo>
                  <a:pt x="257162" y="0"/>
                </a:lnTo>
                <a:lnTo>
                  <a:pt x="257172" y="0"/>
                </a:lnTo>
                <a:lnTo>
                  <a:pt x="261533" y="0"/>
                </a:lnTo>
                <a:lnTo>
                  <a:pt x="261544" y="0"/>
                </a:lnTo>
                <a:lnTo>
                  <a:pt x="273836" y="0"/>
                </a:lnTo>
                <a:lnTo>
                  <a:pt x="278208" y="0"/>
                </a:lnTo>
                <a:lnTo>
                  <a:pt x="280145" y="0"/>
                </a:lnTo>
                <a:lnTo>
                  <a:pt x="291174" y="0"/>
                </a:lnTo>
                <a:lnTo>
                  <a:pt x="298100" y="0"/>
                </a:lnTo>
                <a:lnTo>
                  <a:pt x="302471" y="0"/>
                </a:lnTo>
                <a:lnTo>
                  <a:pt x="304697" y="0"/>
                </a:lnTo>
                <a:lnTo>
                  <a:pt x="309068" y="0"/>
                </a:lnTo>
                <a:lnTo>
                  <a:pt x="317767" y="0"/>
                </a:lnTo>
                <a:lnTo>
                  <a:pt x="321084" y="0"/>
                </a:lnTo>
                <a:lnTo>
                  <a:pt x="321361" y="0"/>
                </a:lnTo>
                <a:lnTo>
                  <a:pt x="324363" y="0"/>
                </a:lnTo>
                <a:lnTo>
                  <a:pt x="325732" y="0"/>
                </a:lnTo>
                <a:lnTo>
                  <a:pt x="327670" y="0"/>
                </a:lnTo>
                <a:lnTo>
                  <a:pt x="327680" y="0"/>
                </a:lnTo>
                <a:lnTo>
                  <a:pt x="338698" y="0"/>
                </a:lnTo>
                <a:lnTo>
                  <a:pt x="341028" y="0"/>
                </a:lnTo>
                <a:lnTo>
                  <a:pt x="344345" y="0"/>
                </a:lnTo>
                <a:lnTo>
                  <a:pt x="357311" y="0"/>
                </a:lnTo>
                <a:lnTo>
                  <a:pt x="361682" y="0"/>
                </a:lnTo>
                <a:lnTo>
                  <a:pt x="365291" y="0"/>
                </a:lnTo>
                <a:lnTo>
                  <a:pt x="365302" y="0"/>
                </a:lnTo>
                <a:lnTo>
                  <a:pt x="368609" y="0"/>
                </a:lnTo>
                <a:lnTo>
                  <a:pt x="371887" y="0"/>
                </a:lnTo>
                <a:lnTo>
                  <a:pt x="375205" y="0"/>
                </a:lnTo>
                <a:lnTo>
                  <a:pt x="381966" y="0"/>
                </a:lnTo>
                <a:lnTo>
                  <a:pt x="383903" y="0"/>
                </a:lnTo>
                <a:lnTo>
                  <a:pt x="388275" y="0"/>
                </a:lnTo>
                <a:lnTo>
                  <a:pt x="388551" y="0"/>
                </a:lnTo>
                <a:lnTo>
                  <a:pt x="388562" y="0"/>
                </a:lnTo>
                <a:lnTo>
                  <a:pt x="390501" y="0"/>
                </a:lnTo>
                <a:lnTo>
                  <a:pt x="391870" y="0"/>
                </a:lnTo>
                <a:lnTo>
                  <a:pt x="394872" y="0"/>
                </a:lnTo>
                <a:lnTo>
                  <a:pt x="404836" y="0"/>
                </a:lnTo>
                <a:lnTo>
                  <a:pt x="407164" y="0"/>
                </a:lnTo>
                <a:lnTo>
                  <a:pt x="409206" y="0"/>
                </a:lnTo>
                <a:lnTo>
                  <a:pt x="411536" y="0"/>
                </a:lnTo>
                <a:lnTo>
                  <a:pt x="412826" y="0"/>
                </a:lnTo>
                <a:lnTo>
                  <a:pt x="420720" y="0"/>
                </a:lnTo>
                <a:lnTo>
                  <a:pt x="420996" y="0"/>
                </a:lnTo>
                <a:lnTo>
                  <a:pt x="422935" y="0"/>
                </a:lnTo>
                <a:lnTo>
                  <a:pt x="422945" y="0"/>
                </a:lnTo>
                <a:lnTo>
                  <a:pt x="424503" y="0"/>
                </a:lnTo>
                <a:lnTo>
                  <a:pt x="427306" y="0"/>
                </a:lnTo>
                <a:lnTo>
                  <a:pt x="427317" y="0"/>
                </a:lnTo>
                <a:lnTo>
                  <a:pt x="427820" y="0"/>
                </a:lnTo>
                <a:lnTo>
                  <a:pt x="429490" y="0"/>
                </a:lnTo>
                <a:lnTo>
                  <a:pt x="431428" y="0"/>
                </a:lnTo>
                <a:lnTo>
                  <a:pt x="431438" y="0"/>
                </a:lnTo>
                <a:lnTo>
                  <a:pt x="435799" y="0"/>
                </a:lnTo>
                <a:lnTo>
                  <a:pt x="435810" y="0"/>
                </a:lnTo>
                <a:lnTo>
                  <a:pt x="436086" y="0"/>
                </a:lnTo>
                <a:lnTo>
                  <a:pt x="438026" y="0"/>
                </a:lnTo>
                <a:lnTo>
                  <a:pt x="439609" y="0"/>
                </a:lnTo>
                <a:lnTo>
                  <a:pt x="442396" y="0"/>
                </a:lnTo>
                <a:lnTo>
                  <a:pt x="443981" y="0"/>
                </a:lnTo>
                <a:lnTo>
                  <a:pt x="445918" y="0"/>
                </a:lnTo>
                <a:lnTo>
                  <a:pt x="448103" y="0"/>
                </a:lnTo>
                <a:lnTo>
                  <a:pt x="452475" y="0"/>
                </a:lnTo>
                <a:lnTo>
                  <a:pt x="454412" y="0"/>
                </a:lnTo>
                <a:lnTo>
                  <a:pt x="454689" y="0"/>
                </a:lnTo>
                <a:lnTo>
                  <a:pt x="454699" y="0"/>
                </a:lnTo>
                <a:lnTo>
                  <a:pt x="456947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09" y="0"/>
                </a:lnTo>
                <a:lnTo>
                  <a:pt x="463873" y="0"/>
                </a:lnTo>
                <a:lnTo>
                  <a:pt x="465440" y="0"/>
                </a:lnTo>
                <a:lnTo>
                  <a:pt x="468244" y="0"/>
                </a:lnTo>
                <a:lnTo>
                  <a:pt x="470470" y="0"/>
                </a:lnTo>
                <a:lnTo>
                  <a:pt x="472027" y="0"/>
                </a:lnTo>
                <a:lnTo>
                  <a:pt x="472038" y="0"/>
                </a:lnTo>
                <a:lnTo>
                  <a:pt x="474841" y="0"/>
                </a:lnTo>
                <a:lnTo>
                  <a:pt x="475345" y="0"/>
                </a:lnTo>
                <a:lnTo>
                  <a:pt x="477673" y="0"/>
                </a:lnTo>
                <a:lnTo>
                  <a:pt x="478963" y="0"/>
                </a:lnTo>
                <a:lnTo>
                  <a:pt x="483334" y="0"/>
                </a:lnTo>
                <a:lnTo>
                  <a:pt x="483540" y="0"/>
                </a:lnTo>
                <a:lnTo>
                  <a:pt x="486857" y="0"/>
                </a:lnTo>
                <a:lnTo>
                  <a:pt x="487134" y="0"/>
                </a:lnTo>
                <a:lnTo>
                  <a:pt x="488701" y="0"/>
                </a:lnTo>
                <a:lnTo>
                  <a:pt x="490136" y="0"/>
                </a:lnTo>
                <a:lnTo>
                  <a:pt x="490639" y="0"/>
                </a:lnTo>
                <a:lnTo>
                  <a:pt x="491505" y="0"/>
                </a:lnTo>
                <a:lnTo>
                  <a:pt x="493443" y="0"/>
                </a:lnTo>
                <a:lnTo>
                  <a:pt x="493453" y="0"/>
                </a:lnTo>
                <a:lnTo>
                  <a:pt x="495012" y="0"/>
                </a:lnTo>
                <a:lnTo>
                  <a:pt x="495628" y="0"/>
                </a:lnTo>
                <a:lnTo>
                  <a:pt x="498630" y="0"/>
                </a:lnTo>
                <a:lnTo>
                  <a:pt x="499999" y="0"/>
                </a:lnTo>
                <a:lnTo>
                  <a:pt x="501937" y="0"/>
                </a:lnTo>
                <a:lnTo>
                  <a:pt x="501947" y="0"/>
                </a:lnTo>
                <a:lnTo>
                  <a:pt x="502224" y="0"/>
                </a:lnTo>
                <a:lnTo>
                  <a:pt x="504471" y="0"/>
                </a:lnTo>
                <a:lnTo>
                  <a:pt x="506595" y="0"/>
                </a:lnTo>
                <a:lnTo>
                  <a:pt x="506801" y="0"/>
                </a:lnTo>
                <a:lnTo>
                  <a:pt x="508534" y="0"/>
                </a:lnTo>
                <a:lnTo>
                  <a:pt x="510118" y="0"/>
                </a:lnTo>
                <a:lnTo>
                  <a:pt x="512964" y="0"/>
                </a:lnTo>
                <a:lnTo>
                  <a:pt x="515294" y="0"/>
                </a:lnTo>
                <a:lnTo>
                  <a:pt x="518611" y="0"/>
                </a:lnTo>
                <a:lnTo>
                  <a:pt x="519562" y="0"/>
                </a:lnTo>
                <a:lnTo>
                  <a:pt x="521890" y="0"/>
                </a:lnTo>
                <a:lnTo>
                  <a:pt x="523084" y="0"/>
                </a:lnTo>
                <a:lnTo>
                  <a:pt x="525198" y="0"/>
                </a:lnTo>
                <a:lnTo>
                  <a:pt x="525208" y="0"/>
                </a:lnTo>
                <a:lnTo>
                  <a:pt x="527455" y="0"/>
                </a:lnTo>
                <a:lnTo>
                  <a:pt x="531064" y="0"/>
                </a:lnTo>
                <a:lnTo>
                  <a:pt x="531075" y="0"/>
                </a:lnTo>
                <a:lnTo>
                  <a:pt x="531578" y="0"/>
                </a:lnTo>
                <a:lnTo>
                  <a:pt x="534382" y="0"/>
                </a:lnTo>
                <a:lnTo>
                  <a:pt x="535949" y="0"/>
                </a:lnTo>
                <a:lnTo>
                  <a:pt x="536226" y="0"/>
                </a:lnTo>
                <a:lnTo>
                  <a:pt x="537660" y="0"/>
                </a:lnTo>
                <a:lnTo>
                  <a:pt x="538165" y="0"/>
                </a:lnTo>
                <a:lnTo>
                  <a:pt x="538174" y="0"/>
                </a:lnTo>
                <a:lnTo>
                  <a:pt x="540978" y="0"/>
                </a:lnTo>
                <a:lnTo>
                  <a:pt x="542535" y="0"/>
                </a:lnTo>
                <a:lnTo>
                  <a:pt x="542546" y="0"/>
                </a:lnTo>
                <a:lnTo>
                  <a:pt x="546154" y="0"/>
                </a:lnTo>
                <a:lnTo>
                  <a:pt x="547739" y="0"/>
                </a:lnTo>
                <a:lnTo>
                  <a:pt x="549472" y="0"/>
                </a:lnTo>
                <a:lnTo>
                  <a:pt x="549676" y="0"/>
                </a:lnTo>
                <a:lnTo>
                  <a:pt x="554048" y="0"/>
                </a:lnTo>
                <a:lnTo>
                  <a:pt x="554324" y="0"/>
                </a:lnTo>
                <a:lnTo>
                  <a:pt x="554335" y="0"/>
                </a:lnTo>
                <a:lnTo>
                  <a:pt x="554839" y="0"/>
                </a:lnTo>
                <a:lnTo>
                  <a:pt x="556274" y="0"/>
                </a:lnTo>
                <a:lnTo>
                  <a:pt x="557643" y="0"/>
                </a:lnTo>
                <a:lnTo>
                  <a:pt x="559210" y="0"/>
                </a:lnTo>
                <a:lnTo>
                  <a:pt x="560645" y="0"/>
                </a:lnTo>
                <a:lnTo>
                  <a:pt x="561148" y="0"/>
                </a:lnTo>
                <a:lnTo>
                  <a:pt x="562818" y="0"/>
                </a:lnTo>
                <a:lnTo>
                  <a:pt x="562829" y="0"/>
                </a:lnTo>
                <a:lnTo>
                  <a:pt x="564768" y="0"/>
                </a:lnTo>
                <a:lnTo>
                  <a:pt x="566136" y="0"/>
                </a:lnTo>
                <a:lnTo>
                  <a:pt x="569138" y="0"/>
                </a:lnTo>
                <a:lnTo>
                  <a:pt x="569414" y="0"/>
                </a:lnTo>
                <a:lnTo>
                  <a:pt x="570609" y="0"/>
                </a:lnTo>
                <a:lnTo>
                  <a:pt x="572733" y="0"/>
                </a:lnTo>
                <a:lnTo>
                  <a:pt x="572937" y="0"/>
                </a:lnTo>
                <a:lnTo>
                  <a:pt x="574979" y="0"/>
                </a:lnTo>
                <a:lnTo>
                  <a:pt x="577309" y="0"/>
                </a:lnTo>
                <a:lnTo>
                  <a:pt x="578599" y="0"/>
                </a:lnTo>
                <a:lnTo>
                  <a:pt x="579103" y="0"/>
                </a:lnTo>
                <a:lnTo>
                  <a:pt x="581431" y="0"/>
                </a:lnTo>
                <a:lnTo>
                  <a:pt x="583473" y="0"/>
                </a:lnTo>
                <a:lnTo>
                  <a:pt x="585699" y="0"/>
                </a:lnTo>
                <a:lnTo>
                  <a:pt x="585803" y="0"/>
                </a:lnTo>
                <a:lnTo>
                  <a:pt x="588028" y="0"/>
                </a:lnTo>
                <a:lnTo>
                  <a:pt x="590070" y="0"/>
                </a:lnTo>
                <a:lnTo>
                  <a:pt x="590276" y="0"/>
                </a:lnTo>
                <a:lnTo>
                  <a:pt x="592399" y="0"/>
                </a:lnTo>
                <a:lnTo>
                  <a:pt x="593593" y="0"/>
                </a:lnTo>
                <a:lnTo>
                  <a:pt x="595263" y="0"/>
                </a:lnTo>
                <a:lnTo>
                  <a:pt x="597201" y="0"/>
                </a:lnTo>
                <a:lnTo>
                  <a:pt x="597211" y="0"/>
                </a:lnTo>
                <a:lnTo>
                  <a:pt x="598770" y="0"/>
                </a:lnTo>
                <a:lnTo>
                  <a:pt x="601572" y="0"/>
                </a:lnTo>
                <a:lnTo>
                  <a:pt x="601583" y="0"/>
                </a:lnTo>
                <a:lnTo>
                  <a:pt x="601859" y="0"/>
                </a:lnTo>
                <a:lnTo>
                  <a:pt x="602087" y="0"/>
                </a:lnTo>
                <a:lnTo>
                  <a:pt x="602364" y="0"/>
                </a:lnTo>
                <a:lnTo>
                  <a:pt x="603799" y="0"/>
                </a:lnTo>
                <a:lnTo>
                  <a:pt x="605366" y="0"/>
                </a:lnTo>
                <a:lnTo>
                  <a:pt x="606735" y="0"/>
                </a:lnTo>
                <a:lnTo>
                  <a:pt x="608169" y="0"/>
                </a:lnTo>
                <a:lnTo>
                  <a:pt x="608673" y="0"/>
                </a:lnTo>
                <a:lnTo>
                  <a:pt x="608683" y="0"/>
                </a:lnTo>
                <a:lnTo>
                  <a:pt x="610353" y="0"/>
                </a:lnTo>
                <a:lnTo>
                  <a:pt x="612293" y="0"/>
                </a:lnTo>
                <a:lnTo>
                  <a:pt x="613876" y="0"/>
                </a:lnTo>
                <a:lnTo>
                  <a:pt x="616662" y="0"/>
                </a:lnTo>
                <a:lnTo>
                  <a:pt x="618248" y="0"/>
                </a:lnTo>
                <a:lnTo>
                  <a:pt x="620185" y="0"/>
                </a:lnTo>
                <a:lnTo>
                  <a:pt x="620462" y="0"/>
                </a:lnTo>
                <a:lnTo>
                  <a:pt x="620472" y="0"/>
                </a:lnTo>
                <a:lnTo>
                  <a:pt x="622030" y="0"/>
                </a:lnTo>
                <a:lnTo>
                  <a:pt x="624833" y="0"/>
                </a:lnTo>
                <a:lnTo>
                  <a:pt x="624844" y="0"/>
                </a:lnTo>
                <a:lnTo>
                  <a:pt x="625347" y="0"/>
                </a:lnTo>
                <a:lnTo>
                  <a:pt x="626782" y="0"/>
                </a:lnTo>
                <a:lnTo>
                  <a:pt x="628956" y="0"/>
                </a:lnTo>
                <a:lnTo>
                  <a:pt x="628966" y="0"/>
                </a:lnTo>
                <a:lnTo>
                  <a:pt x="631213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5553" y="0"/>
                </a:lnTo>
                <a:lnTo>
                  <a:pt x="637800" y="0"/>
                </a:lnTo>
                <a:lnTo>
                  <a:pt x="637811" y="0"/>
                </a:lnTo>
                <a:lnTo>
                  <a:pt x="639923" y="0"/>
                </a:lnTo>
                <a:lnTo>
                  <a:pt x="641118" y="0"/>
                </a:lnTo>
                <a:lnTo>
                  <a:pt x="643446" y="0"/>
                </a:lnTo>
                <a:lnTo>
                  <a:pt x="644736" y="0"/>
                </a:lnTo>
                <a:lnTo>
                  <a:pt x="646293" y="0"/>
                </a:lnTo>
                <a:lnTo>
                  <a:pt x="646304" y="0"/>
                </a:lnTo>
                <a:lnTo>
                  <a:pt x="649107" y="0"/>
                </a:lnTo>
                <a:lnTo>
                  <a:pt x="649612" y="0"/>
                </a:lnTo>
                <a:lnTo>
                  <a:pt x="651940" y="0"/>
                </a:lnTo>
                <a:lnTo>
                  <a:pt x="652890" y="0"/>
                </a:lnTo>
                <a:lnTo>
                  <a:pt x="654474" y="0"/>
                </a:lnTo>
                <a:lnTo>
                  <a:pt x="656208" y="0"/>
                </a:lnTo>
                <a:lnTo>
                  <a:pt x="656412" y="0"/>
                </a:lnTo>
                <a:lnTo>
                  <a:pt x="658537" y="0"/>
                </a:lnTo>
                <a:lnTo>
                  <a:pt x="660785" y="0"/>
                </a:lnTo>
                <a:lnTo>
                  <a:pt x="661401" y="0"/>
                </a:lnTo>
                <a:lnTo>
                  <a:pt x="662968" y="0"/>
                </a:lnTo>
                <a:lnTo>
                  <a:pt x="664403" y="0"/>
                </a:lnTo>
                <a:lnTo>
                  <a:pt x="664906" y="0"/>
                </a:lnTo>
                <a:lnTo>
                  <a:pt x="665772" y="0"/>
                </a:lnTo>
                <a:lnTo>
                  <a:pt x="667710" y="0"/>
                </a:lnTo>
                <a:lnTo>
                  <a:pt x="667720" y="0"/>
                </a:lnTo>
                <a:lnTo>
                  <a:pt x="667997" y="0"/>
                </a:lnTo>
                <a:lnTo>
                  <a:pt x="669278" y="0"/>
                </a:lnTo>
                <a:lnTo>
                  <a:pt x="669554" y="0"/>
                </a:lnTo>
                <a:lnTo>
                  <a:pt x="669565" y="0"/>
                </a:lnTo>
                <a:lnTo>
                  <a:pt x="671502" y="0"/>
                </a:lnTo>
                <a:lnTo>
                  <a:pt x="672368" y="0"/>
                </a:lnTo>
                <a:lnTo>
                  <a:pt x="672872" y="0"/>
                </a:lnTo>
                <a:lnTo>
                  <a:pt x="674307" y="0"/>
                </a:lnTo>
                <a:lnTo>
                  <a:pt x="675874" y="0"/>
                </a:lnTo>
                <a:lnTo>
                  <a:pt x="676491" y="0"/>
                </a:lnTo>
                <a:lnTo>
                  <a:pt x="678737" y="0"/>
                </a:lnTo>
                <a:lnTo>
                  <a:pt x="680862" y="0"/>
                </a:lnTo>
                <a:lnTo>
                  <a:pt x="681067" y="0"/>
                </a:lnTo>
                <a:lnTo>
                  <a:pt x="682801" y="0"/>
                </a:lnTo>
                <a:lnTo>
                  <a:pt x="684384" y="0"/>
                </a:lnTo>
                <a:lnTo>
                  <a:pt x="685335" y="0"/>
                </a:lnTo>
                <a:lnTo>
                  <a:pt x="687663" y="0"/>
                </a:lnTo>
                <a:lnTo>
                  <a:pt x="688167" y="0"/>
                </a:lnTo>
                <a:lnTo>
                  <a:pt x="690971" y="0"/>
                </a:lnTo>
                <a:lnTo>
                  <a:pt x="690981" y="0"/>
                </a:lnTo>
                <a:lnTo>
                  <a:pt x="692539" y="0"/>
                </a:lnTo>
                <a:lnTo>
                  <a:pt x="693828" y="0"/>
                </a:lnTo>
                <a:lnTo>
                  <a:pt x="696157" y="0"/>
                </a:lnTo>
                <a:lnTo>
                  <a:pt x="697351" y="0"/>
                </a:lnTo>
                <a:lnTo>
                  <a:pt x="699465" y="0"/>
                </a:lnTo>
                <a:lnTo>
                  <a:pt x="699474" y="0"/>
                </a:lnTo>
                <a:lnTo>
                  <a:pt x="701722" y="0"/>
                </a:lnTo>
                <a:lnTo>
                  <a:pt x="701999" y="0"/>
                </a:lnTo>
                <a:lnTo>
                  <a:pt x="703938" y="0"/>
                </a:lnTo>
                <a:lnTo>
                  <a:pt x="703947" y="0"/>
                </a:lnTo>
                <a:lnTo>
                  <a:pt x="706062" y="0"/>
                </a:lnTo>
                <a:lnTo>
                  <a:pt x="708308" y="0"/>
                </a:lnTo>
                <a:lnTo>
                  <a:pt x="708319" y="0"/>
                </a:lnTo>
                <a:lnTo>
                  <a:pt x="710493" y="0"/>
                </a:lnTo>
                <a:lnTo>
                  <a:pt x="711927" y="0"/>
                </a:lnTo>
                <a:lnTo>
                  <a:pt x="712431" y="0"/>
                </a:lnTo>
                <a:lnTo>
                  <a:pt x="712441" y="0"/>
                </a:lnTo>
                <a:lnTo>
                  <a:pt x="715245" y="0"/>
                </a:lnTo>
                <a:lnTo>
                  <a:pt x="716802" y="0"/>
                </a:lnTo>
                <a:lnTo>
                  <a:pt x="716813" y="0"/>
                </a:lnTo>
                <a:lnTo>
                  <a:pt x="717089" y="0"/>
                </a:lnTo>
                <a:lnTo>
                  <a:pt x="719027" y="0"/>
                </a:lnTo>
                <a:lnTo>
                  <a:pt x="720612" y="0"/>
                </a:lnTo>
                <a:lnTo>
                  <a:pt x="723398" y="0"/>
                </a:lnTo>
                <a:lnTo>
                  <a:pt x="724983" y="0"/>
                </a:lnTo>
                <a:lnTo>
                  <a:pt x="726921" y="0"/>
                </a:lnTo>
                <a:lnTo>
                  <a:pt x="728591" y="0"/>
                </a:lnTo>
                <a:lnTo>
                  <a:pt x="728602" y="0"/>
                </a:lnTo>
                <a:lnTo>
                  <a:pt x="729106" y="0"/>
                </a:lnTo>
                <a:lnTo>
                  <a:pt x="730541" y="0"/>
                </a:lnTo>
                <a:lnTo>
                  <a:pt x="731909" y="0"/>
                </a:lnTo>
                <a:lnTo>
                  <a:pt x="733476" y="0"/>
                </a:lnTo>
                <a:lnTo>
                  <a:pt x="734911" y="0"/>
                </a:lnTo>
                <a:lnTo>
                  <a:pt x="735187" y="0"/>
                </a:lnTo>
                <a:lnTo>
                  <a:pt x="735415" y="0"/>
                </a:lnTo>
                <a:lnTo>
                  <a:pt x="735692" y="0"/>
                </a:lnTo>
                <a:lnTo>
                  <a:pt x="735702" y="0"/>
                </a:lnTo>
                <a:lnTo>
                  <a:pt x="738506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3681" y="0"/>
                </a:lnTo>
                <a:lnTo>
                  <a:pt x="744876" y="0"/>
                </a:lnTo>
                <a:lnTo>
                  <a:pt x="746999" y="0"/>
                </a:lnTo>
                <a:lnTo>
                  <a:pt x="747204" y="0"/>
                </a:lnTo>
                <a:lnTo>
                  <a:pt x="749246" y="0"/>
                </a:lnTo>
                <a:lnTo>
                  <a:pt x="751472" y="0"/>
                </a:lnTo>
                <a:lnTo>
                  <a:pt x="751576" y="0"/>
                </a:lnTo>
                <a:lnTo>
                  <a:pt x="753801" y="0"/>
                </a:lnTo>
                <a:lnTo>
                  <a:pt x="755843" y="0"/>
                </a:lnTo>
                <a:lnTo>
                  <a:pt x="758172" y="0"/>
                </a:lnTo>
                <a:lnTo>
                  <a:pt x="758676" y="0"/>
                </a:lnTo>
                <a:lnTo>
                  <a:pt x="759966" y="0"/>
                </a:lnTo>
                <a:lnTo>
                  <a:pt x="762295" y="0"/>
                </a:lnTo>
                <a:lnTo>
                  <a:pt x="764337" y="0"/>
                </a:lnTo>
                <a:lnTo>
                  <a:pt x="764543" y="0"/>
                </a:lnTo>
                <a:lnTo>
                  <a:pt x="766666" y="0"/>
                </a:lnTo>
                <a:lnTo>
                  <a:pt x="767860" y="0"/>
                </a:lnTo>
                <a:lnTo>
                  <a:pt x="768137" y="0"/>
                </a:lnTo>
                <a:lnTo>
                  <a:pt x="771139" y="0"/>
                </a:lnTo>
                <a:lnTo>
                  <a:pt x="772508" y="0"/>
                </a:lnTo>
                <a:lnTo>
                  <a:pt x="774446" y="0"/>
                </a:lnTo>
                <a:lnTo>
                  <a:pt x="774456" y="0"/>
                </a:lnTo>
                <a:lnTo>
                  <a:pt x="776126" y="0"/>
                </a:lnTo>
                <a:lnTo>
                  <a:pt x="776631" y="0"/>
                </a:lnTo>
                <a:lnTo>
                  <a:pt x="778066" y="0"/>
                </a:lnTo>
                <a:lnTo>
                  <a:pt x="779633" y="0"/>
                </a:lnTo>
                <a:lnTo>
                  <a:pt x="781001" y="0"/>
                </a:lnTo>
                <a:lnTo>
                  <a:pt x="782435" y="0"/>
                </a:lnTo>
                <a:lnTo>
                  <a:pt x="782940" y="0"/>
                </a:lnTo>
                <a:lnTo>
                  <a:pt x="782950" y="0"/>
                </a:lnTo>
                <a:lnTo>
                  <a:pt x="783227" y="0"/>
                </a:lnTo>
                <a:lnTo>
                  <a:pt x="787598" y="0"/>
                </a:lnTo>
                <a:lnTo>
                  <a:pt x="787803" y="0"/>
                </a:lnTo>
                <a:lnTo>
                  <a:pt x="789536" y="0"/>
                </a:lnTo>
                <a:lnTo>
                  <a:pt x="791120" y="0"/>
                </a:lnTo>
                <a:lnTo>
                  <a:pt x="794729" y="0"/>
                </a:lnTo>
                <a:lnTo>
                  <a:pt x="794739" y="0"/>
                </a:lnTo>
                <a:lnTo>
                  <a:pt x="796297" y="0"/>
                </a:lnTo>
                <a:lnTo>
                  <a:pt x="799100" y="0"/>
                </a:lnTo>
                <a:lnTo>
                  <a:pt x="799111" y="0"/>
                </a:lnTo>
                <a:lnTo>
                  <a:pt x="799614" y="0"/>
                </a:lnTo>
                <a:lnTo>
                  <a:pt x="801049" y="0"/>
                </a:lnTo>
                <a:lnTo>
                  <a:pt x="801326" y="0"/>
                </a:lnTo>
                <a:lnTo>
                  <a:pt x="802893" y="0"/>
                </a:lnTo>
                <a:lnTo>
                  <a:pt x="805696" y="0"/>
                </a:lnTo>
                <a:lnTo>
                  <a:pt x="806201" y="0"/>
                </a:lnTo>
                <a:lnTo>
                  <a:pt x="806210" y="0"/>
                </a:lnTo>
                <a:lnTo>
                  <a:pt x="809820" y="0"/>
                </a:lnTo>
                <a:lnTo>
                  <a:pt x="812066" y="0"/>
                </a:lnTo>
                <a:lnTo>
                  <a:pt x="812077" y="0"/>
                </a:lnTo>
                <a:lnTo>
                  <a:pt x="814190" y="0"/>
                </a:lnTo>
                <a:lnTo>
                  <a:pt x="815385" y="0"/>
                </a:lnTo>
                <a:lnTo>
                  <a:pt x="817713" y="0"/>
                </a:lnTo>
                <a:lnTo>
                  <a:pt x="818663" y="0"/>
                </a:lnTo>
                <a:lnTo>
                  <a:pt x="821981" y="0"/>
                </a:lnTo>
                <a:lnTo>
                  <a:pt x="824310" y="0"/>
                </a:lnTo>
                <a:lnTo>
                  <a:pt x="827156" y="0"/>
                </a:lnTo>
                <a:lnTo>
                  <a:pt x="828741" y="0"/>
                </a:lnTo>
                <a:lnTo>
                  <a:pt x="830475" y="0"/>
                </a:lnTo>
                <a:lnTo>
                  <a:pt x="830679" y="0"/>
                </a:lnTo>
                <a:lnTo>
                  <a:pt x="832804" y="0"/>
                </a:lnTo>
                <a:lnTo>
                  <a:pt x="835051" y="0"/>
                </a:lnTo>
                <a:lnTo>
                  <a:pt x="835327" y="0"/>
                </a:lnTo>
                <a:lnTo>
                  <a:pt x="835338" y="0"/>
                </a:lnTo>
                <a:lnTo>
                  <a:pt x="837275" y="0"/>
                </a:lnTo>
                <a:lnTo>
                  <a:pt x="838645" y="0"/>
                </a:lnTo>
                <a:lnTo>
                  <a:pt x="841647" y="0"/>
                </a:lnTo>
                <a:lnTo>
                  <a:pt x="842264" y="0"/>
                </a:lnTo>
                <a:lnTo>
                  <a:pt x="843821" y="0"/>
                </a:lnTo>
                <a:lnTo>
                  <a:pt x="843832" y="0"/>
                </a:lnTo>
                <a:lnTo>
                  <a:pt x="845769" y="0"/>
                </a:lnTo>
                <a:lnTo>
                  <a:pt x="846635" y="0"/>
                </a:lnTo>
                <a:lnTo>
                  <a:pt x="847139" y="0"/>
                </a:lnTo>
                <a:lnTo>
                  <a:pt x="848574" y="0"/>
                </a:lnTo>
                <a:lnTo>
                  <a:pt x="850141" y="0"/>
                </a:lnTo>
                <a:lnTo>
                  <a:pt x="850417" y="0"/>
                </a:lnTo>
                <a:lnTo>
                  <a:pt x="853735" y="0"/>
                </a:lnTo>
                <a:lnTo>
                  <a:pt x="853940" y="0"/>
                </a:lnTo>
                <a:lnTo>
                  <a:pt x="858312" y="0"/>
                </a:lnTo>
                <a:lnTo>
                  <a:pt x="859601" y="0"/>
                </a:lnTo>
                <a:lnTo>
                  <a:pt x="861930" y="0"/>
                </a:lnTo>
                <a:lnTo>
                  <a:pt x="862434" y="0"/>
                </a:lnTo>
                <a:lnTo>
                  <a:pt x="865238" y="0"/>
                </a:lnTo>
                <a:lnTo>
                  <a:pt x="865247" y="0"/>
                </a:lnTo>
                <a:lnTo>
                  <a:pt x="866806" y="0"/>
                </a:lnTo>
                <a:lnTo>
                  <a:pt x="869030" y="0"/>
                </a:lnTo>
                <a:lnTo>
                  <a:pt x="871835" y="0"/>
                </a:lnTo>
                <a:lnTo>
                  <a:pt x="873402" y="0"/>
                </a:lnTo>
                <a:lnTo>
                  <a:pt x="876266" y="0"/>
                </a:lnTo>
                <a:lnTo>
                  <a:pt x="878204" y="0"/>
                </a:lnTo>
                <a:lnTo>
                  <a:pt x="878214" y="0"/>
                </a:lnTo>
                <a:lnTo>
                  <a:pt x="880329" y="0"/>
                </a:lnTo>
                <a:lnTo>
                  <a:pt x="882575" y="0"/>
                </a:lnTo>
                <a:lnTo>
                  <a:pt x="882586" y="0"/>
                </a:lnTo>
                <a:lnTo>
                  <a:pt x="882862" y="0"/>
                </a:lnTo>
                <a:lnTo>
                  <a:pt x="884800" y="0"/>
                </a:lnTo>
                <a:lnTo>
                  <a:pt x="889171" y="0"/>
                </a:lnTo>
                <a:lnTo>
                  <a:pt x="891356" y="0"/>
                </a:lnTo>
                <a:lnTo>
                  <a:pt x="893294" y="0"/>
                </a:lnTo>
                <a:lnTo>
                  <a:pt x="894879" y="0"/>
                </a:lnTo>
                <a:lnTo>
                  <a:pt x="897665" y="0"/>
                </a:lnTo>
                <a:lnTo>
                  <a:pt x="899249" y="0"/>
                </a:lnTo>
                <a:lnTo>
                  <a:pt x="901188" y="0"/>
                </a:lnTo>
                <a:lnTo>
                  <a:pt x="901465" y="0"/>
                </a:lnTo>
                <a:lnTo>
                  <a:pt x="901475" y="0"/>
                </a:lnTo>
                <a:lnTo>
                  <a:pt x="905836" y="0"/>
                </a:lnTo>
                <a:lnTo>
                  <a:pt x="905847" y="0"/>
                </a:lnTo>
                <a:lnTo>
                  <a:pt x="907784" y="0"/>
                </a:lnTo>
                <a:lnTo>
                  <a:pt x="909454" y="0"/>
                </a:lnTo>
                <a:lnTo>
                  <a:pt x="909959" y="0"/>
                </a:lnTo>
                <a:lnTo>
                  <a:pt x="909968" y="0"/>
                </a:lnTo>
                <a:lnTo>
                  <a:pt x="912772" y="0"/>
                </a:lnTo>
                <a:lnTo>
                  <a:pt x="914330" y="0"/>
                </a:lnTo>
                <a:lnTo>
                  <a:pt x="914341" y="0"/>
                </a:lnTo>
                <a:lnTo>
                  <a:pt x="916278" y="0"/>
                </a:lnTo>
                <a:lnTo>
                  <a:pt x="916555" y="0"/>
                </a:lnTo>
                <a:lnTo>
                  <a:pt x="924449" y="0"/>
                </a:lnTo>
                <a:lnTo>
                  <a:pt x="925739" y="0"/>
                </a:lnTo>
                <a:lnTo>
                  <a:pt x="928068" y="0"/>
                </a:lnTo>
                <a:lnTo>
                  <a:pt x="930110" y="0"/>
                </a:lnTo>
                <a:lnTo>
                  <a:pt x="932439" y="0"/>
                </a:lnTo>
                <a:lnTo>
                  <a:pt x="942404" y="0"/>
                </a:lnTo>
                <a:lnTo>
                  <a:pt x="945406" y="0"/>
                </a:lnTo>
                <a:lnTo>
                  <a:pt x="946774" y="0"/>
                </a:lnTo>
                <a:lnTo>
                  <a:pt x="948713" y="0"/>
                </a:lnTo>
                <a:lnTo>
                  <a:pt x="948723" y="0"/>
                </a:lnTo>
                <a:lnTo>
                  <a:pt x="949000" y="0"/>
                </a:lnTo>
                <a:lnTo>
                  <a:pt x="953371" y="0"/>
                </a:lnTo>
                <a:lnTo>
                  <a:pt x="955309" y="0"/>
                </a:lnTo>
                <a:lnTo>
                  <a:pt x="962070" y="0"/>
                </a:lnTo>
                <a:lnTo>
                  <a:pt x="965387" y="0"/>
                </a:lnTo>
                <a:lnTo>
                  <a:pt x="968666" y="0"/>
                </a:lnTo>
                <a:lnTo>
                  <a:pt x="971974" y="0"/>
                </a:lnTo>
                <a:lnTo>
                  <a:pt x="971983" y="0"/>
                </a:lnTo>
                <a:lnTo>
                  <a:pt x="975593" y="0"/>
                </a:lnTo>
                <a:lnTo>
                  <a:pt x="979963" y="0"/>
                </a:lnTo>
                <a:lnTo>
                  <a:pt x="992929" y="0"/>
                </a:lnTo>
                <a:lnTo>
                  <a:pt x="996248" y="0"/>
                </a:lnTo>
                <a:lnTo>
                  <a:pt x="998577" y="0"/>
                </a:lnTo>
                <a:lnTo>
                  <a:pt x="1009594" y="0"/>
                </a:lnTo>
                <a:lnTo>
                  <a:pt x="1009605" y="0"/>
                </a:lnTo>
                <a:lnTo>
                  <a:pt x="1011542" y="0"/>
                </a:lnTo>
                <a:lnTo>
                  <a:pt x="1012912" y="0"/>
                </a:lnTo>
                <a:lnTo>
                  <a:pt x="1015914" y="0"/>
                </a:lnTo>
                <a:lnTo>
                  <a:pt x="1016190" y="0"/>
                </a:lnTo>
                <a:lnTo>
                  <a:pt x="1019508" y="0"/>
                </a:lnTo>
                <a:lnTo>
                  <a:pt x="1028207" y="0"/>
                </a:lnTo>
                <a:lnTo>
                  <a:pt x="1032579" y="0"/>
                </a:lnTo>
                <a:lnTo>
                  <a:pt x="1034803" y="0"/>
                </a:lnTo>
                <a:lnTo>
                  <a:pt x="1039175" y="0"/>
                </a:lnTo>
                <a:lnTo>
                  <a:pt x="1046102" y="0"/>
                </a:lnTo>
                <a:lnTo>
                  <a:pt x="1057129" y="0"/>
                </a:lnTo>
                <a:lnTo>
                  <a:pt x="1059067" y="0"/>
                </a:lnTo>
                <a:lnTo>
                  <a:pt x="1063438" y="0"/>
                </a:lnTo>
                <a:lnTo>
                  <a:pt x="1075732" y="0"/>
                </a:lnTo>
                <a:lnTo>
                  <a:pt x="1075741" y="0"/>
                </a:lnTo>
                <a:lnTo>
                  <a:pt x="1080103" y="0"/>
                </a:lnTo>
                <a:lnTo>
                  <a:pt x="1080114" y="0"/>
                </a:lnTo>
                <a:lnTo>
                  <a:pt x="1082051" y="0"/>
                </a:lnTo>
                <a:lnTo>
                  <a:pt x="1082328" y="0"/>
                </a:lnTo>
                <a:cubicBezTo>
                  <a:pt x="1223131" y="0"/>
                  <a:pt x="1337274" y="114144"/>
                  <a:pt x="1337274" y="254947"/>
                </a:cubicBezTo>
                <a:lnTo>
                  <a:pt x="1337273" y="254947"/>
                </a:lnTo>
                <a:cubicBezTo>
                  <a:pt x="1337273" y="395750"/>
                  <a:pt x="1223130" y="509892"/>
                  <a:pt x="1082328" y="509892"/>
                </a:cubicBezTo>
                <a:lnTo>
                  <a:pt x="1080115" y="509892"/>
                </a:lnTo>
                <a:lnTo>
                  <a:pt x="1080112" y="509892"/>
                </a:lnTo>
                <a:lnTo>
                  <a:pt x="1080103" y="509892"/>
                </a:lnTo>
                <a:lnTo>
                  <a:pt x="1080102" y="509892"/>
                </a:lnTo>
                <a:lnTo>
                  <a:pt x="1075744" y="509892"/>
                </a:lnTo>
                <a:lnTo>
                  <a:pt x="1075740" y="509892"/>
                </a:lnTo>
                <a:lnTo>
                  <a:pt x="1075731" y="509892"/>
                </a:lnTo>
                <a:lnTo>
                  <a:pt x="1057129" y="509892"/>
                </a:lnTo>
                <a:lnTo>
                  <a:pt x="1057128" y="509892"/>
                </a:lnTo>
                <a:lnTo>
                  <a:pt x="1046101" y="509892"/>
                </a:lnTo>
                <a:lnTo>
                  <a:pt x="1039177" y="509892"/>
                </a:lnTo>
                <a:lnTo>
                  <a:pt x="1039174" y="509892"/>
                </a:lnTo>
                <a:lnTo>
                  <a:pt x="1034805" y="509892"/>
                </a:lnTo>
                <a:lnTo>
                  <a:pt x="1034803" y="509892"/>
                </a:lnTo>
                <a:lnTo>
                  <a:pt x="1032580" y="509892"/>
                </a:lnTo>
                <a:lnTo>
                  <a:pt x="1032578" y="509892"/>
                </a:lnTo>
                <a:lnTo>
                  <a:pt x="1028209" y="509892"/>
                </a:lnTo>
                <a:lnTo>
                  <a:pt x="1028206" y="509892"/>
                </a:lnTo>
                <a:lnTo>
                  <a:pt x="1019508" y="509892"/>
                </a:lnTo>
                <a:lnTo>
                  <a:pt x="1019507" y="509892"/>
                </a:lnTo>
                <a:lnTo>
                  <a:pt x="1016190" y="509892"/>
                </a:lnTo>
                <a:lnTo>
                  <a:pt x="1016189" y="509892"/>
                </a:lnTo>
                <a:lnTo>
                  <a:pt x="1012912" y="509892"/>
                </a:lnTo>
                <a:lnTo>
                  <a:pt x="1012911" y="509892"/>
                </a:lnTo>
                <a:lnTo>
                  <a:pt x="1009606" y="509892"/>
                </a:lnTo>
                <a:lnTo>
                  <a:pt x="1009604" y="509892"/>
                </a:lnTo>
                <a:lnTo>
                  <a:pt x="1009594" y="509892"/>
                </a:lnTo>
                <a:lnTo>
                  <a:pt x="1009593" y="509892"/>
                </a:lnTo>
                <a:lnTo>
                  <a:pt x="998578" y="509892"/>
                </a:lnTo>
                <a:lnTo>
                  <a:pt x="998576" y="509892"/>
                </a:lnTo>
                <a:lnTo>
                  <a:pt x="979963" y="509892"/>
                </a:lnTo>
                <a:lnTo>
                  <a:pt x="975592" y="509892"/>
                </a:lnTo>
                <a:lnTo>
                  <a:pt x="971986" y="509892"/>
                </a:lnTo>
                <a:lnTo>
                  <a:pt x="971982" y="509892"/>
                </a:lnTo>
                <a:lnTo>
                  <a:pt x="971973" y="509892"/>
                </a:lnTo>
                <a:lnTo>
                  <a:pt x="968668" y="509892"/>
                </a:lnTo>
                <a:lnTo>
                  <a:pt x="968665" y="509892"/>
                </a:lnTo>
                <a:lnTo>
                  <a:pt x="965388" y="509892"/>
                </a:lnTo>
                <a:lnTo>
                  <a:pt x="965386" y="509892"/>
                </a:lnTo>
                <a:lnTo>
                  <a:pt x="962071" y="509892"/>
                </a:lnTo>
                <a:lnTo>
                  <a:pt x="962069" y="509892"/>
                </a:lnTo>
                <a:lnTo>
                  <a:pt x="953371" y="509892"/>
                </a:lnTo>
                <a:lnTo>
                  <a:pt x="953370" y="509892"/>
                </a:lnTo>
                <a:lnTo>
                  <a:pt x="949000" y="509892"/>
                </a:lnTo>
                <a:lnTo>
                  <a:pt x="948999" y="509892"/>
                </a:lnTo>
                <a:lnTo>
                  <a:pt x="946774" y="509892"/>
                </a:lnTo>
                <a:lnTo>
                  <a:pt x="946773" y="509892"/>
                </a:lnTo>
                <a:lnTo>
                  <a:pt x="942404" y="509892"/>
                </a:lnTo>
                <a:lnTo>
                  <a:pt x="942402" y="509892"/>
                </a:lnTo>
                <a:lnTo>
                  <a:pt x="932441" y="509892"/>
                </a:lnTo>
                <a:lnTo>
                  <a:pt x="932439" y="509892"/>
                </a:lnTo>
                <a:lnTo>
                  <a:pt x="928069" y="509892"/>
                </a:lnTo>
                <a:lnTo>
                  <a:pt x="928067" y="509892"/>
                </a:lnTo>
                <a:lnTo>
                  <a:pt x="924451" y="509892"/>
                </a:lnTo>
                <a:lnTo>
                  <a:pt x="924448" y="509892"/>
                </a:lnTo>
                <a:lnTo>
                  <a:pt x="916555" y="509892"/>
                </a:lnTo>
                <a:lnTo>
                  <a:pt x="914342" y="509892"/>
                </a:lnTo>
                <a:lnTo>
                  <a:pt x="914339" y="509892"/>
                </a:lnTo>
                <a:lnTo>
                  <a:pt x="914330" y="509892"/>
                </a:lnTo>
                <a:lnTo>
                  <a:pt x="914329" y="509892"/>
                </a:lnTo>
                <a:lnTo>
                  <a:pt x="912772" y="509892"/>
                </a:lnTo>
                <a:lnTo>
                  <a:pt x="909971" y="509892"/>
                </a:lnTo>
                <a:lnTo>
                  <a:pt x="909967" y="509892"/>
                </a:lnTo>
                <a:lnTo>
                  <a:pt x="909958" y="509892"/>
                </a:lnTo>
                <a:lnTo>
                  <a:pt x="909454" y="509892"/>
                </a:lnTo>
                <a:lnTo>
                  <a:pt x="905848" y="509892"/>
                </a:lnTo>
                <a:lnTo>
                  <a:pt x="905846" y="509892"/>
                </a:lnTo>
                <a:lnTo>
                  <a:pt x="905836" y="509892"/>
                </a:lnTo>
                <a:lnTo>
                  <a:pt x="905835" y="509892"/>
                </a:lnTo>
                <a:lnTo>
                  <a:pt x="901477" y="509892"/>
                </a:lnTo>
                <a:lnTo>
                  <a:pt x="901474" y="509892"/>
                </a:lnTo>
                <a:lnTo>
                  <a:pt x="901464" y="509892"/>
                </a:lnTo>
                <a:lnTo>
                  <a:pt x="899251" y="509892"/>
                </a:lnTo>
                <a:lnTo>
                  <a:pt x="899249" y="509892"/>
                </a:lnTo>
                <a:lnTo>
                  <a:pt x="894880" y="509892"/>
                </a:lnTo>
                <a:lnTo>
                  <a:pt x="894877" y="509892"/>
                </a:lnTo>
                <a:lnTo>
                  <a:pt x="891356" y="509892"/>
                </a:lnTo>
                <a:lnTo>
                  <a:pt x="891355" y="509892"/>
                </a:lnTo>
                <a:lnTo>
                  <a:pt x="882862" y="509892"/>
                </a:lnTo>
                <a:lnTo>
                  <a:pt x="882861" y="509892"/>
                </a:lnTo>
                <a:lnTo>
                  <a:pt x="880328" y="509892"/>
                </a:lnTo>
                <a:lnTo>
                  <a:pt x="876266" y="509892"/>
                </a:lnTo>
                <a:lnTo>
                  <a:pt x="876265" y="509892"/>
                </a:lnTo>
                <a:lnTo>
                  <a:pt x="873404" y="509892"/>
                </a:lnTo>
                <a:lnTo>
                  <a:pt x="873401" y="509892"/>
                </a:lnTo>
                <a:lnTo>
                  <a:pt x="871834" y="509892"/>
                </a:lnTo>
                <a:lnTo>
                  <a:pt x="869032" y="509892"/>
                </a:lnTo>
                <a:lnTo>
                  <a:pt x="869030" y="509892"/>
                </a:lnTo>
                <a:lnTo>
                  <a:pt x="866807" y="509892"/>
                </a:lnTo>
                <a:lnTo>
                  <a:pt x="866805" y="509892"/>
                </a:lnTo>
                <a:lnTo>
                  <a:pt x="865250" y="509892"/>
                </a:lnTo>
                <a:lnTo>
                  <a:pt x="865247" y="509892"/>
                </a:lnTo>
                <a:lnTo>
                  <a:pt x="865237" y="509892"/>
                </a:lnTo>
                <a:lnTo>
                  <a:pt x="862436" y="509892"/>
                </a:lnTo>
                <a:lnTo>
                  <a:pt x="862433" y="509892"/>
                </a:lnTo>
                <a:lnTo>
                  <a:pt x="861932" y="509892"/>
                </a:lnTo>
                <a:lnTo>
                  <a:pt x="861930" y="509892"/>
                </a:lnTo>
                <a:lnTo>
                  <a:pt x="858313" y="509892"/>
                </a:lnTo>
                <a:lnTo>
                  <a:pt x="858311" y="509892"/>
                </a:lnTo>
                <a:lnTo>
                  <a:pt x="853942" y="509892"/>
                </a:lnTo>
                <a:lnTo>
                  <a:pt x="853939" y="509892"/>
                </a:lnTo>
                <a:lnTo>
                  <a:pt x="853735" y="509892"/>
                </a:lnTo>
                <a:lnTo>
                  <a:pt x="853734" y="509892"/>
                </a:lnTo>
                <a:lnTo>
                  <a:pt x="850417" y="509892"/>
                </a:lnTo>
                <a:lnTo>
                  <a:pt x="850416" y="509892"/>
                </a:lnTo>
                <a:lnTo>
                  <a:pt x="847139" y="509892"/>
                </a:lnTo>
                <a:lnTo>
                  <a:pt x="847138" y="509892"/>
                </a:lnTo>
                <a:lnTo>
                  <a:pt x="846635" y="509892"/>
                </a:lnTo>
                <a:lnTo>
                  <a:pt x="846634" y="509892"/>
                </a:lnTo>
                <a:lnTo>
                  <a:pt x="843833" y="509892"/>
                </a:lnTo>
                <a:lnTo>
                  <a:pt x="843831" y="509892"/>
                </a:lnTo>
                <a:lnTo>
                  <a:pt x="843821" y="509892"/>
                </a:lnTo>
                <a:lnTo>
                  <a:pt x="843820" y="509892"/>
                </a:lnTo>
                <a:lnTo>
                  <a:pt x="842264" y="509892"/>
                </a:lnTo>
                <a:lnTo>
                  <a:pt x="838645" y="509892"/>
                </a:lnTo>
                <a:lnTo>
                  <a:pt x="838644" y="509892"/>
                </a:lnTo>
                <a:lnTo>
                  <a:pt x="835339" y="509892"/>
                </a:lnTo>
                <a:lnTo>
                  <a:pt x="835337" y="509892"/>
                </a:lnTo>
                <a:lnTo>
                  <a:pt x="835327" y="509892"/>
                </a:lnTo>
                <a:lnTo>
                  <a:pt x="835326" y="509892"/>
                </a:lnTo>
                <a:lnTo>
                  <a:pt x="832805" y="509892"/>
                </a:lnTo>
                <a:lnTo>
                  <a:pt x="832803" y="509892"/>
                </a:lnTo>
                <a:lnTo>
                  <a:pt x="828742" y="509892"/>
                </a:lnTo>
                <a:lnTo>
                  <a:pt x="828741" y="509892"/>
                </a:lnTo>
                <a:lnTo>
                  <a:pt x="824311" y="509892"/>
                </a:lnTo>
                <a:lnTo>
                  <a:pt x="824309" y="509892"/>
                </a:lnTo>
                <a:lnTo>
                  <a:pt x="817715" y="509892"/>
                </a:lnTo>
                <a:lnTo>
                  <a:pt x="817712" y="509892"/>
                </a:lnTo>
                <a:lnTo>
                  <a:pt x="814190" y="509892"/>
                </a:lnTo>
                <a:lnTo>
                  <a:pt x="809819" y="509892"/>
                </a:lnTo>
                <a:lnTo>
                  <a:pt x="806213" y="509892"/>
                </a:lnTo>
                <a:lnTo>
                  <a:pt x="806209" y="509892"/>
                </a:lnTo>
                <a:lnTo>
                  <a:pt x="806200" y="509892"/>
                </a:lnTo>
                <a:lnTo>
                  <a:pt x="805696" y="509892"/>
                </a:lnTo>
                <a:lnTo>
                  <a:pt x="802895" y="509892"/>
                </a:lnTo>
                <a:lnTo>
                  <a:pt x="802892" y="509892"/>
                </a:lnTo>
                <a:lnTo>
                  <a:pt x="801325" y="509892"/>
                </a:lnTo>
                <a:lnTo>
                  <a:pt x="799615" y="509892"/>
                </a:lnTo>
                <a:lnTo>
                  <a:pt x="799613" y="509892"/>
                </a:lnTo>
                <a:lnTo>
                  <a:pt x="799112" y="509892"/>
                </a:lnTo>
                <a:lnTo>
                  <a:pt x="799110" y="509892"/>
                </a:lnTo>
                <a:lnTo>
                  <a:pt x="799100" y="509892"/>
                </a:lnTo>
                <a:lnTo>
                  <a:pt x="799099" y="509892"/>
                </a:lnTo>
                <a:lnTo>
                  <a:pt x="796298" y="509892"/>
                </a:lnTo>
                <a:lnTo>
                  <a:pt x="796296" y="509892"/>
                </a:lnTo>
                <a:lnTo>
                  <a:pt x="794741" y="509892"/>
                </a:lnTo>
                <a:lnTo>
                  <a:pt x="794739" y="509892"/>
                </a:lnTo>
                <a:lnTo>
                  <a:pt x="794728" y="509892"/>
                </a:lnTo>
                <a:lnTo>
                  <a:pt x="791122" y="509892"/>
                </a:lnTo>
                <a:lnTo>
                  <a:pt x="791119" y="509892"/>
                </a:lnTo>
                <a:lnTo>
                  <a:pt x="787804" y="509892"/>
                </a:lnTo>
                <a:lnTo>
                  <a:pt x="787802" y="509892"/>
                </a:lnTo>
                <a:lnTo>
                  <a:pt x="787598" y="509892"/>
                </a:lnTo>
                <a:lnTo>
                  <a:pt x="787597" y="509892"/>
                </a:lnTo>
                <a:lnTo>
                  <a:pt x="783227" y="509892"/>
                </a:lnTo>
                <a:lnTo>
                  <a:pt x="783226" y="509892"/>
                </a:lnTo>
                <a:lnTo>
                  <a:pt x="781001" y="509892"/>
                </a:lnTo>
                <a:lnTo>
                  <a:pt x="781000" y="509892"/>
                </a:lnTo>
                <a:lnTo>
                  <a:pt x="776631" y="509892"/>
                </a:lnTo>
                <a:lnTo>
                  <a:pt x="776629" y="509892"/>
                </a:lnTo>
                <a:lnTo>
                  <a:pt x="776126" y="509892"/>
                </a:lnTo>
                <a:lnTo>
                  <a:pt x="776125" y="509892"/>
                </a:lnTo>
                <a:lnTo>
                  <a:pt x="772508" y="509892"/>
                </a:lnTo>
                <a:lnTo>
                  <a:pt x="772507" y="509892"/>
                </a:lnTo>
                <a:lnTo>
                  <a:pt x="768137" y="509892"/>
                </a:lnTo>
                <a:lnTo>
                  <a:pt x="768136" y="509892"/>
                </a:lnTo>
                <a:lnTo>
                  <a:pt x="766668" y="509892"/>
                </a:lnTo>
                <a:lnTo>
                  <a:pt x="766666" y="509892"/>
                </a:lnTo>
                <a:lnTo>
                  <a:pt x="762296" y="509892"/>
                </a:lnTo>
                <a:lnTo>
                  <a:pt x="762294" y="509892"/>
                </a:lnTo>
                <a:lnTo>
                  <a:pt x="758678" y="509892"/>
                </a:lnTo>
                <a:lnTo>
                  <a:pt x="758675" y="509892"/>
                </a:lnTo>
                <a:lnTo>
                  <a:pt x="758174" y="509892"/>
                </a:lnTo>
                <a:lnTo>
                  <a:pt x="758172" y="509892"/>
                </a:lnTo>
                <a:lnTo>
                  <a:pt x="753802" y="509892"/>
                </a:lnTo>
                <a:lnTo>
                  <a:pt x="753800" y="509892"/>
                </a:lnTo>
                <a:lnTo>
                  <a:pt x="751578" y="509892"/>
                </a:lnTo>
                <a:lnTo>
                  <a:pt x="751575" y="509892"/>
                </a:lnTo>
                <a:lnTo>
                  <a:pt x="747206" y="509892"/>
                </a:lnTo>
                <a:lnTo>
                  <a:pt x="747203" y="509892"/>
                </a:lnTo>
                <a:lnTo>
                  <a:pt x="746999" y="509892"/>
                </a:lnTo>
                <a:lnTo>
                  <a:pt x="743681" y="509892"/>
                </a:lnTo>
                <a:lnTo>
                  <a:pt x="740075" y="509892"/>
                </a:lnTo>
                <a:lnTo>
                  <a:pt x="740073" y="509892"/>
                </a:lnTo>
                <a:lnTo>
                  <a:pt x="740063" y="509892"/>
                </a:lnTo>
                <a:lnTo>
                  <a:pt x="740062" y="509892"/>
                </a:lnTo>
                <a:lnTo>
                  <a:pt x="738506" y="509892"/>
                </a:lnTo>
                <a:lnTo>
                  <a:pt x="735704" y="509892"/>
                </a:lnTo>
                <a:lnTo>
                  <a:pt x="735701" y="509892"/>
                </a:lnTo>
                <a:lnTo>
                  <a:pt x="735691" y="509892"/>
                </a:lnTo>
                <a:lnTo>
                  <a:pt x="735187" y="509892"/>
                </a:lnTo>
                <a:lnTo>
                  <a:pt x="733478" y="509892"/>
                </a:lnTo>
                <a:lnTo>
                  <a:pt x="733476" y="509892"/>
                </a:lnTo>
                <a:lnTo>
                  <a:pt x="731909" y="509892"/>
                </a:lnTo>
                <a:lnTo>
                  <a:pt x="731908" y="509892"/>
                </a:lnTo>
                <a:lnTo>
                  <a:pt x="729107" y="509892"/>
                </a:lnTo>
                <a:lnTo>
                  <a:pt x="729104" y="509892"/>
                </a:lnTo>
                <a:lnTo>
                  <a:pt x="728603" y="509892"/>
                </a:lnTo>
                <a:lnTo>
                  <a:pt x="728601" y="509892"/>
                </a:lnTo>
                <a:lnTo>
                  <a:pt x="728591" y="509892"/>
                </a:lnTo>
                <a:lnTo>
                  <a:pt x="728590" y="509892"/>
                </a:lnTo>
                <a:lnTo>
                  <a:pt x="724984" y="509892"/>
                </a:lnTo>
                <a:lnTo>
                  <a:pt x="724983" y="509892"/>
                </a:lnTo>
                <a:lnTo>
                  <a:pt x="720613" y="509892"/>
                </a:lnTo>
                <a:lnTo>
                  <a:pt x="720611" y="509892"/>
                </a:lnTo>
                <a:lnTo>
                  <a:pt x="717089" y="509892"/>
                </a:lnTo>
                <a:lnTo>
                  <a:pt x="717088" y="509892"/>
                </a:lnTo>
                <a:lnTo>
                  <a:pt x="710493" y="509892"/>
                </a:lnTo>
                <a:lnTo>
                  <a:pt x="710492" y="509892"/>
                </a:lnTo>
                <a:lnTo>
                  <a:pt x="706061" y="509892"/>
                </a:lnTo>
                <a:lnTo>
                  <a:pt x="701999" y="509892"/>
                </a:lnTo>
                <a:lnTo>
                  <a:pt x="701998" y="509892"/>
                </a:lnTo>
                <a:lnTo>
                  <a:pt x="699477" y="509892"/>
                </a:lnTo>
                <a:lnTo>
                  <a:pt x="699474" y="509892"/>
                </a:lnTo>
                <a:lnTo>
                  <a:pt x="699464" y="509892"/>
                </a:lnTo>
                <a:lnTo>
                  <a:pt x="696159" y="509892"/>
                </a:lnTo>
                <a:lnTo>
                  <a:pt x="696157" y="509892"/>
                </a:lnTo>
                <a:lnTo>
                  <a:pt x="692540" y="509892"/>
                </a:lnTo>
                <a:lnTo>
                  <a:pt x="692538" y="509892"/>
                </a:lnTo>
                <a:lnTo>
                  <a:pt x="690983" y="509892"/>
                </a:lnTo>
                <a:lnTo>
                  <a:pt x="690981" y="509892"/>
                </a:lnTo>
                <a:lnTo>
                  <a:pt x="690970" y="509892"/>
                </a:lnTo>
                <a:lnTo>
                  <a:pt x="688169" y="509892"/>
                </a:lnTo>
                <a:lnTo>
                  <a:pt x="688166" y="509892"/>
                </a:lnTo>
                <a:lnTo>
                  <a:pt x="687666" y="509892"/>
                </a:lnTo>
                <a:lnTo>
                  <a:pt x="687663" y="509892"/>
                </a:lnTo>
                <a:lnTo>
                  <a:pt x="684387" y="509892"/>
                </a:lnTo>
                <a:lnTo>
                  <a:pt x="684383" y="509892"/>
                </a:lnTo>
                <a:lnTo>
                  <a:pt x="681069" y="509892"/>
                </a:lnTo>
                <a:lnTo>
                  <a:pt x="681066" y="509892"/>
                </a:lnTo>
                <a:lnTo>
                  <a:pt x="680862" y="509892"/>
                </a:lnTo>
                <a:lnTo>
                  <a:pt x="680861" y="509892"/>
                </a:lnTo>
                <a:lnTo>
                  <a:pt x="676491" y="509892"/>
                </a:lnTo>
                <a:lnTo>
                  <a:pt x="672872" y="509892"/>
                </a:lnTo>
                <a:lnTo>
                  <a:pt x="672871" y="509892"/>
                </a:lnTo>
                <a:lnTo>
                  <a:pt x="672368" y="509892"/>
                </a:lnTo>
                <a:lnTo>
                  <a:pt x="672367" y="509892"/>
                </a:lnTo>
                <a:lnTo>
                  <a:pt x="669566" y="509892"/>
                </a:lnTo>
                <a:lnTo>
                  <a:pt x="669564" y="509892"/>
                </a:lnTo>
                <a:lnTo>
                  <a:pt x="669554" y="509892"/>
                </a:lnTo>
                <a:lnTo>
                  <a:pt x="669553" y="509892"/>
                </a:lnTo>
                <a:lnTo>
                  <a:pt x="667997" y="509892"/>
                </a:lnTo>
                <a:lnTo>
                  <a:pt x="665772" y="509892"/>
                </a:lnTo>
                <a:lnTo>
                  <a:pt x="665771" y="509892"/>
                </a:lnTo>
                <a:lnTo>
                  <a:pt x="662969" y="509892"/>
                </a:lnTo>
                <a:lnTo>
                  <a:pt x="662968" y="509892"/>
                </a:lnTo>
                <a:lnTo>
                  <a:pt x="661401" y="509892"/>
                </a:lnTo>
                <a:lnTo>
                  <a:pt x="661400" y="509892"/>
                </a:lnTo>
                <a:lnTo>
                  <a:pt x="658538" y="509892"/>
                </a:lnTo>
                <a:lnTo>
                  <a:pt x="658536" y="509892"/>
                </a:lnTo>
                <a:lnTo>
                  <a:pt x="654475" y="509892"/>
                </a:lnTo>
                <a:lnTo>
                  <a:pt x="654474" y="509892"/>
                </a:lnTo>
                <a:lnTo>
                  <a:pt x="651942" y="509892"/>
                </a:lnTo>
                <a:lnTo>
                  <a:pt x="651939" y="509892"/>
                </a:lnTo>
                <a:lnTo>
                  <a:pt x="643448" y="509892"/>
                </a:lnTo>
                <a:lnTo>
                  <a:pt x="643445" y="509892"/>
                </a:lnTo>
                <a:lnTo>
                  <a:pt x="639923" y="509892"/>
                </a:lnTo>
                <a:lnTo>
                  <a:pt x="635552" y="509892"/>
                </a:lnTo>
                <a:lnTo>
                  <a:pt x="633339" y="509892"/>
                </a:lnTo>
                <a:lnTo>
                  <a:pt x="633337" y="509892"/>
                </a:lnTo>
                <a:lnTo>
                  <a:pt x="633327" y="509892"/>
                </a:lnTo>
                <a:lnTo>
                  <a:pt x="633326" y="509892"/>
                </a:lnTo>
                <a:lnTo>
                  <a:pt x="628968" y="509892"/>
                </a:lnTo>
                <a:lnTo>
                  <a:pt x="628966" y="509892"/>
                </a:lnTo>
                <a:lnTo>
                  <a:pt x="628955" y="509892"/>
                </a:lnTo>
                <a:lnTo>
                  <a:pt x="625349" y="509892"/>
                </a:lnTo>
                <a:lnTo>
                  <a:pt x="625346" y="509892"/>
                </a:lnTo>
                <a:lnTo>
                  <a:pt x="624845" y="509892"/>
                </a:lnTo>
                <a:lnTo>
                  <a:pt x="624843" y="509892"/>
                </a:lnTo>
                <a:lnTo>
                  <a:pt x="624833" y="509892"/>
                </a:lnTo>
                <a:lnTo>
                  <a:pt x="624832" y="509892"/>
                </a:lnTo>
                <a:lnTo>
                  <a:pt x="622031" y="509892"/>
                </a:lnTo>
                <a:lnTo>
                  <a:pt x="622029" y="509892"/>
                </a:lnTo>
                <a:lnTo>
                  <a:pt x="620474" y="509892"/>
                </a:lnTo>
                <a:lnTo>
                  <a:pt x="620472" y="509892"/>
                </a:lnTo>
                <a:lnTo>
                  <a:pt x="620461" y="509892"/>
                </a:lnTo>
                <a:lnTo>
                  <a:pt x="618249" y="509892"/>
                </a:lnTo>
                <a:lnTo>
                  <a:pt x="618247" y="509892"/>
                </a:lnTo>
                <a:lnTo>
                  <a:pt x="610353" y="509892"/>
                </a:lnTo>
                <a:lnTo>
                  <a:pt x="610352" y="509892"/>
                </a:lnTo>
                <a:lnTo>
                  <a:pt x="606735" y="509892"/>
                </a:lnTo>
                <a:lnTo>
                  <a:pt x="606734" y="509892"/>
                </a:lnTo>
                <a:lnTo>
                  <a:pt x="602364" y="509892"/>
                </a:lnTo>
                <a:lnTo>
                  <a:pt x="602363" y="509892"/>
                </a:lnTo>
                <a:lnTo>
                  <a:pt x="592401" y="509892"/>
                </a:lnTo>
                <a:lnTo>
                  <a:pt x="592399" y="509892"/>
                </a:lnTo>
                <a:lnTo>
                  <a:pt x="588029" y="509892"/>
                </a:lnTo>
                <a:lnTo>
                  <a:pt x="588027" y="509892"/>
                </a:lnTo>
                <a:lnTo>
                  <a:pt x="585805" y="509892"/>
                </a:lnTo>
                <a:lnTo>
                  <a:pt x="585802" y="509892"/>
                </a:lnTo>
                <a:lnTo>
                  <a:pt x="581433" y="509892"/>
                </a:lnTo>
                <a:lnTo>
                  <a:pt x="581430" y="509892"/>
                </a:lnTo>
                <a:lnTo>
                  <a:pt x="572733" y="509892"/>
                </a:lnTo>
                <a:lnTo>
                  <a:pt x="569414" y="509892"/>
                </a:lnTo>
                <a:lnTo>
                  <a:pt x="566136" y="509892"/>
                </a:lnTo>
                <a:lnTo>
                  <a:pt x="566135" y="509892"/>
                </a:lnTo>
                <a:lnTo>
                  <a:pt x="562830" y="509892"/>
                </a:lnTo>
                <a:lnTo>
                  <a:pt x="562828" y="509892"/>
                </a:lnTo>
                <a:lnTo>
                  <a:pt x="562818" y="509892"/>
                </a:lnTo>
                <a:lnTo>
                  <a:pt x="562817" y="509892"/>
                </a:lnTo>
                <a:lnTo>
                  <a:pt x="559211" y="509892"/>
                </a:lnTo>
                <a:lnTo>
                  <a:pt x="559210" y="509892"/>
                </a:lnTo>
                <a:lnTo>
                  <a:pt x="554840" y="509892"/>
                </a:lnTo>
                <a:lnTo>
                  <a:pt x="554838" y="509892"/>
                </a:lnTo>
                <a:lnTo>
                  <a:pt x="536226" y="509892"/>
                </a:lnTo>
                <a:lnTo>
                  <a:pt x="536225" y="509892"/>
                </a:lnTo>
                <a:lnTo>
                  <a:pt x="525210" y="509892"/>
                </a:lnTo>
                <a:lnTo>
                  <a:pt x="525208" y="509892"/>
                </a:lnTo>
                <a:lnTo>
                  <a:pt x="525197" y="509892"/>
                </a:lnTo>
                <a:lnTo>
                  <a:pt x="521893" y="509892"/>
                </a:lnTo>
                <a:lnTo>
                  <a:pt x="521890" y="509892"/>
                </a:lnTo>
                <a:lnTo>
                  <a:pt x="518614" y="509892"/>
                </a:lnTo>
                <a:lnTo>
                  <a:pt x="518610" y="509892"/>
                </a:lnTo>
                <a:lnTo>
                  <a:pt x="515296" y="509892"/>
                </a:lnTo>
                <a:lnTo>
                  <a:pt x="515293" y="509892"/>
                </a:lnTo>
                <a:lnTo>
                  <a:pt x="506595" y="509892"/>
                </a:lnTo>
                <a:lnTo>
                  <a:pt x="506594" y="509892"/>
                </a:lnTo>
                <a:lnTo>
                  <a:pt x="502224" y="509892"/>
                </a:lnTo>
                <a:lnTo>
                  <a:pt x="499999" y="509892"/>
                </a:lnTo>
                <a:lnTo>
                  <a:pt x="499998" y="509892"/>
                </a:lnTo>
                <a:lnTo>
                  <a:pt x="495628" y="509892"/>
                </a:lnTo>
                <a:lnTo>
                  <a:pt x="495627" y="509892"/>
                </a:lnTo>
                <a:lnTo>
                  <a:pt x="488702" y="509892"/>
                </a:lnTo>
                <a:lnTo>
                  <a:pt x="488701" y="509892"/>
                </a:lnTo>
                <a:lnTo>
                  <a:pt x="477675" y="509892"/>
                </a:lnTo>
                <a:lnTo>
                  <a:pt x="477672" y="509892"/>
                </a:lnTo>
                <a:lnTo>
                  <a:pt x="459072" y="509892"/>
                </a:lnTo>
                <a:lnTo>
                  <a:pt x="459070" y="509892"/>
                </a:lnTo>
                <a:lnTo>
                  <a:pt x="459060" y="509892"/>
                </a:lnTo>
                <a:lnTo>
                  <a:pt x="459059" y="509892"/>
                </a:lnTo>
                <a:lnTo>
                  <a:pt x="454701" y="509892"/>
                </a:lnTo>
                <a:lnTo>
                  <a:pt x="454699" y="509892"/>
                </a:lnTo>
                <a:lnTo>
                  <a:pt x="454688" y="509892"/>
                </a:lnTo>
                <a:lnTo>
                  <a:pt x="452476" y="509892"/>
                </a:lnTo>
                <a:lnTo>
                  <a:pt x="452474" y="509892"/>
                </a:lnTo>
                <a:lnTo>
                  <a:pt x="254947" y="509891"/>
                </a:lnTo>
                <a:cubicBezTo>
                  <a:pt x="131743" y="509891"/>
                  <a:pt x="28953" y="422501"/>
                  <a:pt x="5179" y="306326"/>
                </a:cubicBezTo>
                <a:lnTo>
                  <a:pt x="0" y="254947"/>
                </a:lnTo>
                <a:lnTo>
                  <a:pt x="5179" y="203566"/>
                </a:lnTo>
                <a:cubicBezTo>
                  <a:pt x="28953" y="87392"/>
                  <a:pt x="131743" y="0"/>
                  <a:pt x="254947" y="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68" name="Picture 70" descr="https://webpulse.imgsmail.ru/imgpreview?mb=webpulse&amp;key=pulse_cabinet-image-93d42a6e-8c73-4bd0-9d92-b85a1a97a76b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46" b="24448"/>
          <a:stretch/>
        </p:blipFill>
        <p:spPr bwMode="auto">
          <a:xfrm>
            <a:off x="7071212" y="3502514"/>
            <a:ext cx="1019674" cy="353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Рисунок 68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323" b="37323"/>
          <a:stretch/>
        </p:blipFill>
        <p:spPr>
          <a:xfrm>
            <a:off x="7172668" y="3074299"/>
            <a:ext cx="1011102" cy="256357"/>
          </a:xfrm>
          <a:prstGeom prst="rect">
            <a:avLst/>
          </a:prstGeom>
        </p:spPr>
      </p:pic>
      <p:pic>
        <p:nvPicPr>
          <p:cNvPr id="62466" name="Picture 2" descr="http://qrcoder.ru/code/?https%3A%2F%2F%EC%F1%EF.%F0%F4%2Fservices%2Fdevelopment%2Fpromo%2Fprod&amp;4&amp;0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3339" y="5963051"/>
            <a:ext cx="770835" cy="770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Рисунок 69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349454"/>
            <a:ext cx="604745" cy="322513"/>
          </a:xfrm>
          <a:prstGeom prst="rect">
            <a:avLst/>
          </a:prstGeom>
        </p:spPr>
      </p:pic>
      <p:pic>
        <p:nvPicPr>
          <p:cNvPr id="74" name="Рисунок 73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354960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115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3522" y="0"/>
            <a:ext cx="556629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0946796" y="6446612"/>
            <a:ext cx="6882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4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9176004" y="1813684"/>
            <a:ext cx="2609510" cy="9156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откроются </a:t>
            </a:r>
            <a:r>
              <a:rPr lang="ru-RU" sz="1400" b="1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/>
            </a:r>
            <a:br>
              <a:rPr lang="ru-RU" sz="1400" b="1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b="1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в ближайшее время</a:t>
            </a:r>
          </a:p>
          <a:p>
            <a:r>
              <a:rPr lang="ru-RU" sz="105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ЯНАО, ХМАО, </a:t>
            </a:r>
            <a:r>
              <a:rPr lang="ru-RU" sz="105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остовская</a:t>
            </a:r>
            <a:r>
              <a:rPr lang="ru-RU" sz="105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05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105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мская </a:t>
            </a:r>
            <a:r>
              <a:rPr lang="ru-RU" sz="105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050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ласти, Алтайский край, Республики Татарстан и </a:t>
            </a:r>
            <a:r>
              <a:rPr lang="ru-RU" sz="105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урятия</a:t>
            </a:r>
            <a:endParaRPr lang="ru-RU" sz="1050" dirty="0">
              <a:solidFill>
                <a:schemeClr val="tx1">
                  <a:lumMod val="50000"/>
                  <a:lumOff val="50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5868557" y="1312526"/>
            <a:ext cx="96672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1</a:t>
            </a:r>
            <a:endParaRPr lang="ru-RU" sz="36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9176004" y="1312526"/>
            <a:ext cx="72630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8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325454" y="5562293"/>
            <a:ext cx="246954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84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9558368" y="3603337"/>
            <a:ext cx="18623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«магазин в магазине» площадью 20-30 </a:t>
            </a:r>
            <a:r>
              <a:rPr lang="ru-RU" sz="1400" spc="7" dirty="0" err="1">
                <a:latin typeface="Segoe UI Semibold" panose="020B0702040204020203" pitchFamily="34" charset="0"/>
                <a:cs typeface="Segoe UI Semibold" panose="020B0702040204020203" pitchFamily="34" charset="0"/>
              </a:rPr>
              <a:t>кв.м</a:t>
            </a: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558368" y="5327840"/>
            <a:ext cx="256009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партнеры – торговая сеть «Пятерочка</a:t>
            </a:r>
            <a:r>
              <a:rPr lang="ru-RU" sz="14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», «</a:t>
            </a: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Перекресток»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9558368" y="4516199"/>
            <a:ext cx="222714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островок объединяет в среднем 10-25 фермеров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5842130" y="3577126"/>
            <a:ext cx="2485301" cy="2416046"/>
          </a:xfrm>
          <a:prstGeom prst="rect">
            <a:avLst/>
          </a:prstGeom>
        </p:spPr>
        <p:txBody>
          <a:bodyPr wrap="square" lIns="0" tIns="0" rIns="0" bIns="0" numCol="1" spcCol="180000">
            <a:spAutoFit/>
          </a:bodyPr>
          <a:lstStyle/>
          <a:p>
            <a:pPr marL="180975" indent="-180975">
              <a:spcAft>
                <a:spcPts val="1000"/>
              </a:spcAft>
              <a:buClr>
                <a:srgbClr val="84E0F7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«Проходимые» локации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/>
            </a:r>
            <a:b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с </a:t>
            </a: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остаточным уровнем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среднего чека</a:t>
            </a:r>
            <a:endParaRPr lang="en-US" sz="1200" spc="7" dirty="0" smtClean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180975" indent="-180975">
              <a:spcAft>
                <a:spcPts val="1000"/>
              </a:spcAft>
              <a:buClr>
                <a:srgbClr val="84E0F7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Специальные условия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аренды</a:t>
            </a:r>
          </a:p>
          <a:p>
            <a:pPr marL="180975" indent="-180975">
              <a:spcAft>
                <a:spcPts val="1000"/>
              </a:spcAft>
              <a:buClr>
                <a:srgbClr val="84E0F7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Кредитование в МСП Банке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по </a:t>
            </a: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льготной ставке без залога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</a:t>
            </a: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3 года на оборудование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и </a:t>
            </a: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оборотные средства </a:t>
            </a:r>
          </a:p>
          <a:p>
            <a:pPr marL="180975" indent="-180975">
              <a:spcAft>
                <a:spcPts val="1000"/>
              </a:spcAft>
              <a:buClr>
                <a:srgbClr val="84E0F7"/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Дизайнерское </a:t>
            </a: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решение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для </a:t>
            </a:r>
            <a:r>
              <a:rPr lang="ru-RU" sz="12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сокращения расходов </a:t>
            </a:r>
            <a:r>
              <a:rPr lang="ru-RU" sz="12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застройку</a:t>
            </a:r>
            <a:endParaRPr lang="ru-RU" sz="1200" spc="7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5836515" y="3378410"/>
            <a:ext cx="5575354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Рисунок 3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6441" y="2557595"/>
            <a:ext cx="2084503" cy="1581190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490" y="763846"/>
            <a:ext cx="2102866" cy="1672986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77"/>
          <a:stretch/>
        </p:blipFill>
        <p:spPr>
          <a:xfrm>
            <a:off x="399233" y="2557595"/>
            <a:ext cx="2102866" cy="1568469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4" r="3242"/>
          <a:stretch/>
        </p:blipFill>
        <p:spPr>
          <a:xfrm>
            <a:off x="2690078" y="749520"/>
            <a:ext cx="2072358" cy="1687312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474" y="6051996"/>
            <a:ext cx="2074411" cy="625435"/>
          </a:xfrm>
          <a:prstGeom prst="rect">
            <a:avLst/>
          </a:prstGeom>
        </p:spPr>
      </p:pic>
      <p:sp>
        <p:nvSpPr>
          <p:cNvPr id="41" name="Полилиния 40" descr="Прямоугольник">
            <a:extLst>
              <a:ext uri="{FF2B5EF4-FFF2-40B4-BE49-F238E27FC236}">
                <a16:creationId xmlns:a16="http://schemas.microsoft.com/office/drawing/2014/main" xmlns="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8519545" y="6234467"/>
            <a:ext cx="1009167" cy="262853"/>
          </a:xfrm>
          <a:custGeom>
            <a:avLst/>
            <a:gdLst>
              <a:gd name="connsiteX0" fmla="*/ 211524 w 1658755"/>
              <a:gd name="connsiteY0" fmla="*/ 0 h 432048"/>
              <a:gd name="connsiteX1" fmla="*/ 534967 w 1658755"/>
              <a:gd name="connsiteY1" fmla="*/ 0 h 432048"/>
              <a:gd name="connsiteX2" fmla="*/ 581746 w 1658755"/>
              <a:gd name="connsiteY2" fmla="*/ 0 h 432048"/>
              <a:gd name="connsiteX3" fmla="*/ 780497 w 1658755"/>
              <a:gd name="connsiteY3" fmla="*/ 0 h 432048"/>
              <a:gd name="connsiteX4" fmla="*/ 780539 w 1658755"/>
              <a:gd name="connsiteY4" fmla="*/ 0 h 432048"/>
              <a:gd name="connsiteX5" fmla="*/ 825351 w 1658755"/>
              <a:gd name="connsiteY5" fmla="*/ 0 h 432048"/>
              <a:gd name="connsiteX6" fmla="*/ 833404 w 1658755"/>
              <a:gd name="connsiteY6" fmla="*/ 0 h 432048"/>
              <a:gd name="connsiteX7" fmla="*/ 878216 w 1658755"/>
              <a:gd name="connsiteY7" fmla="*/ 0 h 432048"/>
              <a:gd name="connsiteX8" fmla="*/ 878258 w 1658755"/>
              <a:gd name="connsiteY8" fmla="*/ 0 h 432048"/>
              <a:gd name="connsiteX9" fmla="*/ 1077009 w 1658755"/>
              <a:gd name="connsiteY9" fmla="*/ 0 h 432048"/>
              <a:gd name="connsiteX10" fmla="*/ 1123789 w 1658755"/>
              <a:gd name="connsiteY10" fmla="*/ 0 h 432048"/>
              <a:gd name="connsiteX11" fmla="*/ 1447231 w 1658755"/>
              <a:gd name="connsiteY11" fmla="*/ 0 h 432048"/>
              <a:gd name="connsiteX12" fmla="*/ 1658755 w 1658755"/>
              <a:gd name="connsiteY12" fmla="*/ 216024 h 432048"/>
              <a:gd name="connsiteX13" fmla="*/ 1658753 w 1658755"/>
              <a:gd name="connsiteY13" fmla="*/ 216024 h 432048"/>
              <a:gd name="connsiteX14" fmla="*/ 1447229 w 1658755"/>
              <a:gd name="connsiteY14" fmla="*/ 432048 h 432048"/>
              <a:gd name="connsiteX15" fmla="*/ 825359 w 1658755"/>
              <a:gd name="connsiteY15" fmla="*/ 432046 h 432048"/>
              <a:gd name="connsiteX16" fmla="*/ 825352 w 1658755"/>
              <a:gd name="connsiteY16" fmla="*/ 432048 h 432048"/>
              <a:gd name="connsiteX17" fmla="*/ 211524 w 1658755"/>
              <a:gd name="connsiteY17" fmla="*/ 432046 h 432048"/>
              <a:gd name="connsiteX18" fmla="*/ 16621 w 1658755"/>
              <a:gd name="connsiteY18" fmla="*/ 300110 h 432048"/>
              <a:gd name="connsiteX19" fmla="*/ 0 w 1658755"/>
              <a:gd name="connsiteY19" fmla="*/ 216024 h 432048"/>
              <a:gd name="connsiteX20" fmla="*/ 16621 w 1658755"/>
              <a:gd name="connsiteY20" fmla="*/ 131939 h 432048"/>
              <a:gd name="connsiteX21" fmla="*/ 211524 w 1658755"/>
              <a:gd name="connsiteY21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58755" h="432048">
                <a:moveTo>
                  <a:pt x="211524" y="0"/>
                </a:moveTo>
                <a:lnTo>
                  <a:pt x="534967" y="0"/>
                </a:lnTo>
                <a:lnTo>
                  <a:pt x="581746" y="0"/>
                </a:lnTo>
                <a:lnTo>
                  <a:pt x="780497" y="0"/>
                </a:lnTo>
                <a:lnTo>
                  <a:pt x="780539" y="0"/>
                </a:lnTo>
                <a:lnTo>
                  <a:pt x="825351" y="0"/>
                </a:lnTo>
                <a:lnTo>
                  <a:pt x="833404" y="0"/>
                </a:lnTo>
                <a:lnTo>
                  <a:pt x="878216" y="0"/>
                </a:lnTo>
                <a:lnTo>
                  <a:pt x="878258" y="0"/>
                </a:lnTo>
                <a:lnTo>
                  <a:pt x="1077009" y="0"/>
                </a:lnTo>
                <a:lnTo>
                  <a:pt x="1123789" y="0"/>
                </a:lnTo>
                <a:lnTo>
                  <a:pt x="1447231" y="0"/>
                </a:lnTo>
                <a:cubicBezTo>
                  <a:pt x="1564053" y="0"/>
                  <a:pt x="1658755" y="96717"/>
                  <a:pt x="1658755" y="216024"/>
                </a:cubicBezTo>
                <a:lnTo>
                  <a:pt x="1658753" y="216024"/>
                </a:lnTo>
                <a:cubicBezTo>
                  <a:pt x="1658753" y="335332"/>
                  <a:pt x="1564051" y="432048"/>
                  <a:pt x="1447229" y="432048"/>
                </a:cubicBezTo>
                <a:lnTo>
                  <a:pt x="825359" y="432046"/>
                </a:lnTo>
                <a:lnTo>
                  <a:pt x="825352" y="432048"/>
                </a:lnTo>
                <a:lnTo>
                  <a:pt x="211524" y="432046"/>
                </a:lnTo>
                <a:cubicBezTo>
                  <a:pt x="123907" y="432046"/>
                  <a:pt x="48733" y="377643"/>
                  <a:pt x="16621" y="300110"/>
                </a:cubicBezTo>
                <a:lnTo>
                  <a:pt x="0" y="216024"/>
                </a:lnTo>
                <a:lnTo>
                  <a:pt x="16621" y="131939"/>
                </a:lnTo>
                <a:cubicBezTo>
                  <a:pt x="48733" y="54404"/>
                  <a:pt x="123907" y="0"/>
                  <a:pt x="21152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олучить на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108545" y="5539792"/>
            <a:ext cx="312768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200" spc="7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сельхозтоваропроизводителей являются поставщиками «Фермерских островков»</a:t>
            </a:r>
          </a:p>
        </p:txBody>
      </p:sp>
      <p:grpSp>
        <p:nvGrpSpPr>
          <p:cNvPr id="31" name="Группа 30"/>
          <p:cNvGrpSpPr/>
          <p:nvPr/>
        </p:nvGrpSpPr>
        <p:grpSpPr>
          <a:xfrm>
            <a:off x="371476" y="282770"/>
            <a:ext cx="1371599" cy="276999"/>
            <a:chOff x="9353062" y="5079459"/>
            <a:chExt cx="2573191" cy="276999"/>
          </a:xfrm>
        </p:grpSpPr>
        <p:sp>
          <p:nvSpPr>
            <p:cNvPr id="35" name="Скругленный прямоугольник 34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598163" y="5079459"/>
              <a:ext cx="20829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рынки сбыта</a:t>
              </a: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5826430" y="686429"/>
            <a:ext cx="4301719" cy="408946"/>
            <a:chOff x="5823356" y="686429"/>
            <a:chExt cx="4301719" cy="408946"/>
          </a:xfrm>
        </p:grpSpPr>
        <p:pic>
          <p:nvPicPr>
            <p:cNvPr id="2" name="Рисунок 1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2709" b="48553"/>
            <a:stretch/>
          </p:blipFill>
          <p:spPr>
            <a:xfrm>
              <a:off x="5823356" y="686429"/>
              <a:ext cx="2406244" cy="408946"/>
            </a:xfrm>
            <a:prstGeom prst="rect">
              <a:avLst/>
            </a:prstGeom>
          </p:spPr>
        </p:pic>
        <p:pic>
          <p:nvPicPr>
            <p:cNvPr id="44" name="Рисунок 43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45" t="51917" r="9347" b="4945"/>
            <a:stretch/>
          </p:blipFill>
          <p:spPr>
            <a:xfrm>
              <a:off x="8229600" y="695324"/>
              <a:ext cx="1895475" cy="342901"/>
            </a:xfrm>
            <a:prstGeom prst="rect">
              <a:avLst/>
            </a:prstGeom>
          </p:spPr>
        </p:pic>
      </p:grpSp>
      <p:grpSp>
        <p:nvGrpSpPr>
          <p:cNvPr id="6" name="Группа 5"/>
          <p:cNvGrpSpPr/>
          <p:nvPr/>
        </p:nvGrpSpPr>
        <p:grpSpPr>
          <a:xfrm>
            <a:off x="9056048" y="3625387"/>
            <a:ext cx="383023" cy="2109407"/>
            <a:chOff x="8827448" y="3625387"/>
            <a:chExt cx="383023" cy="2109407"/>
          </a:xfrm>
        </p:grpSpPr>
        <p:sp>
          <p:nvSpPr>
            <p:cNvPr id="46" name="Овал 45"/>
            <p:cNvSpPr/>
            <p:nvPr/>
          </p:nvSpPr>
          <p:spPr>
            <a:xfrm>
              <a:off x="8827448" y="3625387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8" name="Овал 47"/>
            <p:cNvSpPr/>
            <p:nvPr/>
          </p:nvSpPr>
          <p:spPr>
            <a:xfrm>
              <a:off x="8827448" y="4540130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Овал 48"/>
            <p:cNvSpPr/>
            <p:nvPr/>
          </p:nvSpPr>
          <p:spPr>
            <a:xfrm>
              <a:off x="8827448" y="5351771"/>
              <a:ext cx="383023" cy="383023"/>
            </a:xfrm>
            <a:prstGeom prst="ellipse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8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08424" y="3708326"/>
              <a:ext cx="218438" cy="218438"/>
            </a:xfrm>
            <a:prstGeom prst="rect">
              <a:avLst/>
            </a:prstGeom>
          </p:spPr>
        </p:pic>
        <p:pic>
          <p:nvPicPr>
            <p:cNvPr id="26" name="Рисунок 25"/>
            <p:cNvPicPr>
              <a:picLocks noChangeAspect="1"/>
            </p:cNvPicPr>
            <p:nvPr/>
          </p:nvPicPr>
          <p:blipFill>
            <a:blip r:embed="rId9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18503" y="5424922"/>
              <a:ext cx="198834" cy="218437"/>
            </a:xfrm>
            <a:prstGeom prst="rect">
              <a:avLst/>
            </a:prstGeom>
          </p:spPr>
        </p:pic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10" cstate="print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18503" y="4625781"/>
              <a:ext cx="198834" cy="218437"/>
            </a:xfrm>
            <a:prstGeom prst="rect">
              <a:avLst/>
            </a:prstGeom>
          </p:spPr>
        </p:pic>
      </p:grp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5873445" y="1813684"/>
            <a:ext cx="2688543" cy="13465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уже работают </a:t>
            </a:r>
            <a:r>
              <a:rPr lang="ru-RU" sz="1400" b="1" spc="7" dirty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400" b="1" spc="7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050" spc="7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Республиках Башкортостан, Татарстан, Крым, Калмыкия Удмуртской и Чувашской Республиках, Новосибирской, Омской, Ивановской, Нижегородской, </a:t>
            </a:r>
            <a:r>
              <a:rPr lang="ru-RU" sz="1050" spc="7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ировской, Ярославской</a:t>
            </a:r>
            <a:r>
              <a:rPr lang="ru-RU" sz="1050" spc="7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Владимирской, Ростовской, Курганской, Волгоградской и Смоленской областях, Краснодарском крае, и ХМАО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2123267" y="6409071"/>
            <a:ext cx="288442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200" spc="7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с</a:t>
            </a:r>
            <a:r>
              <a:rPr lang="ru-RU" sz="1200" spc="7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редняя выручка в сутки</a:t>
            </a:r>
            <a:endParaRPr lang="ru-RU" sz="1200" spc="7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325454" y="6174886"/>
            <a:ext cx="246954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</a:t>
            </a:r>
            <a:r>
              <a:rPr lang="ru-RU" sz="14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 </a:t>
            </a: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45 </a:t>
            </a:r>
            <a:r>
              <a:rPr lang="ru-RU" sz="14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ыс руб.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52" name="Picture 2" descr="http://qrcoder.ru/code/?https%3A%2F%2F%EC%F1%EF.%F0%F4%2Fservices%2Fdevelopment%2Fpromo%2Fprod&amp;4&amp;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7996" y="6042752"/>
            <a:ext cx="770835" cy="770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297212" y="4311646"/>
            <a:ext cx="482633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ект позволяет стать оператором торговых объектов, </a:t>
            </a:r>
            <a:r>
              <a:rPr lang="ru-RU" sz="12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ействующих по модели «shop-in-shop» в магазинах федеральных торговых сетей, а также в отдельно расположенных </a:t>
            </a:r>
            <a:r>
              <a:rPr lang="ru-RU" sz="12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окациях</a:t>
            </a:r>
            <a:r>
              <a:rPr lang="ru-RU" sz="12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, или стать поставщиком фермерской продукции в «Фермерские островки» </a:t>
            </a:r>
            <a:endParaRPr lang="ru-RU" sz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258014"/>
            <a:ext cx="604745" cy="322513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263520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615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Прямоугольник 54"/>
          <p:cNvSpPr/>
          <p:nvPr/>
        </p:nvSpPr>
        <p:spPr>
          <a:xfrm>
            <a:off x="279269" y="1235058"/>
            <a:ext cx="4845181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279269" y="4686061"/>
            <a:ext cx="5740531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 flipH="1">
            <a:off x="6710944" y="0"/>
            <a:ext cx="5481055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1" name="Овал 50"/>
          <p:cNvSpPr/>
          <p:nvPr/>
        </p:nvSpPr>
        <p:spPr>
          <a:xfrm>
            <a:off x="7052766" y="4907599"/>
            <a:ext cx="383023" cy="383023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Овал 53"/>
          <p:cNvSpPr/>
          <p:nvPr/>
        </p:nvSpPr>
        <p:spPr>
          <a:xfrm>
            <a:off x="10248531" y="4907599"/>
            <a:ext cx="383023" cy="383023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0946796" y="6446612"/>
            <a:ext cx="6882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5</a:t>
            </a:r>
            <a:endParaRPr lang="ru-RU" sz="1200" dirty="0">
              <a:solidFill>
                <a:schemeClr val="bg1">
                  <a:lumMod val="9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8070748" y="1033804"/>
            <a:ext cx="3877456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200" spc="7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рупных производств и торговых компаний из России </a:t>
            </a:r>
            <a:r>
              <a:rPr lang="ru-RU" sz="1200" spc="7" dirty="0" smtClean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щут </a:t>
            </a:r>
            <a:r>
              <a:rPr lang="ru-RU" sz="1200" spc="7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СП-поставщиков непродовольственных товаров и промышленной продукции, </a:t>
            </a:r>
            <a:r>
              <a:rPr lang="ru-RU" sz="1200" spc="7" dirty="0" smtClean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ru-RU" sz="1200" spc="7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ом числе для импортозамещения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7060304" y="546741"/>
            <a:ext cx="4701312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z="28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прос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71474" y="2781786"/>
            <a:ext cx="5019333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spc="-40" dirty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Узнайте потребности торговых сетей в непродовольственных товарах и крупнейших производителей в сырье и комплектующих и предложите им свою продукцию. Персональный менеджер поможет вам в общении с заказчиками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347653" y="744514"/>
            <a:ext cx="4556754" cy="4139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700"/>
              </a:lnSpc>
              <a:defRPr/>
            </a:pPr>
            <a:r>
              <a:rPr lang="ru-RU" spc="-1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</a:t>
            </a:r>
            <a:r>
              <a:rPr lang="ru-RU" spc="-1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ромышленным компаниям</a:t>
            </a:r>
            <a:endParaRPr lang="ru-RU" spc="-10" dirty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8671406" y="2855355"/>
            <a:ext cx="3276798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800"/>
              </a:spcAft>
            </a:pP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оменклатурных позиций, по которым требуются российские поставщики 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7004499" y="1009743"/>
            <a:ext cx="933702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algn="r">
              <a:spcBef>
                <a:spcPts val="361"/>
              </a:spcBef>
              <a:spcAft>
                <a:spcPts val="657"/>
              </a:spcAft>
            </a:pPr>
            <a:r>
              <a:rPr lang="en-US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60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7052766" y="2772141"/>
            <a:ext cx="1515553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algn="r">
              <a:spcBef>
                <a:spcPts val="361"/>
              </a:spcBef>
              <a:spcAft>
                <a:spcPts val="657"/>
              </a:spcAft>
            </a:pPr>
            <a:r>
              <a:rPr lang="en-US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5</a:t>
            </a:r>
            <a:r>
              <a:rPr lang="ru-RU" sz="24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00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0808" y="2554615"/>
            <a:ext cx="1187590" cy="1187590"/>
          </a:xfrm>
          <a:prstGeom prst="rect">
            <a:avLst/>
          </a:prstGeom>
        </p:spPr>
      </p:pic>
      <p:sp>
        <p:nvSpPr>
          <p:cNvPr id="27" name="Прямоугольник 26"/>
          <p:cNvSpPr/>
          <p:nvPr/>
        </p:nvSpPr>
        <p:spPr>
          <a:xfrm>
            <a:off x="375222" y="5781283"/>
            <a:ext cx="4662931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spc="-40" dirty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Заявите о себе в проверенной базе промышленных компаний МСП или найдите в ней партнеров для выпуска продукции. Сервис бесплатный, данные реестра проходят проверку Корпорации МСП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347652" y="4686062"/>
            <a:ext cx="5791573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800"/>
              </a:lnSpc>
              <a:spcBef>
                <a:spcPts val="361"/>
              </a:spcBef>
              <a:spcAft>
                <a:spcPts val="657"/>
              </a:spcAft>
              <a:defRPr/>
            </a:pP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Реестр промышленных </a:t>
            </a: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омпаний 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627" y="5454267"/>
            <a:ext cx="1232231" cy="1218229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8956182" y="4233768"/>
            <a:ext cx="2993595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ерифицированных МСП-производителей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6907831" y="4192184"/>
            <a:ext cx="191580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algn="r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4</a:t>
            </a:r>
            <a:r>
              <a:rPr lang="ru-RU" sz="24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000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7058838" y="5310183"/>
            <a:ext cx="3087003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2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озможность найти поставщика сырья, комплектующих, оборудования, инструментов и др. для своего бизнеса</a:t>
            </a:r>
            <a:endParaRPr lang="ru-RU" sz="12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0248532" y="5310183"/>
            <a:ext cx="169967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800"/>
              </a:spcAft>
            </a:pPr>
            <a:r>
              <a:rPr lang="ru-RU" sz="12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озможность заявить о себе и найти новых покупателей</a:t>
            </a:r>
            <a:endParaRPr lang="ru-RU" sz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4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6484" y="4997719"/>
            <a:ext cx="202648" cy="202648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5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741" y="4997719"/>
            <a:ext cx="202648" cy="202648"/>
          </a:xfrm>
          <a:prstGeom prst="rect">
            <a:avLst/>
          </a:prstGeom>
        </p:spPr>
      </p:pic>
      <p:cxnSp>
        <p:nvCxnSpPr>
          <p:cNvPr id="41" name="Прямая соединительная линия 40"/>
          <p:cNvCxnSpPr/>
          <p:nvPr/>
        </p:nvCxnSpPr>
        <p:spPr>
          <a:xfrm>
            <a:off x="7087413" y="3549456"/>
            <a:ext cx="4725175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Рисунок 4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7839" y="6067265"/>
            <a:ext cx="2014993" cy="611866"/>
          </a:xfrm>
          <a:prstGeom prst="rect">
            <a:avLst/>
          </a:prstGeom>
        </p:spPr>
      </p:pic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7058839" y="3725926"/>
            <a:ext cx="492162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z="28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едложение</a:t>
            </a:r>
          </a:p>
        </p:txBody>
      </p:sp>
      <p:sp>
        <p:nvSpPr>
          <p:cNvPr id="35" name="Полилиния 34" descr="Прямоугольник">
            <a:extLst>
              <a:ext uri="{FF2B5EF4-FFF2-40B4-BE49-F238E27FC236}">
                <a16:creationId xmlns:a16="http://schemas.microsoft.com/office/drawing/2014/main" xmlns="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8499225" y="6234467"/>
            <a:ext cx="1009167" cy="262853"/>
          </a:xfrm>
          <a:custGeom>
            <a:avLst/>
            <a:gdLst>
              <a:gd name="connsiteX0" fmla="*/ 211524 w 1658755"/>
              <a:gd name="connsiteY0" fmla="*/ 0 h 432048"/>
              <a:gd name="connsiteX1" fmla="*/ 534967 w 1658755"/>
              <a:gd name="connsiteY1" fmla="*/ 0 h 432048"/>
              <a:gd name="connsiteX2" fmla="*/ 581746 w 1658755"/>
              <a:gd name="connsiteY2" fmla="*/ 0 h 432048"/>
              <a:gd name="connsiteX3" fmla="*/ 780497 w 1658755"/>
              <a:gd name="connsiteY3" fmla="*/ 0 h 432048"/>
              <a:gd name="connsiteX4" fmla="*/ 780539 w 1658755"/>
              <a:gd name="connsiteY4" fmla="*/ 0 h 432048"/>
              <a:gd name="connsiteX5" fmla="*/ 825351 w 1658755"/>
              <a:gd name="connsiteY5" fmla="*/ 0 h 432048"/>
              <a:gd name="connsiteX6" fmla="*/ 833404 w 1658755"/>
              <a:gd name="connsiteY6" fmla="*/ 0 h 432048"/>
              <a:gd name="connsiteX7" fmla="*/ 878216 w 1658755"/>
              <a:gd name="connsiteY7" fmla="*/ 0 h 432048"/>
              <a:gd name="connsiteX8" fmla="*/ 878258 w 1658755"/>
              <a:gd name="connsiteY8" fmla="*/ 0 h 432048"/>
              <a:gd name="connsiteX9" fmla="*/ 1077009 w 1658755"/>
              <a:gd name="connsiteY9" fmla="*/ 0 h 432048"/>
              <a:gd name="connsiteX10" fmla="*/ 1123789 w 1658755"/>
              <a:gd name="connsiteY10" fmla="*/ 0 h 432048"/>
              <a:gd name="connsiteX11" fmla="*/ 1447231 w 1658755"/>
              <a:gd name="connsiteY11" fmla="*/ 0 h 432048"/>
              <a:gd name="connsiteX12" fmla="*/ 1658755 w 1658755"/>
              <a:gd name="connsiteY12" fmla="*/ 216024 h 432048"/>
              <a:gd name="connsiteX13" fmla="*/ 1658753 w 1658755"/>
              <a:gd name="connsiteY13" fmla="*/ 216024 h 432048"/>
              <a:gd name="connsiteX14" fmla="*/ 1447229 w 1658755"/>
              <a:gd name="connsiteY14" fmla="*/ 432048 h 432048"/>
              <a:gd name="connsiteX15" fmla="*/ 825359 w 1658755"/>
              <a:gd name="connsiteY15" fmla="*/ 432046 h 432048"/>
              <a:gd name="connsiteX16" fmla="*/ 825352 w 1658755"/>
              <a:gd name="connsiteY16" fmla="*/ 432048 h 432048"/>
              <a:gd name="connsiteX17" fmla="*/ 211524 w 1658755"/>
              <a:gd name="connsiteY17" fmla="*/ 432046 h 432048"/>
              <a:gd name="connsiteX18" fmla="*/ 16621 w 1658755"/>
              <a:gd name="connsiteY18" fmla="*/ 300110 h 432048"/>
              <a:gd name="connsiteX19" fmla="*/ 0 w 1658755"/>
              <a:gd name="connsiteY19" fmla="*/ 216024 h 432048"/>
              <a:gd name="connsiteX20" fmla="*/ 16621 w 1658755"/>
              <a:gd name="connsiteY20" fmla="*/ 131939 h 432048"/>
              <a:gd name="connsiteX21" fmla="*/ 211524 w 1658755"/>
              <a:gd name="connsiteY21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58755" h="432048">
                <a:moveTo>
                  <a:pt x="211524" y="0"/>
                </a:moveTo>
                <a:lnTo>
                  <a:pt x="534967" y="0"/>
                </a:lnTo>
                <a:lnTo>
                  <a:pt x="581746" y="0"/>
                </a:lnTo>
                <a:lnTo>
                  <a:pt x="780497" y="0"/>
                </a:lnTo>
                <a:lnTo>
                  <a:pt x="780539" y="0"/>
                </a:lnTo>
                <a:lnTo>
                  <a:pt x="825351" y="0"/>
                </a:lnTo>
                <a:lnTo>
                  <a:pt x="833404" y="0"/>
                </a:lnTo>
                <a:lnTo>
                  <a:pt x="878216" y="0"/>
                </a:lnTo>
                <a:lnTo>
                  <a:pt x="878258" y="0"/>
                </a:lnTo>
                <a:lnTo>
                  <a:pt x="1077009" y="0"/>
                </a:lnTo>
                <a:lnTo>
                  <a:pt x="1123789" y="0"/>
                </a:lnTo>
                <a:lnTo>
                  <a:pt x="1447231" y="0"/>
                </a:lnTo>
                <a:cubicBezTo>
                  <a:pt x="1564053" y="0"/>
                  <a:pt x="1658755" y="96717"/>
                  <a:pt x="1658755" y="216024"/>
                </a:cubicBezTo>
                <a:lnTo>
                  <a:pt x="1658753" y="216024"/>
                </a:lnTo>
                <a:cubicBezTo>
                  <a:pt x="1658753" y="335332"/>
                  <a:pt x="1564051" y="432048"/>
                  <a:pt x="1447229" y="432048"/>
                </a:cubicBezTo>
                <a:lnTo>
                  <a:pt x="825359" y="432046"/>
                </a:lnTo>
                <a:lnTo>
                  <a:pt x="825352" y="432048"/>
                </a:lnTo>
                <a:lnTo>
                  <a:pt x="211524" y="432046"/>
                </a:lnTo>
                <a:cubicBezTo>
                  <a:pt x="123907" y="432046"/>
                  <a:pt x="48733" y="377643"/>
                  <a:pt x="16621" y="300110"/>
                </a:cubicBezTo>
                <a:lnTo>
                  <a:pt x="0" y="216024"/>
                </a:lnTo>
                <a:lnTo>
                  <a:pt x="16621" y="131939"/>
                </a:lnTo>
                <a:cubicBezTo>
                  <a:pt x="48733" y="54404"/>
                  <a:pt x="123907" y="0"/>
                  <a:pt x="211524" y="0"/>
                </a:cubicBezTo>
                <a:close/>
              </a:path>
            </a:pathLst>
          </a:custGeom>
          <a:solidFill>
            <a:srgbClr val="84E0F7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tx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лучить на</a:t>
            </a:r>
            <a:endParaRPr lang="ru-RU" altLang="ru-RU" sz="1200" spc="-12" dirty="0">
              <a:solidFill>
                <a:schemeClr val="tx1"/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grpSp>
        <p:nvGrpSpPr>
          <p:cNvPr id="43" name="Группа 42"/>
          <p:cNvGrpSpPr/>
          <p:nvPr/>
        </p:nvGrpSpPr>
        <p:grpSpPr>
          <a:xfrm>
            <a:off x="371476" y="282770"/>
            <a:ext cx="1371599" cy="276999"/>
            <a:chOff x="9353062" y="5079459"/>
            <a:chExt cx="2573191" cy="276999"/>
          </a:xfrm>
        </p:grpSpPr>
        <p:sp>
          <p:nvSpPr>
            <p:cNvPr id="44" name="Скругленный прямоугольник 43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598163" y="5079459"/>
              <a:ext cx="208299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рынки сбыта</a:t>
              </a:r>
            </a:p>
          </p:txBody>
        </p:sp>
      </p:grp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347652" y="1202868"/>
            <a:ext cx="6634173" cy="14619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800"/>
              </a:lnSpc>
              <a:defRPr/>
            </a:pP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тать </a:t>
            </a: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ставщиком </a:t>
            </a:r>
            <a:r>
              <a:rPr lang="ru-RU" sz="3600" dirty="0" err="1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ритейлеров</a:t>
            </a: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/>
            </a:r>
            <a:b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и </a:t>
            </a: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изводителей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7094101" y="1990084"/>
            <a:ext cx="4751402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12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12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</a:t>
            </a:r>
            <a:r>
              <a:rPr lang="ru-RU" sz="12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0 зарубежных компании присоединились к сервису</a:t>
            </a:r>
            <a:endParaRPr lang="ru-RU" sz="12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63" name="Picture 2">
            <a:extLst>
              <a:ext uri="{FF2B5EF4-FFF2-40B4-BE49-F238E27FC236}">
                <a16:creationId xmlns:a16="http://schemas.microsoft.com/office/drawing/2014/main" xmlns="" id="{5982BFC1-472F-4BB6-A9F1-F8DA3570C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848667" y="3953928"/>
            <a:ext cx="673647" cy="336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6980" y="3964889"/>
            <a:ext cx="516229" cy="314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Полилиния 64"/>
          <p:cNvSpPr/>
          <p:nvPr/>
        </p:nvSpPr>
        <p:spPr>
          <a:xfrm>
            <a:off x="2601235" y="3923448"/>
            <a:ext cx="1087443" cy="439608"/>
          </a:xfrm>
          <a:custGeom>
            <a:avLst/>
            <a:gdLst>
              <a:gd name="connsiteX0" fmla="*/ 254947 w 1337274"/>
              <a:gd name="connsiteY0" fmla="*/ 0 h 509892"/>
              <a:gd name="connsiteX1" fmla="*/ 255223 w 1337274"/>
              <a:gd name="connsiteY1" fmla="*/ 0 h 509892"/>
              <a:gd name="connsiteX2" fmla="*/ 257162 w 1337274"/>
              <a:gd name="connsiteY2" fmla="*/ 0 h 509892"/>
              <a:gd name="connsiteX3" fmla="*/ 257172 w 1337274"/>
              <a:gd name="connsiteY3" fmla="*/ 0 h 509892"/>
              <a:gd name="connsiteX4" fmla="*/ 261533 w 1337274"/>
              <a:gd name="connsiteY4" fmla="*/ 0 h 509892"/>
              <a:gd name="connsiteX5" fmla="*/ 261544 w 1337274"/>
              <a:gd name="connsiteY5" fmla="*/ 0 h 509892"/>
              <a:gd name="connsiteX6" fmla="*/ 273836 w 1337274"/>
              <a:gd name="connsiteY6" fmla="*/ 0 h 509892"/>
              <a:gd name="connsiteX7" fmla="*/ 278208 w 1337274"/>
              <a:gd name="connsiteY7" fmla="*/ 0 h 509892"/>
              <a:gd name="connsiteX8" fmla="*/ 280145 w 1337274"/>
              <a:gd name="connsiteY8" fmla="*/ 0 h 509892"/>
              <a:gd name="connsiteX9" fmla="*/ 291174 w 1337274"/>
              <a:gd name="connsiteY9" fmla="*/ 0 h 509892"/>
              <a:gd name="connsiteX10" fmla="*/ 298100 w 1337274"/>
              <a:gd name="connsiteY10" fmla="*/ 0 h 509892"/>
              <a:gd name="connsiteX11" fmla="*/ 302471 w 1337274"/>
              <a:gd name="connsiteY11" fmla="*/ 0 h 509892"/>
              <a:gd name="connsiteX12" fmla="*/ 304697 w 1337274"/>
              <a:gd name="connsiteY12" fmla="*/ 0 h 509892"/>
              <a:gd name="connsiteX13" fmla="*/ 309068 w 1337274"/>
              <a:gd name="connsiteY13" fmla="*/ 0 h 509892"/>
              <a:gd name="connsiteX14" fmla="*/ 317767 w 1337274"/>
              <a:gd name="connsiteY14" fmla="*/ 0 h 509892"/>
              <a:gd name="connsiteX15" fmla="*/ 321084 w 1337274"/>
              <a:gd name="connsiteY15" fmla="*/ 0 h 509892"/>
              <a:gd name="connsiteX16" fmla="*/ 321361 w 1337274"/>
              <a:gd name="connsiteY16" fmla="*/ 0 h 509892"/>
              <a:gd name="connsiteX17" fmla="*/ 324363 w 1337274"/>
              <a:gd name="connsiteY17" fmla="*/ 0 h 509892"/>
              <a:gd name="connsiteX18" fmla="*/ 325732 w 1337274"/>
              <a:gd name="connsiteY18" fmla="*/ 0 h 509892"/>
              <a:gd name="connsiteX19" fmla="*/ 327670 w 1337274"/>
              <a:gd name="connsiteY19" fmla="*/ 0 h 509892"/>
              <a:gd name="connsiteX20" fmla="*/ 327680 w 1337274"/>
              <a:gd name="connsiteY20" fmla="*/ 0 h 509892"/>
              <a:gd name="connsiteX21" fmla="*/ 338698 w 1337274"/>
              <a:gd name="connsiteY21" fmla="*/ 0 h 509892"/>
              <a:gd name="connsiteX22" fmla="*/ 341028 w 1337274"/>
              <a:gd name="connsiteY22" fmla="*/ 0 h 509892"/>
              <a:gd name="connsiteX23" fmla="*/ 344345 w 1337274"/>
              <a:gd name="connsiteY23" fmla="*/ 0 h 509892"/>
              <a:gd name="connsiteX24" fmla="*/ 357311 w 1337274"/>
              <a:gd name="connsiteY24" fmla="*/ 0 h 509892"/>
              <a:gd name="connsiteX25" fmla="*/ 361682 w 1337274"/>
              <a:gd name="connsiteY25" fmla="*/ 0 h 509892"/>
              <a:gd name="connsiteX26" fmla="*/ 365291 w 1337274"/>
              <a:gd name="connsiteY26" fmla="*/ 0 h 509892"/>
              <a:gd name="connsiteX27" fmla="*/ 365302 w 1337274"/>
              <a:gd name="connsiteY27" fmla="*/ 0 h 509892"/>
              <a:gd name="connsiteX28" fmla="*/ 368609 w 1337274"/>
              <a:gd name="connsiteY28" fmla="*/ 0 h 509892"/>
              <a:gd name="connsiteX29" fmla="*/ 371887 w 1337274"/>
              <a:gd name="connsiteY29" fmla="*/ 0 h 509892"/>
              <a:gd name="connsiteX30" fmla="*/ 375205 w 1337274"/>
              <a:gd name="connsiteY30" fmla="*/ 0 h 509892"/>
              <a:gd name="connsiteX31" fmla="*/ 381966 w 1337274"/>
              <a:gd name="connsiteY31" fmla="*/ 0 h 509892"/>
              <a:gd name="connsiteX32" fmla="*/ 383903 w 1337274"/>
              <a:gd name="connsiteY32" fmla="*/ 0 h 509892"/>
              <a:gd name="connsiteX33" fmla="*/ 388275 w 1337274"/>
              <a:gd name="connsiteY33" fmla="*/ 0 h 509892"/>
              <a:gd name="connsiteX34" fmla="*/ 388551 w 1337274"/>
              <a:gd name="connsiteY34" fmla="*/ 0 h 509892"/>
              <a:gd name="connsiteX35" fmla="*/ 388562 w 1337274"/>
              <a:gd name="connsiteY35" fmla="*/ 0 h 509892"/>
              <a:gd name="connsiteX36" fmla="*/ 390501 w 1337274"/>
              <a:gd name="connsiteY36" fmla="*/ 0 h 509892"/>
              <a:gd name="connsiteX37" fmla="*/ 391870 w 1337274"/>
              <a:gd name="connsiteY37" fmla="*/ 0 h 509892"/>
              <a:gd name="connsiteX38" fmla="*/ 394872 w 1337274"/>
              <a:gd name="connsiteY38" fmla="*/ 0 h 509892"/>
              <a:gd name="connsiteX39" fmla="*/ 404836 w 1337274"/>
              <a:gd name="connsiteY39" fmla="*/ 0 h 509892"/>
              <a:gd name="connsiteX40" fmla="*/ 407164 w 1337274"/>
              <a:gd name="connsiteY40" fmla="*/ 0 h 509892"/>
              <a:gd name="connsiteX41" fmla="*/ 409206 w 1337274"/>
              <a:gd name="connsiteY41" fmla="*/ 0 h 509892"/>
              <a:gd name="connsiteX42" fmla="*/ 411536 w 1337274"/>
              <a:gd name="connsiteY42" fmla="*/ 0 h 509892"/>
              <a:gd name="connsiteX43" fmla="*/ 412826 w 1337274"/>
              <a:gd name="connsiteY43" fmla="*/ 0 h 509892"/>
              <a:gd name="connsiteX44" fmla="*/ 420720 w 1337274"/>
              <a:gd name="connsiteY44" fmla="*/ 0 h 509892"/>
              <a:gd name="connsiteX45" fmla="*/ 420996 w 1337274"/>
              <a:gd name="connsiteY45" fmla="*/ 0 h 509892"/>
              <a:gd name="connsiteX46" fmla="*/ 422935 w 1337274"/>
              <a:gd name="connsiteY46" fmla="*/ 0 h 509892"/>
              <a:gd name="connsiteX47" fmla="*/ 422945 w 1337274"/>
              <a:gd name="connsiteY47" fmla="*/ 0 h 509892"/>
              <a:gd name="connsiteX48" fmla="*/ 424503 w 1337274"/>
              <a:gd name="connsiteY48" fmla="*/ 0 h 509892"/>
              <a:gd name="connsiteX49" fmla="*/ 427306 w 1337274"/>
              <a:gd name="connsiteY49" fmla="*/ 0 h 509892"/>
              <a:gd name="connsiteX50" fmla="*/ 427317 w 1337274"/>
              <a:gd name="connsiteY50" fmla="*/ 0 h 509892"/>
              <a:gd name="connsiteX51" fmla="*/ 427820 w 1337274"/>
              <a:gd name="connsiteY51" fmla="*/ 0 h 509892"/>
              <a:gd name="connsiteX52" fmla="*/ 429490 w 1337274"/>
              <a:gd name="connsiteY52" fmla="*/ 0 h 509892"/>
              <a:gd name="connsiteX53" fmla="*/ 431428 w 1337274"/>
              <a:gd name="connsiteY53" fmla="*/ 0 h 509892"/>
              <a:gd name="connsiteX54" fmla="*/ 431438 w 1337274"/>
              <a:gd name="connsiteY54" fmla="*/ 0 h 509892"/>
              <a:gd name="connsiteX55" fmla="*/ 435799 w 1337274"/>
              <a:gd name="connsiteY55" fmla="*/ 0 h 509892"/>
              <a:gd name="connsiteX56" fmla="*/ 435810 w 1337274"/>
              <a:gd name="connsiteY56" fmla="*/ 0 h 509892"/>
              <a:gd name="connsiteX57" fmla="*/ 436086 w 1337274"/>
              <a:gd name="connsiteY57" fmla="*/ 0 h 509892"/>
              <a:gd name="connsiteX58" fmla="*/ 438026 w 1337274"/>
              <a:gd name="connsiteY58" fmla="*/ 0 h 509892"/>
              <a:gd name="connsiteX59" fmla="*/ 439609 w 1337274"/>
              <a:gd name="connsiteY59" fmla="*/ 0 h 509892"/>
              <a:gd name="connsiteX60" fmla="*/ 442396 w 1337274"/>
              <a:gd name="connsiteY60" fmla="*/ 0 h 509892"/>
              <a:gd name="connsiteX61" fmla="*/ 443981 w 1337274"/>
              <a:gd name="connsiteY61" fmla="*/ 0 h 509892"/>
              <a:gd name="connsiteX62" fmla="*/ 445918 w 1337274"/>
              <a:gd name="connsiteY62" fmla="*/ 0 h 509892"/>
              <a:gd name="connsiteX63" fmla="*/ 448103 w 1337274"/>
              <a:gd name="connsiteY63" fmla="*/ 0 h 509892"/>
              <a:gd name="connsiteX64" fmla="*/ 452475 w 1337274"/>
              <a:gd name="connsiteY64" fmla="*/ 0 h 509892"/>
              <a:gd name="connsiteX65" fmla="*/ 454412 w 1337274"/>
              <a:gd name="connsiteY65" fmla="*/ 0 h 509892"/>
              <a:gd name="connsiteX66" fmla="*/ 454689 w 1337274"/>
              <a:gd name="connsiteY66" fmla="*/ 0 h 509892"/>
              <a:gd name="connsiteX67" fmla="*/ 454699 w 1337274"/>
              <a:gd name="connsiteY67" fmla="*/ 0 h 509892"/>
              <a:gd name="connsiteX68" fmla="*/ 456947 w 1337274"/>
              <a:gd name="connsiteY68" fmla="*/ 0 h 509892"/>
              <a:gd name="connsiteX69" fmla="*/ 459060 w 1337274"/>
              <a:gd name="connsiteY69" fmla="*/ 0 h 509892"/>
              <a:gd name="connsiteX70" fmla="*/ 459071 w 1337274"/>
              <a:gd name="connsiteY70" fmla="*/ 0 h 509892"/>
              <a:gd name="connsiteX71" fmla="*/ 461009 w 1337274"/>
              <a:gd name="connsiteY71" fmla="*/ 0 h 509892"/>
              <a:gd name="connsiteX72" fmla="*/ 463873 w 1337274"/>
              <a:gd name="connsiteY72" fmla="*/ 0 h 509892"/>
              <a:gd name="connsiteX73" fmla="*/ 465440 w 1337274"/>
              <a:gd name="connsiteY73" fmla="*/ 0 h 509892"/>
              <a:gd name="connsiteX74" fmla="*/ 468244 w 1337274"/>
              <a:gd name="connsiteY74" fmla="*/ 0 h 509892"/>
              <a:gd name="connsiteX75" fmla="*/ 470470 w 1337274"/>
              <a:gd name="connsiteY75" fmla="*/ 0 h 509892"/>
              <a:gd name="connsiteX76" fmla="*/ 472027 w 1337274"/>
              <a:gd name="connsiteY76" fmla="*/ 0 h 509892"/>
              <a:gd name="connsiteX77" fmla="*/ 472038 w 1337274"/>
              <a:gd name="connsiteY77" fmla="*/ 0 h 509892"/>
              <a:gd name="connsiteX78" fmla="*/ 474841 w 1337274"/>
              <a:gd name="connsiteY78" fmla="*/ 0 h 509892"/>
              <a:gd name="connsiteX79" fmla="*/ 475345 w 1337274"/>
              <a:gd name="connsiteY79" fmla="*/ 0 h 509892"/>
              <a:gd name="connsiteX80" fmla="*/ 477673 w 1337274"/>
              <a:gd name="connsiteY80" fmla="*/ 0 h 509892"/>
              <a:gd name="connsiteX81" fmla="*/ 478963 w 1337274"/>
              <a:gd name="connsiteY81" fmla="*/ 0 h 509892"/>
              <a:gd name="connsiteX82" fmla="*/ 483334 w 1337274"/>
              <a:gd name="connsiteY82" fmla="*/ 0 h 509892"/>
              <a:gd name="connsiteX83" fmla="*/ 483540 w 1337274"/>
              <a:gd name="connsiteY83" fmla="*/ 0 h 509892"/>
              <a:gd name="connsiteX84" fmla="*/ 486857 w 1337274"/>
              <a:gd name="connsiteY84" fmla="*/ 0 h 509892"/>
              <a:gd name="connsiteX85" fmla="*/ 487134 w 1337274"/>
              <a:gd name="connsiteY85" fmla="*/ 0 h 509892"/>
              <a:gd name="connsiteX86" fmla="*/ 488701 w 1337274"/>
              <a:gd name="connsiteY86" fmla="*/ 0 h 509892"/>
              <a:gd name="connsiteX87" fmla="*/ 490136 w 1337274"/>
              <a:gd name="connsiteY87" fmla="*/ 0 h 509892"/>
              <a:gd name="connsiteX88" fmla="*/ 490639 w 1337274"/>
              <a:gd name="connsiteY88" fmla="*/ 0 h 509892"/>
              <a:gd name="connsiteX89" fmla="*/ 491505 w 1337274"/>
              <a:gd name="connsiteY89" fmla="*/ 0 h 509892"/>
              <a:gd name="connsiteX90" fmla="*/ 493443 w 1337274"/>
              <a:gd name="connsiteY90" fmla="*/ 0 h 509892"/>
              <a:gd name="connsiteX91" fmla="*/ 493453 w 1337274"/>
              <a:gd name="connsiteY91" fmla="*/ 0 h 509892"/>
              <a:gd name="connsiteX92" fmla="*/ 495012 w 1337274"/>
              <a:gd name="connsiteY92" fmla="*/ 0 h 509892"/>
              <a:gd name="connsiteX93" fmla="*/ 495628 w 1337274"/>
              <a:gd name="connsiteY93" fmla="*/ 0 h 509892"/>
              <a:gd name="connsiteX94" fmla="*/ 498630 w 1337274"/>
              <a:gd name="connsiteY94" fmla="*/ 0 h 509892"/>
              <a:gd name="connsiteX95" fmla="*/ 499999 w 1337274"/>
              <a:gd name="connsiteY95" fmla="*/ 0 h 509892"/>
              <a:gd name="connsiteX96" fmla="*/ 501937 w 1337274"/>
              <a:gd name="connsiteY96" fmla="*/ 0 h 509892"/>
              <a:gd name="connsiteX97" fmla="*/ 501947 w 1337274"/>
              <a:gd name="connsiteY97" fmla="*/ 0 h 509892"/>
              <a:gd name="connsiteX98" fmla="*/ 502224 w 1337274"/>
              <a:gd name="connsiteY98" fmla="*/ 0 h 509892"/>
              <a:gd name="connsiteX99" fmla="*/ 504471 w 1337274"/>
              <a:gd name="connsiteY99" fmla="*/ 0 h 509892"/>
              <a:gd name="connsiteX100" fmla="*/ 506595 w 1337274"/>
              <a:gd name="connsiteY100" fmla="*/ 0 h 509892"/>
              <a:gd name="connsiteX101" fmla="*/ 506801 w 1337274"/>
              <a:gd name="connsiteY101" fmla="*/ 0 h 509892"/>
              <a:gd name="connsiteX102" fmla="*/ 508534 w 1337274"/>
              <a:gd name="connsiteY102" fmla="*/ 0 h 509892"/>
              <a:gd name="connsiteX103" fmla="*/ 510118 w 1337274"/>
              <a:gd name="connsiteY103" fmla="*/ 0 h 509892"/>
              <a:gd name="connsiteX104" fmla="*/ 512964 w 1337274"/>
              <a:gd name="connsiteY104" fmla="*/ 0 h 509892"/>
              <a:gd name="connsiteX105" fmla="*/ 515294 w 1337274"/>
              <a:gd name="connsiteY105" fmla="*/ 0 h 509892"/>
              <a:gd name="connsiteX106" fmla="*/ 518611 w 1337274"/>
              <a:gd name="connsiteY106" fmla="*/ 0 h 509892"/>
              <a:gd name="connsiteX107" fmla="*/ 519562 w 1337274"/>
              <a:gd name="connsiteY107" fmla="*/ 0 h 509892"/>
              <a:gd name="connsiteX108" fmla="*/ 521890 w 1337274"/>
              <a:gd name="connsiteY108" fmla="*/ 0 h 509892"/>
              <a:gd name="connsiteX109" fmla="*/ 523084 w 1337274"/>
              <a:gd name="connsiteY109" fmla="*/ 0 h 509892"/>
              <a:gd name="connsiteX110" fmla="*/ 525198 w 1337274"/>
              <a:gd name="connsiteY110" fmla="*/ 0 h 509892"/>
              <a:gd name="connsiteX111" fmla="*/ 525208 w 1337274"/>
              <a:gd name="connsiteY111" fmla="*/ 0 h 509892"/>
              <a:gd name="connsiteX112" fmla="*/ 527455 w 1337274"/>
              <a:gd name="connsiteY112" fmla="*/ 0 h 509892"/>
              <a:gd name="connsiteX113" fmla="*/ 531064 w 1337274"/>
              <a:gd name="connsiteY113" fmla="*/ 0 h 509892"/>
              <a:gd name="connsiteX114" fmla="*/ 531075 w 1337274"/>
              <a:gd name="connsiteY114" fmla="*/ 0 h 509892"/>
              <a:gd name="connsiteX115" fmla="*/ 531578 w 1337274"/>
              <a:gd name="connsiteY115" fmla="*/ 0 h 509892"/>
              <a:gd name="connsiteX116" fmla="*/ 534382 w 1337274"/>
              <a:gd name="connsiteY116" fmla="*/ 0 h 509892"/>
              <a:gd name="connsiteX117" fmla="*/ 535949 w 1337274"/>
              <a:gd name="connsiteY117" fmla="*/ 0 h 509892"/>
              <a:gd name="connsiteX118" fmla="*/ 536226 w 1337274"/>
              <a:gd name="connsiteY118" fmla="*/ 0 h 509892"/>
              <a:gd name="connsiteX119" fmla="*/ 537660 w 1337274"/>
              <a:gd name="connsiteY119" fmla="*/ 0 h 509892"/>
              <a:gd name="connsiteX120" fmla="*/ 538165 w 1337274"/>
              <a:gd name="connsiteY120" fmla="*/ 0 h 509892"/>
              <a:gd name="connsiteX121" fmla="*/ 538174 w 1337274"/>
              <a:gd name="connsiteY121" fmla="*/ 0 h 509892"/>
              <a:gd name="connsiteX122" fmla="*/ 540978 w 1337274"/>
              <a:gd name="connsiteY122" fmla="*/ 0 h 509892"/>
              <a:gd name="connsiteX123" fmla="*/ 542535 w 1337274"/>
              <a:gd name="connsiteY123" fmla="*/ 0 h 509892"/>
              <a:gd name="connsiteX124" fmla="*/ 542546 w 1337274"/>
              <a:gd name="connsiteY124" fmla="*/ 0 h 509892"/>
              <a:gd name="connsiteX125" fmla="*/ 546154 w 1337274"/>
              <a:gd name="connsiteY125" fmla="*/ 0 h 509892"/>
              <a:gd name="connsiteX126" fmla="*/ 547739 w 1337274"/>
              <a:gd name="connsiteY126" fmla="*/ 0 h 509892"/>
              <a:gd name="connsiteX127" fmla="*/ 549472 w 1337274"/>
              <a:gd name="connsiteY127" fmla="*/ 0 h 509892"/>
              <a:gd name="connsiteX128" fmla="*/ 549676 w 1337274"/>
              <a:gd name="connsiteY128" fmla="*/ 0 h 509892"/>
              <a:gd name="connsiteX129" fmla="*/ 554048 w 1337274"/>
              <a:gd name="connsiteY129" fmla="*/ 0 h 509892"/>
              <a:gd name="connsiteX130" fmla="*/ 554324 w 1337274"/>
              <a:gd name="connsiteY130" fmla="*/ 0 h 509892"/>
              <a:gd name="connsiteX131" fmla="*/ 554335 w 1337274"/>
              <a:gd name="connsiteY131" fmla="*/ 0 h 509892"/>
              <a:gd name="connsiteX132" fmla="*/ 554839 w 1337274"/>
              <a:gd name="connsiteY132" fmla="*/ 0 h 509892"/>
              <a:gd name="connsiteX133" fmla="*/ 556274 w 1337274"/>
              <a:gd name="connsiteY133" fmla="*/ 0 h 509892"/>
              <a:gd name="connsiteX134" fmla="*/ 557643 w 1337274"/>
              <a:gd name="connsiteY134" fmla="*/ 0 h 509892"/>
              <a:gd name="connsiteX135" fmla="*/ 559210 w 1337274"/>
              <a:gd name="connsiteY135" fmla="*/ 0 h 509892"/>
              <a:gd name="connsiteX136" fmla="*/ 560645 w 1337274"/>
              <a:gd name="connsiteY136" fmla="*/ 0 h 509892"/>
              <a:gd name="connsiteX137" fmla="*/ 561148 w 1337274"/>
              <a:gd name="connsiteY137" fmla="*/ 0 h 509892"/>
              <a:gd name="connsiteX138" fmla="*/ 562818 w 1337274"/>
              <a:gd name="connsiteY138" fmla="*/ 0 h 509892"/>
              <a:gd name="connsiteX139" fmla="*/ 562829 w 1337274"/>
              <a:gd name="connsiteY139" fmla="*/ 0 h 509892"/>
              <a:gd name="connsiteX140" fmla="*/ 564768 w 1337274"/>
              <a:gd name="connsiteY140" fmla="*/ 0 h 509892"/>
              <a:gd name="connsiteX141" fmla="*/ 566136 w 1337274"/>
              <a:gd name="connsiteY141" fmla="*/ 0 h 509892"/>
              <a:gd name="connsiteX142" fmla="*/ 569138 w 1337274"/>
              <a:gd name="connsiteY142" fmla="*/ 0 h 509892"/>
              <a:gd name="connsiteX143" fmla="*/ 569414 w 1337274"/>
              <a:gd name="connsiteY143" fmla="*/ 0 h 509892"/>
              <a:gd name="connsiteX144" fmla="*/ 570609 w 1337274"/>
              <a:gd name="connsiteY144" fmla="*/ 0 h 509892"/>
              <a:gd name="connsiteX145" fmla="*/ 572733 w 1337274"/>
              <a:gd name="connsiteY145" fmla="*/ 0 h 509892"/>
              <a:gd name="connsiteX146" fmla="*/ 572937 w 1337274"/>
              <a:gd name="connsiteY146" fmla="*/ 0 h 509892"/>
              <a:gd name="connsiteX147" fmla="*/ 574979 w 1337274"/>
              <a:gd name="connsiteY147" fmla="*/ 0 h 509892"/>
              <a:gd name="connsiteX148" fmla="*/ 577309 w 1337274"/>
              <a:gd name="connsiteY148" fmla="*/ 0 h 509892"/>
              <a:gd name="connsiteX149" fmla="*/ 578599 w 1337274"/>
              <a:gd name="connsiteY149" fmla="*/ 0 h 509892"/>
              <a:gd name="connsiteX150" fmla="*/ 579103 w 1337274"/>
              <a:gd name="connsiteY150" fmla="*/ 0 h 509892"/>
              <a:gd name="connsiteX151" fmla="*/ 581431 w 1337274"/>
              <a:gd name="connsiteY151" fmla="*/ 0 h 509892"/>
              <a:gd name="connsiteX152" fmla="*/ 583473 w 1337274"/>
              <a:gd name="connsiteY152" fmla="*/ 0 h 509892"/>
              <a:gd name="connsiteX153" fmla="*/ 585699 w 1337274"/>
              <a:gd name="connsiteY153" fmla="*/ 0 h 509892"/>
              <a:gd name="connsiteX154" fmla="*/ 585803 w 1337274"/>
              <a:gd name="connsiteY154" fmla="*/ 0 h 509892"/>
              <a:gd name="connsiteX155" fmla="*/ 588028 w 1337274"/>
              <a:gd name="connsiteY155" fmla="*/ 0 h 509892"/>
              <a:gd name="connsiteX156" fmla="*/ 590070 w 1337274"/>
              <a:gd name="connsiteY156" fmla="*/ 0 h 509892"/>
              <a:gd name="connsiteX157" fmla="*/ 590276 w 1337274"/>
              <a:gd name="connsiteY157" fmla="*/ 0 h 509892"/>
              <a:gd name="connsiteX158" fmla="*/ 592399 w 1337274"/>
              <a:gd name="connsiteY158" fmla="*/ 0 h 509892"/>
              <a:gd name="connsiteX159" fmla="*/ 593593 w 1337274"/>
              <a:gd name="connsiteY159" fmla="*/ 0 h 509892"/>
              <a:gd name="connsiteX160" fmla="*/ 595263 w 1337274"/>
              <a:gd name="connsiteY160" fmla="*/ 0 h 509892"/>
              <a:gd name="connsiteX161" fmla="*/ 597201 w 1337274"/>
              <a:gd name="connsiteY161" fmla="*/ 0 h 509892"/>
              <a:gd name="connsiteX162" fmla="*/ 597211 w 1337274"/>
              <a:gd name="connsiteY162" fmla="*/ 0 h 509892"/>
              <a:gd name="connsiteX163" fmla="*/ 598770 w 1337274"/>
              <a:gd name="connsiteY163" fmla="*/ 0 h 509892"/>
              <a:gd name="connsiteX164" fmla="*/ 601572 w 1337274"/>
              <a:gd name="connsiteY164" fmla="*/ 0 h 509892"/>
              <a:gd name="connsiteX165" fmla="*/ 601583 w 1337274"/>
              <a:gd name="connsiteY165" fmla="*/ 0 h 509892"/>
              <a:gd name="connsiteX166" fmla="*/ 601859 w 1337274"/>
              <a:gd name="connsiteY166" fmla="*/ 0 h 509892"/>
              <a:gd name="connsiteX167" fmla="*/ 602087 w 1337274"/>
              <a:gd name="connsiteY167" fmla="*/ 0 h 509892"/>
              <a:gd name="connsiteX168" fmla="*/ 602364 w 1337274"/>
              <a:gd name="connsiteY168" fmla="*/ 0 h 509892"/>
              <a:gd name="connsiteX169" fmla="*/ 603799 w 1337274"/>
              <a:gd name="connsiteY169" fmla="*/ 0 h 509892"/>
              <a:gd name="connsiteX170" fmla="*/ 605366 w 1337274"/>
              <a:gd name="connsiteY170" fmla="*/ 0 h 509892"/>
              <a:gd name="connsiteX171" fmla="*/ 606735 w 1337274"/>
              <a:gd name="connsiteY171" fmla="*/ 0 h 509892"/>
              <a:gd name="connsiteX172" fmla="*/ 608169 w 1337274"/>
              <a:gd name="connsiteY172" fmla="*/ 0 h 509892"/>
              <a:gd name="connsiteX173" fmla="*/ 608673 w 1337274"/>
              <a:gd name="connsiteY173" fmla="*/ 0 h 509892"/>
              <a:gd name="connsiteX174" fmla="*/ 608683 w 1337274"/>
              <a:gd name="connsiteY174" fmla="*/ 0 h 509892"/>
              <a:gd name="connsiteX175" fmla="*/ 610353 w 1337274"/>
              <a:gd name="connsiteY175" fmla="*/ 0 h 509892"/>
              <a:gd name="connsiteX176" fmla="*/ 612293 w 1337274"/>
              <a:gd name="connsiteY176" fmla="*/ 0 h 509892"/>
              <a:gd name="connsiteX177" fmla="*/ 613876 w 1337274"/>
              <a:gd name="connsiteY177" fmla="*/ 0 h 509892"/>
              <a:gd name="connsiteX178" fmla="*/ 616662 w 1337274"/>
              <a:gd name="connsiteY178" fmla="*/ 0 h 509892"/>
              <a:gd name="connsiteX179" fmla="*/ 618248 w 1337274"/>
              <a:gd name="connsiteY179" fmla="*/ 0 h 509892"/>
              <a:gd name="connsiteX180" fmla="*/ 620185 w 1337274"/>
              <a:gd name="connsiteY180" fmla="*/ 0 h 509892"/>
              <a:gd name="connsiteX181" fmla="*/ 620462 w 1337274"/>
              <a:gd name="connsiteY181" fmla="*/ 0 h 509892"/>
              <a:gd name="connsiteX182" fmla="*/ 620472 w 1337274"/>
              <a:gd name="connsiteY182" fmla="*/ 0 h 509892"/>
              <a:gd name="connsiteX183" fmla="*/ 622030 w 1337274"/>
              <a:gd name="connsiteY183" fmla="*/ 0 h 509892"/>
              <a:gd name="connsiteX184" fmla="*/ 624833 w 1337274"/>
              <a:gd name="connsiteY184" fmla="*/ 0 h 509892"/>
              <a:gd name="connsiteX185" fmla="*/ 624844 w 1337274"/>
              <a:gd name="connsiteY185" fmla="*/ 0 h 509892"/>
              <a:gd name="connsiteX186" fmla="*/ 625347 w 1337274"/>
              <a:gd name="connsiteY186" fmla="*/ 0 h 509892"/>
              <a:gd name="connsiteX187" fmla="*/ 626782 w 1337274"/>
              <a:gd name="connsiteY187" fmla="*/ 0 h 509892"/>
              <a:gd name="connsiteX188" fmla="*/ 628956 w 1337274"/>
              <a:gd name="connsiteY188" fmla="*/ 0 h 509892"/>
              <a:gd name="connsiteX189" fmla="*/ 628966 w 1337274"/>
              <a:gd name="connsiteY189" fmla="*/ 0 h 509892"/>
              <a:gd name="connsiteX190" fmla="*/ 631213 w 1337274"/>
              <a:gd name="connsiteY190" fmla="*/ 0 h 509892"/>
              <a:gd name="connsiteX191" fmla="*/ 633327 w 1337274"/>
              <a:gd name="connsiteY191" fmla="*/ 0 h 509892"/>
              <a:gd name="connsiteX192" fmla="*/ 633338 w 1337274"/>
              <a:gd name="connsiteY192" fmla="*/ 0 h 509892"/>
              <a:gd name="connsiteX193" fmla="*/ 635276 w 1337274"/>
              <a:gd name="connsiteY193" fmla="*/ 0 h 509892"/>
              <a:gd name="connsiteX194" fmla="*/ 635553 w 1337274"/>
              <a:gd name="connsiteY194" fmla="*/ 0 h 509892"/>
              <a:gd name="connsiteX195" fmla="*/ 637800 w 1337274"/>
              <a:gd name="connsiteY195" fmla="*/ 0 h 509892"/>
              <a:gd name="connsiteX196" fmla="*/ 637811 w 1337274"/>
              <a:gd name="connsiteY196" fmla="*/ 0 h 509892"/>
              <a:gd name="connsiteX197" fmla="*/ 639923 w 1337274"/>
              <a:gd name="connsiteY197" fmla="*/ 0 h 509892"/>
              <a:gd name="connsiteX198" fmla="*/ 641118 w 1337274"/>
              <a:gd name="connsiteY198" fmla="*/ 0 h 509892"/>
              <a:gd name="connsiteX199" fmla="*/ 643446 w 1337274"/>
              <a:gd name="connsiteY199" fmla="*/ 0 h 509892"/>
              <a:gd name="connsiteX200" fmla="*/ 644736 w 1337274"/>
              <a:gd name="connsiteY200" fmla="*/ 0 h 509892"/>
              <a:gd name="connsiteX201" fmla="*/ 646293 w 1337274"/>
              <a:gd name="connsiteY201" fmla="*/ 0 h 509892"/>
              <a:gd name="connsiteX202" fmla="*/ 646304 w 1337274"/>
              <a:gd name="connsiteY202" fmla="*/ 0 h 509892"/>
              <a:gd name="connsiteX203" fmla="*/ 649107 w 1337274"/>
              <a:gd name="connsiteY203" fmla="*/ 0 h 509892"/>
              <a:gd name="connsiteX204" fmla="*/ 649612 w 1337274"/>
              <a:gd name="connsiteY204" fmla="*/ 0 h 509892"/>
              <a:gd name="connsiteX205" fmla="*/ 651940 w 1337274"/>
              <a:gd name="connsiteY205" fmla="*/ 0 h 509892"/>
              <a:gd name="connsiteX206" fmla="*/ 652890 w 1337274"/>
              <a:gd name="connsiteY206" fmla="*/ 0 h 509892"/>
              <a:gd name="connsiteX207" fmla="*/ 654474 w 1337274"/>
              <a:gd name="connsiteY207" fmla="*/ 0 h 509892"/>
              <a:gd name="connsiteX208" fmla="*/ 656208 w 1337274"/>
              <a:gd name="connsiteY208" fmla="*/ 0 h 509892"/>
              <a:gd name="connsiteX209" fmla="*/ 656412 w 1337274"/>
              <a:gd name="connsiteY209" fmla="*/ 0 h 509892"/>
              <a:gd name="connsiteX210" fmla="*/ 658537 w 1337274"/>
              <a:gd name="connsiteY210" fmla="*/ 0 h 509892"/>
              <a:gd name="connsiteX211" fmla="*/ 660785 w 1337274"/>
              <a:gd name="connsiteY211" fmla="*/ 0 h 509892"/>
              <a:gd name="connsiteX212" fmla="*/ 661401 w 1337274"/>
              <a:gd name="connsiteY212" fmla="*/ 0 h 509892"/>
              <a:gd name="connsiteX213" fmla="*/ 662968 w 1337274"/>
              <a:gd name="connsiteY213" fmla="*/ 0 h 509892"/>
              <a:gd name="connsiteX214" fmla="*/ 664403 w 1337274"/>
              <a:gd name="connsiteY214" fmla="*/ 0 h 509892"/>
              <a:gd name="connsiteX215" fmla="*/ 664906 w 1337274"/>
              <a:gd name="connsiteY215" fmla="*/ 0 h 509892"/>
              <a:gd name="connsiteX216" fmla="*/ 665772 w 1337274"/>
              <a:gd name="connsiteY216" fmla="*/ 0 h 509892"/>
              <a:gd name="connsiteX217" fmla="*/ 667710 w 1337274"/>
              <a:gd name="connsiteY217" fmla="*/ 0 h 509892"/>
              <a:gd name="connsiteX218" fmla="*/ 667720 w 1337274"/>
              <a:gd name="connsiteY218" fmla="*/ 0 h 509892"/>
              <a:gd name="connsiteX219" fmla="*/ 667997 w 1337274"/>
              <a:gd name="connsiteY219" fmla="*/ 0 h 509892"/>
              <a:gd name="connsiteX220" fmla="*/ 669278 w 1337274"/>
              <a:gd name="connsiteY220" fmla="*/ 0 h 509892"/>
              <a:gd name="connsiteX221" fmla="*/ 669554 w 1337274"/>
              <a:gd name="connsiteY221" fmla="*/ 0 h 509892"/>
              <a:gd name="connsiteX222" fmla="*/ 669565 w 1337274"/>
              <a:gd name="connsiteY222" fmla="*/ 0 h 509892"/>
              <a:gd name="connsiteX223" fmla="*/ 671502 w 1337274"/>
              <a:gd name="connsiteY223" fmla="*/ 0 h 509892"/>
              <a:gd name="connsiteX224" fmla="*/ 672368 w 1337274"/>
              <a:gd name="connsiteY224" fmla="*/ 0 h 509892"/>
              <a:gd name="connsiteX225" fmla="*/ 672872 w 1337274"/>
              <a:gd name="connsiteY225" fmla="*/ 0 h 509892"/>
              <a:gd name="connsiteX226" fmla="*/ 674307 w 1337274"/>
              <a:gd name="connsiteY226" fmla="*/ 0 h 509892"/>
              <a:gd name="connsiteX227" fmla="*/ 675874 w 1337274"/>
              <a:gd name="connsiteY227" fmla="*/ 0 h 509892"/>
              <a:gd name="connsiteX228" fmla="*/ 676491 w 1337274"/>
              <a:gd name="connsiteY228" fmla="*/ 0 h 509892"/>
              <a:gd name="connsiteX229" fmla="*/ 678737 w 1337274"/>
              <a:gd name="connsiteY229" fmla="*/ 0 h 509892"/>
              <a:gd name="connsiteX230" fmla="*/ 680862 w 1337274"/>
              <a:gd name="connsiteY230" fmla="*/ 0 h 509892"/>
              <a:gd name="connsiteX231" fmla="*/ 681067 w 1337274"/>
              <a:gd name="connsiteY231" fmla="*/ 0 h 509892"/>
              <a:gd name="connsiteX232" fmla="*/ 682801 w 1337274"/>
              <a:gd name="connsiteY232" fmla="*/ 0 h 509892"/>
              <a:gd name="connsiteX233" fmla="*/ 684384 w 1337274"/>
              <a:gd name="connsiteY233" fmla="*/ 0 h 509892"/>
              <a:gd name="connsiteX234" fmla="*/ 685335 w 1337274"/>
              <a:gd name="connsiteY234" fmla="*/ 0 h 509892"/>
              <a:gd name="connsiteX235" fmla="*/ 687663 w 1337274"/>
              <a:gd name="connsiteY235" fmla="*/ 0 h 509892"/>
              <a:gd name="connsiteX236" fmla="*/ 688167 w 1337274"/>
              <a:gd name="connsiteY236" fmla="*/ 0 h 509892"/>
              <a:gd name="connsiteX237" fmla="*/ 690971 w 1337274"/>
              <a:gd name="connsiteY237" fmla="*/ 0 h 509892"/>
              <a:gd name="connsiteX238" fmla="*/ 690981 w 1337274"/>
              <a:gd name="connsiteY238" fmla="*/ 0 h 509892"/>
              <a:gd name="connsiteX239" fmla="*/ 692539 w 1337274"/>
              <a:gd name="connsiteY239" fmla="*/ 0 h 509892"/>
              <a:gd name="connsiteX240" fmla="*/ 693828 w 1337274"/>
              <a:gd name="connsiteY240" fmla="*/ 0 h 509892"/>
              <a:gd name="connsiteX241" fmla="*/ 696157 w 1337274"/>
              <a:gd name="connsiteY241" fmla="*/ 0 h 509892"/>
              <a:gd name="connsiteX242" fmla="*/ 697351 w 1337274"/>
              <a:gd name="connsiteY242" fmla="*/ 0 h 509892"/>
              <a:gd name="connsiteX243" fmla="*/ 699465 w 1337274"/>
              <a:gd name="connsiteY243" fmla="*/ 0 h 509892"/>
              <a:gd name="connsiteX244" fmla="*/ 699474 w 1337274"/>
              <a:gd name="connsiteY244" fmla="*/ 0 h 509892"/>
              <a:gd name="connsiteX245" fmla="*/ 701722 w 1337274"/>
              <a:gd name="connsiteY245" fmla="*/ 0 h 509892"/>
              <a:gd name="connsiteX246" fmla="*/ 701999 w 1337274"/>
              <a:gd name="connsiteY246" fmla="*/ 0 h 509892"/>
              <a:gd name="connsiteX247" fmla="*/ 703938 w 1337274"/>
              <a:gd name="connsiteY247" fmla="*/ 0 h 509892"/>
              <a:gd name="connsiteX248" fmla="*/ 703947 w 1337274"/>
              <a:gd name="connsiteY248" fmla="*/ 0 h 509892"/>
              <a:gd name="connsiteX249" fmla="*/ 706062 w 1337274"/>
              <a:gd name="connsiteY249" fmla="*/ 0 h 509892"/>
              <a:gd name="connsiteX250" fmla="*/ 708308 w 1337274"/>
              <a:gd name="connsiteY250" fmla="*/ 0 h 509892"/>
              <a:gd name="connsiteX251" fmla="*/ 708319 w 1337274"/>
              <a:gd name="connsiteY251" fmla="*/ 0 h 509892"/>
              <a:gd name="connsiteX252" fmla="*/ 710493 w 1337274"/>
              <a:gd name="connsiteY252" fmla="*/ 0 h 509892"/>
              <a:gd name="connsiteX253" fmla="*/ 711927 w 1337274"/>
              <a:gd name="connsiteY253" fmla="*/ 0 h 509892"/>
              <a:gd name="connsiteX254" fmla="*/ 712431 w 1337274"/>
              <a:gd name="connsiteY254" fmla="*/ 0 h 509892"/>
              <a:gd name="connsiteX255" fmla="*/ 712441 w 1337274"/>
              <a:gd name="connsiteY255" fmla="*/ 0 h 509892"/>
              <a:gd name="connsiteX256" fmla="*/ 715245 w 1337274"/>
              <a:gd name="connsiteY256" fmla="*/ 0 h 509892"/>
              <a:gd name="connsiteX257" fmla="*/ 716802 w 1337274"/>
              <a:gd name="connsiteY257" fmla="*/ 0 h 509892"/>
              <a:gd name="connsiteX258" fmla="*/ 716813 w 1337274"/>
              <a:gd name="connsiteY258" fmla="*/ 0 h 509892"/>
              <a:gd name="connsiteX259" fmla="*/ 717089 w 1337274"/>
              <a:gd name="connsiteY259" fmla="*/ 0 h 509892"/>
              <a:gd name="connsiteX260" fmla="*/ 719027 w 1337274"/>
              <a:gd name="connsiteY260" fmla="*/ 0 h 509892"/>
              <a:gd name="connsiteX261" fmla="*/ 720612 w 1337274"/>
              <a:gd name="connsiteY261" fmla="*/ 0 h 509892"/>
              <a:gd name="connsiteX262" fmla="*/ 723398 w 1337274"/>
              <a:gd name="connsiteY262" fmla="*/ 0 h 509892"/>
              <a:gd name="connsiteX263" fmla="*/ 724983 w 1337274"/>
              <a:gd name="connsiteY263" fmla="*/ 0 h 509892"/>
              <a:gd name="connsiteX264" fmla="*/ 726921 w 1337274"/>
              <a:gd name="connsiteY264" fmla="*/ 0 h 509892"/>
              <a:gd name="connsiteX265" fmla="*/ 728591 w 1337274"/>
              <a:gd name="connsiteY265" fmla="*/ 0 h 509892"/>
              <a:gd name="connsiteX266" fmla="*/ 728602 w 1337274"/>
              <a:gd name="connsiteY266" fmla="*/ 0 h 509892"/>
              <a:gd name="connsiteX267" fmla="*/ 729106 w 1337274"/>
              <a:gd name="connsiteY267" fmla="*/ 0 h 509892"/>
              <a:gd name="connsiteX268" fmla="*/ 730541 w 1337274"/>
              <a:gd name="connsiteY268" fmla="*/ 0 h 509892"/>
              <a:gd name="connsiteX269" fmla="*/ 731909 w 1337274"/>
              <a:gd name="connsiteY269" fmla="*/ 0 h 509892"/>
              <a:gd name="connsiteX270" fmla="*/ 733476 w 1337274"/>
              <a:gd name="connsiteY270" fmla="*/ 0 h 509892"/>
              <a:gd name="connsiteX271" fmla="*/ 734911 w 1337274"/>
              <a:gd name="connsiteY271" fmla="*/ 0 h 509892"/>
              <a:gd name="connsiteX272" fmla="*/ 735187 w 1337274"/>
              <a:gd name="connsiteY272" fmla="*/ 0 h 509892"/>
              <a:gd name="connsiteX273" fmla="*/ 735415 w 1337274"/>
              <a:gd name="connsiteY273" fmla="*/ 0 h 509892"/>
              <a:gd name="connsiteX274" fmla="*/ 735692 w 1337274"/>
              <a:gd name="connsiteY274" fmla="*/ 0 h 509892"/>
              <a:gd name="connsiteX275" fmla="*/ 735702 w 1337274"/>
              <a:gd name="connsiteY275" fmla="*/ 0 h 509892"/>
              <a:gd name="connsiteX276" fmla="*/ 738506 w 1337274"/>
              <a:gd name="connsiteY276" fmla="*/ 0 h 509892"/>
              <a:gd name="connsiteX277" fmla="*/ 740063 w 1337274"/>
              <a:gd name="connsiteY277" fmla="*/ 0 h 509892"/>
              <a:gd name="connsiteX278" fmla="*/ 740074 w 1337274"/>
              <a:gd name="connsiteY278" fmla="*/ 0 h 509892"/>
              <a:gd name="connsiteX279" fmla="*/ 742011 w 1337274"/>
              <a:gd name="connsiteY279" fmla="*/ 0 h 509892"/>
              <a:gd name="connsiteX280" fmla="*/ 743681 w 1337274"/>
              <a:gd name="connsiteY280" fmla="*/ 0 h 509892"/>
              <a:gd name="connsiteX281" fmla="*/ 744876 w 1337274"/>
              <a:gd name="connsiteY281" fmla="*/ 0 h 509892"/>
              <a:gd name="connsiteX282" fmla="*/ 746999 w 1337274"/>
              <a:gd name="connsiteY282" fmla="*/ 0 h 509892"/>
              <a:gd name="connsiteX283" fmla="*/ 747204 w 1337274"/>
              <a:gd name="connsiteY283" fmla="*/ 0 h 509892"/>
              <a:gd name="connsiteX284" fmla="*/ 749246 w 1337274"/>
              <a:gd name="connsiteY284" fmla="*/ 0 h 509892"/>
              <a:gd name="connsiteX285" fmla="*/ 751472 w 1337274"/>
              <a:gd name="connsiteY285" fmla="*/ 0 h 509892"/>
              <a:gd name="connsiteX286" fmla="*/ 751576 w 1337274"/>
              <a:gd name="connsiteY286" fmla="*/ 0 h 509892"/>
              <a:gd name="connsiteX287" fmla="*/ 753801 w 1337274"/>
              <a:gd name="connsiteY287" fmla="*/ 0 h 509892"/>
              <a:gd name="connsiteX288" fmla="*/ 755843 w 1337274"/>
              <a:gd name="connsiteY288" fmla="*/ 0 h 509892"/>
              <a:gd name="connsiteX289" fmla="*/ 758172 w 1337274"/>
              <a:gd name="connsiteY289" fmla="*/ 0 h 509892"/>
              <a:gd name="connsiteX290" fmla="*/ 758676 w 1337274"/>
              <a:gd name="connsiteY290" fmla="*/ 0 h 509892"/>
              <a:gd name="connsiteX291" fmla="*/ 759966 w 1337274"/>
              <a:gd name="connsiteY291" fmla="*/ 0 h 509892"/>
              <a:gd name="connsiteX292" fmla="*/ 762295 w 1337274"/>
              <a:gd name="connsiteY292" fmla="*/ 0 h 509892"/>
              <a:gd name="connsiteX293" fmla="*/ 764337 w 1337274"/>
              <a:gd name="connsiteY293" fmla="*/ 0 h 509892"/>
              <a:gd name="connsiteX294" fmla="*/ 764543 w 1337274"/>
              <a:gd name="connsiteY294" fmla="*/ 0 h 509892"/>
              <a:gd name="connsiteX295" fmla="*/ 766666 w 1337274"/>
              <a:gd name="connsiteY295" fmla="*/ 0 h 509892"/>
              <a:gd name="connsiteX296" fmla="*/ 767860 w 1337274"/>
              <a:gd name="connsiteY296" fmla="*/ 0 h 509892"/>
              <a:gd name="connsiteX297" fmla="*/ 768137 w 1337274"/>
              <a:gd name="connsiteY297" fmla="*/ 0 h 509892"/>
              <a:gd name="connsiteX298" fmla="*/ 771139 w 1337274"/>
              <a:gd name="connsiteY298" fmla="*/ 0 h 509892"/>
              <a:gd name="connsiteX299" fmla="*/ 772508 w 1337274"/>
              <a:gd name="connsiteY299" fmla="*/ 0 h 509892"/>
              <a:gd name="connsiteX300" fmla="*/ 774446 w 1337274"/>
              <a:gd name="connsiteY300" fmla="*/ 0 h 509892"/>
              <a:gd name="connsiteX301" fmla="*/ 774456 w 1337274"/>
              <a:gd name="connsiteY301" fmla="*/ 0 h 509892"/>
              <a:gd name="connsiteX302" fmla="*/ 776126 w 1337274"/>
              <a:gd name="connsiteY302" fmla="*/ 0 h 509892"/>
              <a:gd name="connsiteX303" fmla="*/ 776631 w 1337274"/>
              <a:gd name="connsiteY303" fmla="*/ 0 h 509892"/>
              <a:gd name="connsiteX304" fmla="*/ 778066 w 1337274"/>
              <a:gd name="connsiteY304" fmla="*/ 0 h 509892"/>
              <a:gd name="connsiteX305" fmla="*/ 779633 w 1337274"/>
              <a:gd name="connsiteY305" fmla="*/ 0 h 509892"/>
              <a:gd name="connsiteX306" fmla="*/ 781001 w 1337274"/>
              <a:gd name="connsiteY306" fmla="*/ 0 h 509892"/>
              <a:gd name="connsiteX307" fmla="*/ 782435 w 1337274"/>
              <a:gd name="connsiteY307" fmla="*/ 0 h 509892"/>
              <a:gd name="connsiteX308" fmla="*/ 782940 w 1337274"/>
              <a:gd name="connsiteY308" fmla="*/ 0 h 509892"/>
              <a:gd name="connsiteX309" fmla="*/ 782950 w 1337274"/>
              <a:gd name="connsiteY309" fmla="*/ 0 h 509892"/>
              <a:gd name="connsiteX310" fmla="*/ 783227 w 1337274"/>
              <a:gd name="connsiteY310" fmla="*/ 0 h 509892"/>
              <a:gd name="connsiteX311" fmla="*/ 787598 w 1337274"/>
              <a:gd name="connsiteY311" fmla="*/ 0 h 509892"/>
              <a:gd name="connsiteX312" fmla="*/ 787803 w 1337274"/>
              <a:gd name="connsiteY312" fmla="*/ 0 h 509892"/>
              <a:gd name="connsiteX313" fmla="*/ 789536 w 1337274"/>
              <a:gd name="connsiteY313" fmla="*/ 0 h 509892"/>
              <a:gd name="connsiteX314" fmla="*/ 791120 w 1337274"/>
              <a:gd name="connsiteY314" fmla="*/ 0 h 509892"/>
              <a:gd name="connsiteX315" fmla="*/ 794729 w 1337274"/>
              <a:gd name="connsiteY315" fmla="*/ 0 h 509892"/>
              <a:gd name="connsiteX316" fmla="*/ 794739 w 1337274"/>
              <a:gd name="connsiteY316" fmla="*/ 0 h 509892"/>
              <a:gd name="connsiteX317" fmla="*/ 796297 w 1337274"/>
              <a:gd name="connsiteY317" fmla="*/ 0 h 509892"/>
              <a:gd name="connsiteX318" fmla="*/ 799100 w 1337274"/>
              <a:gd name="connsiteY318" fmla="*/ 0 h 509892"/>
              <a:gd name="connsiteX319" fmla="*/ 799111 w 1337274"/>
              <a:gd name="connsiteY319" fmla="*/ 0 h 509892"/>
              <a:gd name="connsiteX320" fmla="*/ 799614 w 1337274"/>
              <a:gd name="connsiteY320" fmla="*/ 0 h 509892"/>
              <a:gd name="connsiteX321" fmla="*/ 801049 w 1337274"/>
              <a:gd name="connsiteY321" fmla="*/ 0 h 509892"/>
              <a:gd name="connsiteX322" fmla="*/ 801326 w 1337274"/>
              <a:gd name="connsiteY322" fmla="*/ 0 h 509892"/>
              <a:gd name="connsiteX323" fmla="*/ 802893 w 1337274"/>
              <a:gd name="connsiteY323" fmla="*/ 0 h 509892"/>
              <a:gd name="connsiteX324" fmla="*/ 805696 w 1337274"/>
              <a:gd name="connsiteY324" fmla="*/ 0 h 509892"/>
              <a:gd name="connsiteX325" fmla="*/ 806201 w 1337274"/>
              <a:gd name="connsiteY325" fmla="*/ 0 h 509892"/>
              <a:gd name="connsiteX326" fmla="*/ 806210 w 1337274"/>
              <a:gd name="connsiteY326" fmla="*/ 0 h 509892"/>
              <a:gd name="connsiteX327" fmla="*/ 809820 w 1337274"/>
              <a:gd name="connsiteY327" fmla="*/ 0 h 509892"/>
              <a:gd name="connsiteX328" fmla="*/ 812066 w 1337274"/>
              <a:gd name="connsiteY328" fmla="*/ 0 h 509892"/>
              <a:gd name="connsiteX329" fmla="*/ 812077 w 1337274"/>
              <a:gd name="connsiteY329" fmla="*/ 0 h 509892"/>
              <a:gd name="connsiteX330" fmla="*/ 814190 w 1337274"/>
              <a:gd name="connsiteY330" fmla="*/ 0 h 509892"/>
              <a:gd name="connsiteX331" fmla="*/ 815385 w 1337274"/>
              <a:gd name="connsiteY331" fmla="*/ 0 h 509892"/>
              <a:gd name="connsiteX332" fmla="*/ 817713 w 1337274"/>
              <a:gd name="connsiteY332" fmla="*/ 0 h 509892"/>
              <a:gd name="connsiteX333" fmla="*/ 818663 w 1337274"/>
              <a:gd name="connsiteY333" fmla="*/ 0 h 509892"/>
              <a:gd name="connsiteX334" fmla="*/ 821981 w 1337274"/>
              <a:gd name="connsiteY334" fmla="*/ 0 h 509892"/>
              <a:gd name="connsiteX335" fmla="*/ 824310 w 1337274"/>
              <a:gd name="connsiteY335" fmla="*/ 0 h 509892"/>
              <a:gd name="connsiteX336" fmla="*/ 827156 w 1337274"/>
              <a:gd name="connsiteY336" fmla="*/ 0 h 509892"/>
              <a:gd name="connsiteX337" fmla="*/ 828741 w 1337274"/>
              <a:gd name="connsiteY337" fmla="*/ 0 h 509892"/>
              <a:gd name="connsiteX338" fmla="*/ 830475 w 1337274"/>
              <a:gd name="connsiteY338" fmla="*/ 0 h 509892"/>
              <a:gd name="connsiteX339" fmla="*/ 830679 w 1337274"/>
              <a:gd name="connsiteY339" fmla="*/ 0 h 509892"/>
              <a:gd name="connsiteX340" fmla="*/ 832804 w 1337274"/>
              <a:gd name="connsiteY340" fmla="*/ 0 h 509892"/>
              <a:gd name="connsiteX341" fmla="*/ 835051 w 1337274"/>
              <a:gd name="connsiteY341" fmla="*/ 0 h 509892"/>
              <a:gd name="connsiteX342" fmla="*/ 835327 w 1337274"/>
              <a:gd name="connsiteY342" fmla="*/ 0 h 509892"/>
              <a:gd name="connsiteX343" fmla="*/ 835338 w 1337274"/>
              <a:gd name="connsiteY343" fmla="*/ 0 h 509892"/>
              <a:gd name="connsiteX344" fmla="*/ 837275 w 1337274"/>
              <a:gd name="connsiteY344" fmla="*/ 0 h 509892"/>
              <a:gd name="connsiteX345" fmla="*/ 838645 w 1337274"/>
              <a:gd name="connsiteY345" fmla="*/ 0 h 509892"/>
              <a:gd name="connsiteX346" fmla="*/ 841647 w 1337274"/>
              <a:gd name="connsiteY346" fmla="*/ 0 h 509892"/>
              <a:gd name="connsiteX347" fmla="*/ 842264 w 1337274"/>
              <a:gd name="connsiteY347" fmla="*/ 0 h 509892"/>
              <a:gd name="connsiteX348" fmla="*/ 843821 w 1337274"/>
              <a:gd name="connsiteY348" fmla="*/ 0 h 509892"/>
              <a:gd name="connsiteX349" fmla="*/ 843832 w 1337274"/>
              <a:gd name="connsiteY349" fmla="*/ 0 h 509892"/>
              <a:gd name="connsiteX350" fmla="*/ 845769 w 1337274"/>
              <a:gd name="connsiteY350" fmla="*/ 0 h 509892"/>
              <a:gd name="connsiteX351" fmla="*/ 846635 w 1337274"/>
              <a:gd name="connsiteY351" fmla="*/ 0 h 509892"/>
              <a:gd name="connsiteX352" fmla="*/ 847139 w 1337274"/>
              <a:gd name="connsiteY352" fmla="*/ 0 h 509892"/>
              <a:gd name="connsiteX353" fmla="*/ 848574 w 1337274"/>
              <a:gd name="connsiteY353" fmla="*/ 0 h 509892"/>
              <a:gd name="connsiteX354" fmla="*/ 850141 w 1337274"/>
              <a:gd name="connsiteY354" fmla="*/ 0 h 509892"/>
              <a:gd name="connsiteX355" fmla="*/ 850417 w 1337274"/>
              <a:gd name="connsiteY355" fmla="*/ 0 h 509892"/>
              <a:gd name="connsiteX356" fmla="*/ 853735 w 1337274"/>
              <a:gd name="connsiteY356" fmla="*/ 0 h 509892"/>
              <a:gd name="connsiteX357" fmla="*/ 853940 w 1337274"/>
              <a:gd name="connsiteY357" fmla="*/ 0 h 509892"/>
              <a:gd name="connsiteX358" fmla="*/ 858312 w 1337274"/>
              <a:gd name="connsiteY358" fmla="*/ 0 h 509892"/>
              <a:gd name="connsiteX359" fmla="*/ 859601 w 1337274"/>
              <a:gd name="connsiteY359" fmla="*/ 0 h 509892"/>
              <a:gd name="connsiteX360" fmla="*/ 861930 w 1337274"/>
              <a:gd name="connsiteY360" fmla="*/ 0 h 509892"/>
              <a:gd name="connsiteX361" fmla="*/ 862434 w 1337274"/>
              <a:gd name="connsiteY361" fmla="*/ 0 h 509892"/>
              <a:gd name="connsiteX362" fmla="*/ 865238 w 1337274"/>
              <a:gd name="connsiteY362" fmla="*/ 0 h 509892"/>
              <a:gd name="connsiteX363" fmla="*/ 865247 w 1337274"/>
              <a:gd name="connsiteY363" fmla="*/ 0 h 509892"/>
              <a:gd name="connsiteX364" fmla="*/ 866806 w 1337274"/>
              <a:gd name="connsiteY364" fmla="*/ 0 h 509892"/>
              <a:gd name="connsiteX365" fmla="*/ 869030 w 1337274"/>
              <a:gd name="connsiteY365" fmla="*/ 0 h 509892"/>
              <a:gd name="connsiteX366" fmla="*/ 871835 w 1337274"/>
              <a:gd name="connsiteY366" fmla="*/ 0 h 509892"/>
              <a:gd name="connsiteX367" fmla="*/ 873402 w 1337274"/>
              <a:gd name="connsiteY367" fmla="*/ 0 h 509892"/>
              <a:gd name="connsiteX368" fmla="*/ 876266 w 1337274"/>
              <a:gd name="connsiteY368" fmla="*/ 0 h 509892"/>
              <a:gd name="connsiteX369" fmla="*/ 878204 w 1337274"/>
              <a:gd name="connsiteY369" fmla="*/ 0 h 509892"/>
              <a:gd name="connsiteX370" fmla="*/ 878214 w 1337274"/>
              <a:gd name="connsiteY370" fmla="*/ 0 h 509892"/>
              <a:gd name="connsiteX371" fmla="*/ 880329 w 1337274"/>
              <a:gd name="connsiteY371" fmla="*/ 0 h 509892"/>
              <a:gd name="connsiteX372" fmla="*/ 882575 w 1337274"/>
              <a:gd name="connsiteY372" fmla="*/ 0 h 509892"/>
              <a:gd name="connsiteX373" fmla="*/ 882586 w 1337274"/>
              <a:gd name="connsiteY373" fmla="*/ 0 h 509892"/>
              <a:gd name="connsiteX374" fmla="*/ 882862 w 1337274"/>
              <a:gd name="connsiteY374" fmla="*/ 0 h 509892"/>
              <a:gd name="connsiteX375" fmla="*/ 884800 w 1337274"/>
              <a:gd name="connsiteY375" fmla="*/ 0 h 509892"/>
              <a:gd name="connsiteX376" fmla="*/ 889171 w 1337274"/>
              <a:gd name="connsiteY376" fmla="*/ 0 h 509892"/>
              <a:gd name="connsiteX377" fmla="*/ 891356 w 1337274"/>
              <a:gd name="connsiteY377" fmla="*/ 0 h 509892"/>
              <a:gd name="connsiteX378" fmla="*/ 893294 w 1337274"/>
              <a:gd name="connsiteY378" fmla="*/ 0 h 509892"/>
              <a:gd name="connsiteX379" fmla="*/ 894879 w 1337274"/>
              <a:gd name="connsiteY379" fmla="*/ 0 h 509892"/>
              <a:gd name="connsiteX380" fmla="*/ 897665 w 1337274"/>
              <a:gd name="connsiteY380" fmla="*/ 0 h 509892"/>
              <a:gd name="connsiteX381" fmla="*/ 899249 w 1337274"/>
              <a:gd name="connsiteY381" fmla="*/ 0 h 509892"/>
              <a:gd name="connsiteX382" fmla="*/ 901188 w 1337274"/>
              <a:gd name="connsiteY382" fmla="*/ 0 h 509892"/>
              <a:gd name="connsiteX383" fmla="*/ 901465 w 1337274"/>
              <a:gd name="connsiteY383" fmla="*/ 0 h 509892"/>
              <a:gd name="connsiteX384" fmla="*/ 901475 w 1337274"/>
              <a:gd name="connsiteY384" fmla="*/ 0 h 509892"/>
              <a:gd name="connsiteX385" fmla="*/ 905836 w 1337274"/>
              <a:gd name="connsiteY385" fmla="*/ 0 h 509892"/>
              <a:gd name="connsiteX386" fmla="*/ 905847 w 1337274"/>
              <a:gd name="connsiteY386" fmla="*/ 0 h 509892"/>
              <a:gd name="connsiteX387" fmla="*/ 907784 w 1337274"/>
              <a:gd name="connsiteY387" fmla="*/ 0 h 509892"/>
              <a:gd name="connsiteX388" fmla="*/ 909454 w 1337274"/>
              <a:gd name="connsiteY388" fmla="*/ 0 h 509892"/>
              <a:gd name="connsiteX389" fmla="*/ 909959 w 1337274"/>
              <a:gd name="connsiteY389" fmla="*/ 0 h 509892"/>
              <a:gd name="connsiteX390" fmla="*/ 909968 w 1337274"/>
              <a:gd name="connsiteY390" fmla="*/ 0 h 509892"/>
              <a:gd name="connsiteX391" fmla="*/ 912772 w 1337274"/>
              <a:gd name="connsiteY391" fmla="*/ 0 h 509892"/>
              <a:gd name="connsiteX392" fmla="*/ 914330 w 1337274"/>
              <a:gd name="connsiteY392" fmla="*/ 0 h 509892"/>
              <a:gd name="connsiteX393" fmla="*/ 914341 w 1337274"/>
              <a:gd name="connsiteY393" fmla="*/ 0 h 509892"/>
              <a:gd name="connsiteX394" fmla="*/ 916278 w 1337274"/>
              <a:gd name="connsiteY394" fmla="*/ 0 h 509892"/>
              <a:gd name="connsiteX395" fmla="*/ 916555 w 1337274"/>
              <a:gd name="connsiteY395" fmla="*/ 0 h 509892"/>
              <a:gd name="connsiteX396" fmla="*/ 924449 w 1337274"/>
              <a:gd name="connsiteY396" fmla="*/ 0 h 509892"/>
              <a:gd name="connsiteX397" fmla="*/ 925739 w 1337274"/>
              <a:gd name="connsiteY397" fmla="*/ 0 h 509892"/>
              <a:gd name="connsiteX398" fmla="*/ 928068 w 1337274"/>
              <a:gd name="connsiteY398" fmla="*/ 0 h 509892"/>
              <a:gd name="connsiteX399" fmla="*/ 930110 w 1337274"/>
              <a:gd name="connsiteY399" fmla="*/ 0 h 509892"/>
              <a:gd name="connsiteX400" fmla="*/ 932439 w 1337274"/>
              <a:gd name="connsiteY400" fmla="*/ 0 h 509892"/>
              <a:gd name="connsiteX401" fmla="*/ 942404 w 1337274"/>
              <a:gd name="connsiteY401" fmla="*/ 0 h 509892"/>
              <a:gd name="connsiteX402" fmla="*/ 945406 w 1337274"/>
              <a:gd name="connsiteY402" fmla="*/ 0 h 509892"/>
              <a:gd name="connsiteX403" fmla="*/ 946774 w 1337274"/>
              <a:gd name="connsiteY403" fmla="*/ 0 h 509892"/>
              <a:gd name="connsiteX404" fmla="*/ 948713 w 1337274"/>
              <a:gd name="connsiteY404" fmla="*/ 0 h 509892"/>
              <a:gd name="connsiteX405" fmla="*/ 948723 w 1337274"/>
              <a:gd name="connsiteY405" fmla="*/ 0 h 509892"/>
              <a:gd name="connsiteX406" fmla="*/ 949000 w 1337274"/>
              <a:gd name="connsiteY406" fmla="*/ 0 h 509892"/>
              <a:gd name="connsiteX407" fmla="*/ 953371 w 1337274"/>
              <a:gd name="connsiteY407" fmla="*/ 0 h 509892"/>
              <a:gd name="connsiteX408" fmla="*/ 955309 w 1337274"/>
              <a:gd name="connsiteY408" fmla="*/ 0 h 509892"/>
              <a:gd name="connsiteX409" fmla="*/ 962070 w 1337274"/>
              <a:gd name="connsiteY409" fmla="*/ 0 h 509892"/>
              <a:gd name="connsiteX410" fmla="*/ 965387 w 1337274"/>
              <a:gd name="connsiteY410" fmla="*/ 0 h 509892"/>
              <a:gd name="connsiteX411" fmla="*/ 968666 w 1337274"/>
              <a:gd name="connsiteY411" fmla="*/ 0 h 509892"/>
              <a:gd name="connsiteX412" fmla="*/ 971974 w 1337274"/>
              <a:gd name="connsiteY412" fmla="*/ 0 h 509892"/>
              <a:gd name="connsiteX413" fmla="*/ 971983 w 1337274"/>
              <a:gd name="connsiteY413" fmla="*/ 0 h 509892"/>
              <a:gd name="connsiteX414" fmla="*/ 975593 w 1337274"/>
              <a:gd name="connsiteY414" fmla="*/ 0 h 509892"/>
              <a:gd name="connsiteX415" fmla="*/ 979963 w 1337274"/>
              <a:gd name="connsiteY415" fmla="*/ 0 h 509892"/>
              <a:gd name="connsiteX416" fmla="*/ 992929 w 1337274"/>
              <a:gd name="connsiteY416" fmla="*/ 0 h 509892"/>
              <a:gd name="connsiteX417" fmla="*/ 996248 w 1337274"/>
              <a:gd name="connsiteY417" fmla="*/ 0 h 509892"/>
              <a:gd name="connsiteX418" fmla="*/ 998577 w 1337274"/>
              <a:gd name="connsiteY418" fmla="*/ 0 h 509892"/>
              <a:gd name="connsiteX419" fmla="*/ 1009594 w 1337274"/>
              <a:gd name="connsiteY419" fmla="*/ 0 h 509892"/>
              <a:gd name="connsiteX420" fmla="*/ 1009605 w 1337274"/>
              <a:gd name="connsiteY420" fmla="*/ 0 h 509892"/>
              <a:gd name="connsiteX421" fmla="*/ 1011542 w 1337274"/>
              <a:gd name="connsiteY421" fmla="*/ 0 h 509892"/>
              <a:gd name="connsiteX422" fmla="*/ 1012912 w 1337274"/>
              <a:gd name="connsiteY422" fmla="*/ 0 h 509892"/>
              <a:gd name="connsiteX423" fmla="*/ 1015914 w 1337274"/>
              <a:gd name="connsiteY423" fmla="*/ 0 h 509892"/>
              <a:gd name="connsiteX424" fmla="*/ 1016190 w 1337274"/>
              <a:gd name="connsiteY424" fmla="*/ 0 h 509892"/>
              <a:gd name="connsiteX425" fmla="*/ 1019508 w 1337274"/>
              <a:gd name="connsiteY425" fmla="*/ 0 h 509892"/>
              <a:gd name="connsiteX426" fmla="*/ 1028207 w 1337274"/>
              <a:gd name="connsiteY426" fmla="*/ 0 h 509892"/>
              <a:gd name="connsiteX427" fmla="*/ 1032579 w 1337274"/>
              <a:gd name="connsiteY427" fmla="*/ 0 h 509892"/>
              <a:gd name="connsiteX428" fmla="*/ 1034803 w 1337274"/>
              <a:gd name="connsiteY428" fmla="*/ 0 h 509892"/>
              <a:gd name="connsiteX429" fmla="*/ 1039175 w 1337274"/>
              <a:gd name="connsiteY429" fmla="*/ 0 h 509892"/>
              <a:gd name="connsiteX430" fmla="*/ 1046102 w 1337274"/>
              <a:gd name="connsiteY430" fmla="*/ 0 h 509892"/>
              <a:gd name="connsiteX431" fmla="*/ 1057129 w 1337274"/>
              <a:gd name="connsiteY431" fmla="*/ 0 h 509892"/>
              <a:gd name="connsiteX432" fmla="*/ 1059067 w 1337274"/>
              <a:gd name="connsiteY432" fmla="*/ 0 h 509892"/>
              <a:gd name="connsiteX433" fmla="*/ 1063438 w 1337274"/>
              <a:gd name="connsiteY433" fmla="*/ 0 h 509892"/>
              <a:gd name="connsiteX434" fmla="*/ 1075732 w 1337274"/>
              <a:gd name="connsiteY434" fmla="*/ 0 h 509892"/>
              <a:gd name="connsiteX435" fmla="*/ 1075741 w 1337274"/>
              <a:gd name="connsiteY435" fmla="*/ 0 h 509892"/>
              <a:gd name="connsiteX436" fmla="*/ 1080103 w 1337274"/>
              <a:gd name="connsiteY436" fmla="*/ 0 h 509892"/>
              <a:gd name="connsiteX437" fmla="*/ 1080114 w 1337274"/>
              <a:gd name="connsiteY437" fmla="*/ 0 h 509892"/>
              <a:gd name="connsiteX438" fmla="*/ 1082051 w 1337274"/>
              <a:gd name="connsiteY438" fmla="*/ 0 h 509892"/>
              <a:gd name="connsiteX439" fmla="*/ 1082328 w 1337274"/>
              <a:gd name="connsiteY439" fmla="*/ 0 h 509892"/>
              <a:gd name="connsiteX440" fmla="*/ 1337274 w 1337274"/>
              <a:gd name="connsiteY440" fmla="*/ 254947 h 509892"/>
              <a:gd name="connsiteX441" fmla="*/ 1337273 w 1337274"/>
              <a:gd name="connsiteY441" fmla="*/ 254947 h 509892"/>
              <a:gd name="connsiteX442" fmla="*/ 1082328 w 1337274"/>
              <a:gd name="connsiteY442" fmla="*/ 509892 h 509892"/>
              <a:gd name="connsiteX443" fmla="*/ 1080115 w 1337274"/>
              <a:gd name="connsiteY443" fmla="*/ 509892 h 509892"/>
              <a:gd name="connsiteX444" fmla="*/ 1080112 w 1337274"/>
              <a:gd name="connsiteY444" fmla="*/ 509892 h 509892"/>
              <a:gd name="connsiteX445" fmla="*/ 1080103 w 1337274"/>
              <a:gd name="connsiteY445" fmla="*/ 509892 h 509892"/>
              <a:gd name="connsiteX446" fmla="*/ 1080102 w 1337274"/>
              <a:gd name="connsiteY446" fmla="*/ 509892 h 509892"/>
              <a:gd name="connsiteX447" fmla="*/ 1075744 w 1337274"/>
              <a:gd name="connsiteY447" fmla="*/ 509892 h 509892"/>
              <a:gd name="connsiteX448" fmla="*/ 1075740 w 1337274"/>
              <a:gd name="connsiteY448" fmla="*/ 509892 h 509892"/>
              <a:gd name="connsiteX449" fmla="*/ 1075731 w 1337274"/>
              <a:gd name="connsiteY449" fmla="*/ 509892 h 509892"/>
              <a:gd name="connsiteX450" fmla="*/ 1057129 w 1337274"/>
              <a:gd name="connsiteY450" fmla="*/ 509892 h 509892"/>
              <a:gd name="connsiteX451" fmla="*/ 1057128 w 1337274"/>
              <a:gd name="connsiteY451" fmla="*/ 509892 h 509892"/>
              <a:gd name="connsiteX452" fmla="*/ 1046101 w 1337274"/>
              <a:gd name="connsiteY452" fmla="*/ 509892 h 509892"/>
              <a:gd name="connsiteX453" fmla="*/ 1039177 w 1337274"/>
              <a:gd name="connsiteY453" fmla="*/ 509892 h 509892"/>
              <a:gd name="connsiteX454" fmla="*/ 1039174 w 1337274"/>
              <a:gd name="connsiteY454" fmla="*/ 509892 h 509892"/>
              <a:gd name="connsiteX455" fmla="*/ 1034805 w 1337274"/>
              <a:gd name="connsiteY455" fmla="*/ 509892 h 509892"/>
              <a:gd name="connsiteX456" fmla="*/ 1034803 w 1337274"/>
              <a:gd name="connsiteY456" fmla="*/ 509892 h 509892"/>
              <a:gd name="connsiteX457" fmla="*/ 1032580 w 1337274"/>
              <a:gd name="connsiteY457" fmla="*/ 509892 h 509892"/>
              <a:gd name="connsiteX458" fmla="*/ 1032578 w 1337274"/>
              <a:gd name="connsiteY458" fmla="*/ 509892 h 509892"/>
              <a:gd name="connsiteX459" fmla="*/ 1028209 w 1337274"/>
              <a:gd name="connsiteY459" fmla="*/ 509892 h 509892"/>
              <a:gd name="connsiteX460" fmla="*/ 1028206 w 1337274"/>
              <a:gd name="connsiteY460" fmla="*/ 509892 h 509892"/>
              <a:gd name="connsiteX461" fmla="*/ 1019508 w 1337274"/>
              <a:gd name="connsiteY461" fmla="*/ 509892 h 509892"/>
              <a:gd name="connsiteX462" fmla="*/ 1019507 w 1337274"/>
              <a:gd name="connsiteY462" fmla="*/ 509892 h 509892"/>
              <a:gd name="connsiteX463" fmla="*/ 1016190 w 1337274"/>
              <a:gd name="connsiteY463" fmla="*/ 509892 h 509892"/>
              <a:gd name="connsiteX464" fmla="*/ 1016189 w 1337274"/>
              <a:gd name="connsiteY464" fmla="*/ 509892 h 509892"/>
              <a:gd name="connsiteX465" fmla="*/ 1012912 w 1337274"/>
              <a:gd name="connsiteY465" fmla="*/ 509892 h 509892"/>
              <a:gd name="connsiteX466" fmla="*/ 1012911 w 1337274"/>
              <a:gd name="connsiteY466" fmla="*/ 509892 h 509892"/>
              <a:gd name="connsiteX467" fmla="*/ 1009606 w 1337274"/>
              <a:gd name="connsiteY467" fmla="*/ 509892 h 509892"/>
              <a:gd name="connsiteX468" fmla="*/ 1009604 w 1337274"/>
              <a:gd name="connsiteY468" fmla="*/ 509892 h 509892"/>
              <a:gd name="connsiteX469" fmla="*/ 1009594 w 1337274"/>
              <a:gd name="connsiteY469" fmla="*/ 509892 h 509892"/>
              <a:gd name="connsiteX470" fmla="*/ 1009593 w 1337274"/>
              <a:gd name="connsiteY470" fmla="*/ 509892 h 509892"/>
              <a:gd name="connsiteX471" fmla="*/ 998578 w 1337274"/>
              <a:gd name="connsiteY471" fmla="*/ 509892 h 509892"/>
              <a:gd name="connsiteX472" fmla="*/ 998576 w 1337274"/>
              <a:gd name="connsiteY472" fmla="*/ 509892 h 509892"/>
              <a:gd name="connsiteX473" fmla="*/ 979963 w 1337274"/>
              <a:gd name="connsiteY473" fmla="*/ 509892 h 509892"/>
              <a:gd name="connsiteX474" fmla="*/ 975592 w 1337274"/>
              <a:gd name="connsiteY474" fmla="*/ 509892 h 509892"/>
              <a:gd name="connsiteX475" fmla="*/ 971986 w 1337274"/>
              <a:gd name="connsiteY475" fmla="*/ 509892 h 509892"/>
              <a:gd name="connsiteX476" fmla="*/ 971982 w 1337274"/>
              <a:gd name="connsiteY476" fmla="*/ 509892 h 509892"/>
              <a:gd name="connsiteX477" fmla="*/ 971973 w 1337274"/>
              <a:gd name="connsiteY477" fmla="*/ 509892 h 509892"/>
              <a:gd name="connsiteX478" fmla="*/ 968668 w 1337274"/>
              <a:gd name="connsiteY478" fmla="*/ 509892 h 509892"/>
              <a:gd name="connsiteX479" fmla="*/ 968665 w 1337274"/>
              <a:gd name="connsiteY479" fmla="*/ 509892 h 509892"/>
              <a:gd name="connsiteX480" fmla="*/ 965388 w 1337274"/>
              <a:gd name="connsiteY480" fmla="*/ 509892 h 509892"/>
              <a:gd name="connsiteX481" fmla="*/ 965386 w 1337274"/>
              <a:gd name="connsiteY481" fmla="*/ 509892 h 509892"/>
              <a:gd name="connsiteX482" fmla="*/ 962071 w 1337274"/>
              <a:gd name="connsiteY482" fmla="*/ 509892 h 509892"/>
              <a:gd name="connsiteX483" fmla="*/ 962069 w 1337274"/>
              <a:gd name="connsiteY483" fmla="*/ 509892 h 509892"/>
              <a:gd name="connsiteX484" fmla="*/ 953371 w 1337274"/>
              <a:gd name="connsiteY484" fmla="*/ 509892 h 509892"/>
              <a:gd name="connsiteX485" fmla="*/ 953370 w 1337274"/>
              <a:gd name="connsiteY485" fmla="*/ 509892 h 509892"/>
              <a:gd name="connsiteX486" fmla="*/ 949000 w 1337274"/>
              <a:gd name="connsiteY486" fmla="*/ 509892 h 509892"/>
              <a:gd name="connsiteX487" fmla="*/ 948999 w 1337274"/>
              <a:gd name="connsiteY487" fmla="*/ 509892 h 509892"/>
              <a:gd name="connsiteX488" fmla="*/ 946774 w 1337274"/>
              <a:gd name="connsiteY488" fmla="*/ 509892 h 509892"/>
              <a:gd name="connsiteX489" fmla="*/ 946773 w 1337274"/>
              <a:gd name="connsiteY489" fmla="*/ 509892 h 509892"/>
              <a:gd name="connsiteX490" fmla="*/ 942404 w 1337274"/>
              <a:gd name="connsiteY490" fmla="*/ 509892 h 509892"/>
              <a:gd name="connsiteX491" fmla="*/ 942402 w 1337274"/>
              <a:gd name="connsiteY491" fmla="*/ 509892 h 509892"/>
              <a:gd name="connsiteX492" fmla="*/ 932441 w 1337274"/>
              <a:gd name="connsiteY492" fmla="*/ 509892 h 509892"/>
              <a:gd name="connsiteX493" fmla="*/ 932439 w 1337274"/>
              <a:gd name="connsiteY493" fmla="*/ 509892 h 509892"/>
              <a:gd name="connsiteX494" fmla="*/ 928069 w 1337274"/>
              <a:gd name="connsiteY494" fmla="*/ 509892 h 509892"/>
              <a:gd name="connsiteX495" fmla="*/ 928067 w 1337274"/>
              <a:gd name="connsiteY495" fmla="*/ 509892 h 509892"/>
              <a:gd name="connsiteX496" fmla="*/ 924451 w 1337274"/>
              <a:gd name="connsiteY496" fmla="*/ 509892 h 509892"/>
              <a:gd name="connsiteX497" fmla="*/ 924448 w 1337274"/>
              <a:gd name="connsiteY497" fmla="*/ 509892 h 509892"/>
              <a:gd name="connsiteX498" fmla="*/ 916555 w 1337274"/>
              <a:gd name="connsiteY498" fmla="*/ 509892 h 509892"/>
              <a:gd name="connsiteX499" fmla="*/ 914342 w 1337274"/>
              <a:gd name="connsiteY499" fmla="*/ 509892 h 509892"/>
              <a:gd name="connsiteX500" fmla="*/ 914339 w 1337274"/>
              <a:gd name="connsiteY500" fmla="*/ 509892 h 509892"/>
              <a:gd name="connsiteX501" fmla="*/ 914330 w 1337274"/>
              <a:gd name="connsiteY501" fmla="*/ 509892 h 509892"/>
              <a:gd name="connsiteX502" fmla="*/ 914329 w 1337274"/>
              <a:gd name="connsiteY502" fmla="*/ 509892 h 509892"/>
              <a:gd name="connsiteX503" fmla="*/ 912772 w 1337274"/>
              <a:gd name="connsiteY503" fmla="*/ 509892 h 509892"/>
              <a:gd name="connsiteX504" fmla="*/ 909971 w 1337274"/>
              <a:gd name="connsiteY504" fmla="*/ 509892 h 509892"/>
              <a:gd name="connsiteX505" fmla="*/ 909967 w 1337274"/>
              <a:gd name="connsiteY505" fmla="*/ 509892 h 509892"/>
              <a:gd name="connsiteX506" fmla="*/ 909958 w 1337274"/>
              <a:gd name="connsiteY506" fmla="*/ 509892 h 509892"/>
              <a:gd name="connsiteX507" fmla="*/ 909454 w 1337274"/>
              <a:gd name="connsiteY507" fmla="*/ 509892 h 509892"/>
              <a:gd name="connsiteX508" fmla="*/ 905848 w 1337274"/>
              <a:gd name="connsiteY508" fmla="*/ 509892 h 509892"/>
              <a:gd name="connsiteX509" fmla="*/ 905846 w 1337274"/>
              <a:gd name="connsiteY509" fmla="*/ 509892 h 509892"/>
              <a:gd name="connsiteX510" fmla="*/ 905836 w 1337274"/>
              <a:gd name="connsiteY510" fmla="*/ 509892 h 509892"/>
              <a:gd name="connsiteX511" fmla="*/ 905835 w 1337274"/>
              <a:gd name="connsiteY511" fmla="*/ 509892 h 509892"/>
              <a:gd name="connsiteX512" fmla="*/ 901477 w 1337274"/>
              <a:gd name="connsiteY512" fmla="*/ 509892 h 509892"/>
              <a:gd name="connsiteX513" fmla="*/ 901474 w 1337274"/>
              <a:gd name="connsiteY513" fmla="*/ 509892 h 509892"/>
              <a:gd name="connsiteX514" fmla="*/ 901464 w 1337274"/>
              <a:gd name="connsiteY514" fmla="*/ 509892 h 509892"/>
              <a:gd name="connsiteX515" fmla="*/ 899251 w 1337274"/>
              <a:gd name="connsiteY515" fmla="*/ 509892 h 509892"/>
              <a:gd name="connsiteX516" fmla="*/ 899249 w 1337274"/>
              <a:gd name="connsiteY516" fmla="*/ 509892 h 509892"/>
              <a:gd name="connsiteX517" fmla="*/ 894880 w 1337274"/>
              <a:gd name="connsiteY517" fmla="*/ 509892 h 509892"/>
              <a:gd name="connsiteX518" fmla="*/ 894877 w 1337274"/>
              <a:gd name="connsiteY518" fmla="*/ 509892 h 509892"/>
              <a:gd name="connsiteX519" fmla="*/ 891356 w 1337274"/>
              <a:gd name="connsiteY519" fmla="*/ 509892 h 509892"/>
              <a:gd name="connsiteX520" fmla="*/ 891355 w 1337274"/>
              <a:gd name="connsiteY520" fmla="*/ 509892 h 509892"/>
              <a:gd name="connsiteX521" fmla="*/ 882862 w 1337274"/>
              <a:gd name="connsiteY521" fmla="*/ 509892 h 509892"/>
              <a:gd name="connsiteX522" fmla="*/ 882861 w 1337274"/>
              <a:gd name="connsiteY522" fmla="*/ 509892 h 509892"/>
              <a:gd name="connsiteX523" fmla="*/ 880328 w 1337274"/>
              <a:gd name="connsiteY523" fmla="*/ 509892 h 509892"/>
              <a:gd name="connsiteX524" fmla="*/ 876266 w 1337274"/>
              <a:gd name="connsiteY524" fmla="*/ 509892 h 509892"/>
              <a:gd name="connsiteX525" fmla="*/ 876265 w 1337274"/>
              <a:gd name="connsiteY525" fmla="*/ 509892 h 509892"/>
              <a:gd name="connsiteX526" fmla="*/ 873404 w 1337274"/>
              <a:gd name="connsiteY526" fmla="*/ 509892 h 509892"/>
              <a:gd name="connsiteX527" fmla="*/ 873401 w 1337274"/>
              <a:gd name="connsiteY527" fmla="*/ 509892 h 509892"/>
              <a:gd name="connsiteX528" fmla="*/ 871834 w 1337274"/>
              <a:gd name="connsiteY528" fmla="*/ 509892 h 509892"/>
              <a:gd name="connsiteX529" fmla="*/ 869032 w 1337274"/>
              <a:gd name="connsiteY529" fmla="*/ 509892 h 509892"/>
              <a:gd name="connsiteX530" fmla="*/ 869030 w 1337274"/>
              <a:gd name="connsiteY530" fmla="*/ 509892 h 509892"/>
              <a:gd name="connsiteX531" fmla="*/ 866807 w 1337274"/>
              <a:gd name="connsiteY531" fmla="*/ 509892 h 509892"/>
              <a:gd name="connsiteX532" fmla="*/ 866805 w 1337274"/>
              <a:gd name="connsiteY532" fmla="*/ 509892 h 509892"/>
              <a:gd name="connsiteX533" fmla="*/ 865250 w 1337274"/>
              <a:gd name="connsiteY533" fmla="*/ 509892 h 509892"/>
              <a:gd name="connsiteX534" fmla="*/ 865247 w 1337274"/>
              <a:gd name="connsiteY534" fmla="*/ 509892 h 509892"/>
              <a:gd name="connsiteX535" fmla="*/ 865237 w 1337274"/>
              <a:gd name="connsiteY535" fmla="*/ 509892 h 509892"/>
              <a:gd name="connsiteX536" fmla="*/ 862436 w 1337274"/>
              <a:gd name="connsiteY536" fmla="*/ 509892 h 509892"/>
              <a:gd name="connsiteX537" fmla="*/ 862433 w 1337274"/>
              <a:gd name="connsiteY537" fmla="*/ 509892 h 509892"/>
              <a:gd name="connsiteX538" fmla="*/ 861932 w 1337274"/>
              <a:gd name="connsiteY538" fmla="*/ 509892 h 509892"/>
              <a:gd name="connsiteX539" fmla="*/ 861930 w 1337274"/>
              <a:gd name="connsiteY539" fmla="*/ 509892 h 509892"/>
              <a:gd name="connsiteX540" fmla="*/ 858313 w 1337274"/>
              <a:gd name="connsiteY540" fmla="*/ 509892 h 509892"/>
              <a:gd name="connsiteX541" fmla="*/ 858311 w 1337274"/>
              <a:gd name="connsiteY541" fmla="*/ 509892 h 509892"/>
              <a:gd name="connsiteX542" fmla="*/ 853942 w 1337274"/>
              <a:gd name="connsiteY542" fmla="*/ 509892 h 509892"/>
              <a:gd name="connsiteX543" fmla="*/ 853939 w 1337274"/>
              <a:gd name="connsiteY543" fmla="*/ 509892 h 509892"/>
              <a:gd name="connsiteX544" fmla="*/ 853735 w 1337274"/>
              <a:gd name="connsiteY544" fmla="*/ 509892 h 509892"/>
              <a:gd name="connsiteX545" fmla="*/ 853734 w 1337274"/>
              <a:gd name="connsiteY545" fmla="*/ 509892 h 509892"/>
              <a:gd name="connsiteX546" fmla="*/ 850417 w 1337274"/>
              <a:gd name="connsiteY546" fmla="*/ 509892 h 509892"/>
              <a:gd name="connsiteX547" fmla="*/ 850416 w 1337274"/>
              <a:gd name="connsiteY547" fmla="*/ 509892 h 509892"/>
              <a:gd name="connsiteX548" fmla="*/ 847139 w 1337274"/>
              <a:gd name="connsiteY548" fmla="*/ 509892 h 509892"/>
              <a:gd name="connsiteX549" fmla="*/ 847138 w 1337274"/>
              <a:gd name="connsiteY549" fmla="*/ 509892 h 509892"/>
              <a:gd name="connsiteX550" fmla="*/ 846635 w 1337274"/>
              <a:gd name="connsiteY550" fmla="*/ 509892 h 509892"/>
              <a:gd name="connsiteX551" fmla="*/ 846634 w 1337274"/>
              <a:gd name="connsiteY551" fmla="*/ 509892 h 509892"/>
              <a:gd name="connsiteX552" fmla="*/ 843833 w 1337274"/>
              <a:gd name="connsiteY552" fmla="*/ 509892 h 509892"/>
              <a:gd name="connsiteX553" fmla="*/ 843831 w 1337274"/>
              <a:gd name="connsiteY553" fmla="*/ 509892 h 509892"/>
              <a:gd name="connsiteX554" fmla="*/ 843821 w 1337274"/>
              <a:gd name="connsiteY554" fmla="*/ 509892 h 509892"/>
              <a:gd name="connsiteX555" fmla="*/ 843820 w 1337274"/>
              <a:gd name="connsiteY555" fmla="*/ 509892 h 509892"/>
              <a:gd name="connsiteX556" fmla="*/ 842264 w 1337274"/>
              <a:gd name="connsiteY556" fmla="*/ 509892 h 509892"/>
              <a:gd name="connsiteX557" fmla="*/ 838645 w 1337274"/>
              <a:gd name="connsiteY557" fmla="*/ 509892 h 509892"/>
              <a:gd name="connsiteX558" fmla="*/ 838644 w 1337274"/>
              <a:gd name="connsiteY558" fmla="*/ 509892 h 509892"/>
              <a:gd name="connsiteX559" fmla="*/ 835339 w 1337274"/>
              <a:gd name="connsiteY559" fmla="*/ 509892 h 509892"/>
              <a:gd name="connsiteX560" fmla="*/ 835337 w 1337274"/>
              <a:gd name="connsiteY560" fmla="*/ 509892 h 509892"/>
              <a:gd name="connsiteX561" fmla="*/ 835327 w 1337274"/>
              <a:gd name="connsiteY561" fmla="*/ 509892 h 509892"/>
              <a:gd name="connsiteX562" fmla="*/ 835326 w 1337274"/>
              <a:gd name="connsiteY562" fmla="*/ 509892 h 509892"/>
              <a:gd name="connsiteX563" fmla="*/ 832805 w 1337274"/>
              <a:gd name="connsiteY563" fmla="*/ 509892 h 509892"/>
              <a:gd name="connsiteX564" fmla="*/ 832803 w 1337274"/>
              <a:gd name="connsiteY564" fmla="*/ 509892 h 509892"/>
              <a:gd name="connsiteX565" fmla="*/ 828742 w 1337274"/>
              <a:gd name="connsiteY565" fmla="*/ 509892 h 509892"/>
              <a:gd name="connsiteX566" fmla="*/ 828741 w 1337274"/>
              <a:gd name="connsiteY566" fmla="*/ 509892 h 509892"/>
              <a:gd name="connsiteX567" fmla="*/ 824311 w 1337274"/>
              <a:gd name="connsiteY567" fmla="*/ 509892 h 509892"/>
              <a:gd name="connsiteX568" fmla="*/ 824309 w 1337274"/>
              <a:gd name="connsiteY568" fmla="*/ 509892 h 509892"/>
              <a:gd name="connsiteX569" fmla="*/ 817715 w 1337274"/>
              <a:gd name="connsiteY569" fmla="*/ 509892 h 509892"/>
              <a:gd name="connsiteX570" fmla="*/ 817712 w 1337274"/>
              <a:gd name="connsiteY570" fmla="*/ 509892 h 509892"/>
              <a:gd name="connsiteX571" fmla="*/ 814190 w 1337274"/>
              <a:gd name="connsiteY571" fmla="*/ 509892 h 509892"/>
              <a:gd name="connsiteX572" fmla="*/ 809819 w 1337274"/>
              <a:gd name="connsiteY572" fmla="*/ 509892 h 509892"/>
              <a:gd name="connsiteX573" fmla="*/ 806213 w 1337274"/>
              <a:gd name="connsiteY573" fmla="*/ 509892 h 509892"/>
              <a:gd name="connsiteX574" fmla="*/ 806209 w 1337274"/>
              <a:gd name="connsiteY574" fmla="*/ 509892 h 509892"/>
              <a:gd name="connsiteX575" fmla="*/ 806200 w 1337274"/>
              <a:gd name="connsiteY575" fmla="*/ 509892 h 509892"/>
              <a:gd name="connsiteX576" fmla="*/ 805696 w 1337274"/>
              <a:gd name="connsiteY576" fmla="*/ 509892 h 509892"/>
              <a:gd name="connsiteX577" fmla="*/ 802895 w 1337274"/>
              <a:gd name="connsiteY577" fmla="*/ 509892 h 509892"/>
              <a:gd name="connsiteX578" fmla="*/ 802892 w 1337274"/>
              <a:gd name="connsiteY578" fmla="*/ 509892 h 509892"/>
              <a:gd name="connsiteX579" fmla="*/ 801325 w 1337274"/>
              <a:gd name="connsiteY579" fmla="*/ 509892 h 509892"/>
              <a:gd name="connsiteX580" fmla="*/ 799615 w 1337274"/>
              <a:gd name="connsiteY580" fmla="*/ 509892 h 509892"/>
              <a:gd name="connsiteX581" fmla="*/ 799613 w 1337274"/>
              <a:gd name="connsiteY581" fmla="*/ 509892 h 509892"/>
              <a:gd name="connsiteX582" fmla="*/ 799112 w 1337274"/>
              <a:gd name="connsiteY582" fmla="*/ 509892 h 509892"/>
              <a:gd name="connsiteX583" fmla="*/ 799110 w 1337274"/>
              <a:gd name="connsiteY583" fmla="*/ 509892 h 509892"/>
              <a:gd name="connsiteX584" fmla="*/ 799100 w 1337274"/>
              <a:gd name="connsiteY584" fmla="*/ 509892 h 509892"/>
              <a:gd name="connsiteX585" fmla="*/ 799099 w 1337274"/>
              <a:gd name="connsiteY585" fmla="*/ 509892 h 509892"/>
              <a:gd name="connsiteX586" fmla="*/ 796298 w 1337274"/>
              <a:gd name="connsiteY586" fmla="*/ 509892 h 509892"/>
              <a:gd name="connsiteX587" fmla="*/ 796296 w 1337274"/>
              <a:gd name="connsiteY587" fmla="*/ 509892 h 509892"/>
              <a:gd name="connsiteX588" fmla="*/ 794741 w 1337274"/>
              <a:gd name="connsiteY588" fmla="*/ 509892 h 509892"/>
              <a:gd name="connsiteX589" fmla="*/ 794739 w 1337274"/>
              <a:gd name="connsiteY589" fmla="*/ 509892 h 509892"/>
              <a:gd name="connsiteX590" fmla="*/ 794728 w 1337274"/>
              <a:gd name="connsiteY590" fmla="*/ 509892 h 509892"/>
              <a:gd name="connsiteX591" fmla="*/ 791122 w 1337274"/>
              <a:gd name="connsiteY591" fmla="*/ 509892 h 509892"/>
              <a:gd name="connsiteX592" fmla="*/ 791119 w 1337274"/>
              <a:gd name="connsiteY592" fmla="*/ 509892 h 509892"/>
              <a:gd name="connsiteX593" fmla="*/ 787804 w 1337274"/>
              <a:gd name="connsiteY593" fmla="*/ 509892 h 509892"/>
              <a:gd name="connsiteX594" fmla="*/ 787802 w 1337274"/>
              <a:gd name="connsiteY594" fmla="*/ 509892 h 509892"/>
              <a:gd name="connsiteX595" fmla="*/ 787598 w 1337274"/>
              <a:gd name="connsiteY595" fmla="*/ 509892 h 509892"/>
              <a:gd name="connsiteX596" fmla="*/ 787597 w 1337274"/>
              <a:gd name="connsiteY596" fmla="*/ 509892 h 509892"/>
              <a:gd name="connsiteX597" fmla="*/ 783227 w 1337274"/>
              <a:gd name="connsiteY597" fmla="*/ 509892 h 509892"/>
              <a:gd name="connsiteX598" fmla="*/ 783226 w 1337274"/>
              <a:gd name="connsiteY598" fmla="*/ 509892 h 509892"/>
              <a:gd name="connsiteX599" fmla="*/ 781001 w 1337274"/>
              <a:gd name="connsiteY599" fmla="*/ 509892 h 509892"/>
              <a:gd name="connsiteX600" fmla="*/ 781000 w 1337274"/>
              <a:gd name="connsiteY600" fmla="*/ 509892 h 509892"/>
              <a:gd name="connsiteX601" fmla="*/ 776631 w 1337274"/>
              <a:gd name="connsiteY601" fmla="*/ 509892 h 509892"/>
              <a:gd name="connsiteX602" fmla="*/ 776629 w 1337274"/>
              <a:gd name="connsiteY602" fmla="*/ 509892 h 509892"/>
              <a:gd name="connsiteX603" fmla="*/ 776126 w 1337274"/>
              <a:gd name="connsiteY603" fmla="*/ 509892 h 509892"/>
              <a:gd name="connsiteX604" fmla="*/ 776125 w 1337274"/>
              <a:gd name="connsiteY604" fmla="*/ 509892 h 509892"/>
              <a:gd name="connsiteX605" fmla="*/ 772508 w 1337274"/>
              <a:gd name="connsiteY605" fmla="*/ 509892 h 509892"/>
              <a:gd name="connsiteX606" fmla="*/ 772507 w 1337274"/>
              <a:gd name="connsiteY606" fmla="*/ 509892 h 509892"/>
              <a:gd name="connsiteX607" fmla="*/ 768137 w 1337274"/>
              <a:gd name="connsiteY607" fmla="*/ 509892 h 509892"/>
              <a:gd name="connsiteX608" fmla="*/ 768136 w 1337274"/>
              <a:gd name="connsiteY608" fmla="*/ 509892 h 509892"/>
              <a:gd name="connsiteX609" fmla="*/ 766668 w 1337274"/>
              <a:gd name="connsiteY609" fmla="*/ 509892 h 509892"/>
              <a:gd name="connsiteX610" fmla="*/ 766666 w 1337274"/>
              <a:gd name="connsiteY610" fmla="*/ 509892 h 509892"/>
              <a:gd name="connsiteX611" fmla="*/ 762296 w 1337274"/>
              <a:gd name="connsiteY611" fmla="*/ 509892 h 509892"/>
              <a:gd name="connsiteX612" fmla="*/ 762294 w 1337274"/>
              <a:gd name="connsiteY612" fmla="*/ 509892 h 509892"/>
              <a:gd name="connsiteX613" fmla="*/ 758678 w 1337274"/>
              <a:gd name="connsiteY613" fmla="*/ 509892 h 509892"/>
              <a:gd name="connsiteX614" fmla="*/ 758675 w 1337274"/>
              <a:gd name="connsiteY614" fmla="*/ 509892 h 509892"/>
              <a:gd name="connsiteX615" fmla="*/ 758174 w 1337274"/>
              <a:gd name="connsiteY615" fmla="*/ 509892 h 509892"/>
              <a:gd name="connsiteX616" fmla="*/ 758172 w 1337274"/>
              <a:gd name="connsiteY616" fmla="*/ 509892 h 509892"/>
              <a:gd name="connsiteX617" fmla="*/ 753802 w 1337274"/>
              <a:gd name="connsiteY617" fmla="*/ 509892 h 509892"/>
              <a:gd name="connsiteX618" fmla="*/ 753800 w 1337274"/>
              <a:gd name="connsiteY618" fmla="*/ 509892 h 509892"/>
              <a:gd name="connsiteX619" fmla="*/ 751578 w 1337274"/>
              <a:gd name="connsiteY619" fmla="*/ 509892 h 509892"/>
              <a:gd name="connsiteX620" fmla="*/ 751575 w 1337274"/>
              <a:gd name="connsiteY620" fmla="*/ 509892 h 509892"/>
              <a:gd name="connsiteX621" fmla="*/ 747206 w 1337274"/>
              <a:gd name="connsiteY621" fmla="*/ 509892 h 509892"/>
              <a:gd name="connsiteX622" fmla="*/ 747203 w 1337274"/>
              <a:gd name="connsiteY622" fmla="*/ 509892 h 509892"/>
              <a:gd name="connsiteX623" fmla="*/ 746999 w 1337274"/>
              <a:gd name="connsiteY623" fmla="*/ 509892 h 509892"/>
              <a:gd name="connsiteX624" fmla="*/ 743681 w 1337274"/>
              <a:gd name="connsiteY624" fmla="*/ 509892 h 509892"/>
              <a:gd name="connsiteX625" fmla="*/ 740075 w 1337274"/>
              <a:gd name="connsiteY625" fmla="*/ 509892 h 509892"/>
              <a:gd name="connsiteX626" fmla="*/ 740073 w 1337274"/>
              <a:gd name="connsiteY626" fmla="*/ 509892 h 509892"/>
              <a:gd name="connsiteX627" fmla="*/ 740063 w 1337274"/>
              <a:gd name="connsiteY627" fmla="*/ 509892 h 509892"/>
              <a:gd name="connsiteX628" fmla="*/ 740062 w 1337274"/>
              <a:gd name="connsiteY628" fmla="*/ 509892 h 509892"/>
              <a:gd name="connsiteX629" fmla="*/ 738506 w 1337274"/>
              <a:gd name="connsiteY629" fmla="*/ 509892 h 509892"/>
              <a:gd name="connsiteX630" fmla="*/ 735704 w 1337274"/>
              <a:gd name="connsiteY630" fmla="*/ 509892 h 509892"/>
              <a:gd name="connsiteX631" fmla="*/ 735701 w 1337274"/>
              <a:gd name="connsiteY631" fmla="*/ 509892 h 509892"/>
              <a:gd name="connsiteX632" fmla="*/ 735691 w 1337274"/>
              <a:gd name="connsiteY632" fmla="*/ 509892 h 509892"/>
              <a:gd name="connsiteX633" fmla="*/ 735187 w 1337274"/>
              <a:gd name="connsiteY633" fmla="*/ 509892 h 509892"/>
              <a:gd name="connsiteX634" fmla="*/ 733478 w 1337274"/>
              <a:gd name="connsiteY634" fmla="*/ 509892 h 509892"/>
              <a:gd name="connsiteX635" fmla="*/ 733476 w 1337274"/>
              <a:gd name="connsiteY635" fmla="*/ 509892 h 509892"/>
              <a:gd name="connsiteX636" fmla="*/ 731909 w 1337274"/>
              <a:gd name="connsiteY636" fmla="*/ 509892 h 509892"/>
              <a:gd name="connsiteX637" fmla="*/ 731908 w 1337274"/>
              <a:gd name="connsiteY637" fmla="*/ 509892 h 509892"/>
              <a:gd name="connsiteX638" fmla="*/ 729107 w 1337274"/>
              <a:gd name="connsiteY638" fmla="*/ 509892 h 509892"/>
              <a:gd name="connsiteX639" fmla="*/ 729104 w 1337274"/>
              <a:gd name="connsiteY639" fmla="*/ 509892 h 509892"/>
              <a:gd name="connsiteX640" fmla="*/ 728603 w 1337274"/>
              <a:gd name="connsiteY640" fmla="*/ 509892 h 509892"/>
              <a:gd name="connsiteX641" fmla="*/ 728601 w 1337274"/>
              <a:gd name="connsiteY641" fmla="*/ 509892 h 509892"/>
              <a:gd name="connsiteX642" fmla="*/ 728591 w 1337274"/>
              <a:gd name="connsiteY642" fmla="*/ 509892 h 509892"/>
              <a:gd name="connsiteX643" fmla="*/ 728590 w 1337274"/>
              <a:gd name="connsiteY643" fmla="*/ 509892 h 509892"/>
              <a:gd name="connsiteX644" fmla="*/ 724984 w 1337274"/>
              <a:gd name="connsiteY644" fmla="*/ 509892 h 509892"/>
              <a:gd name="connsiteX645" fmla="*/ 724983 w 1337274"/>
              <a:gd name="connsiteY645" fmla="*/ 509892 h 509892"/>
              <a:gd name="connsiteX646" fmla="*/ 720613 w 1337274"/>
              <a:gd name="connsiteY646" fmla="*/ 509892 h 509892"/>
              <a:gd name="connsiteX647" fmla="*/ 720611 w 1337274"/>
              <a:gd name="connsiteY647" fmla="*/ 509892 h 509892"/>
              <a:gd name="connsiteX648" fmla="*/ 717089 w 1337274"/>
              <a:gd name="connsiteY648" fmla="*/ 509892 h 509892"/>
              <a:gd name="connsiteX649" fmla="*/ 717088 w 1337274"/>
              <a:gd name="connsiteY649" fmla="*/ 509892 h 509892"/>
              <a:gd name="connsiteX650" fmla="*/ 710493 w 1337274"/>
              <a:gd name="connsiteY650" fmla="*/ 509892 h 509892"/>
              <a:gd name="connsiteX651" fmla="*/ 710492 w 1337274"/>
              <a:gd name="connsiteY651" fmla="*/ 509892 h 509892"/>
              <a:gd name="connsiteX652" fmla="*/ 706061 w 1337274"/>
              <a:gd name="connsiteY652" fmla="*/ 509892 h 509892"/>
              <a:gd name="connsiteX653" fmla="*/ 701999 w 1337274"/>
              <a:gd name="connsiteY653" fmla="*/ 509892 h 509892"/>
              <a:gd name="connsiteX654" fmla="*/ 701998 w 1337274"/>
              <a:gd name="connsiteY654" fmla="*/ 509892 h 509892"/>
              <a:gd name="connsiteX655" fmla="*/ 699477 w 1337274"/>
              <a:gd name="connsiteY655" fmla="*/ 509892 h 509892"/>
              <a:gd name="connsiteX656" fmla="*/ 699474 w 1337274"/>
              <a:gd name="connsiteY656" fmla="*/ 509892 h 509892"/>
              <a:gd name="connsiteX657" fmla="*/ 699464 w 1337274"/>
              <a:gd name="connsiteY657" fmla="*/ 509892 h 509892"/>
              <a:gd name="connsiteX658" fmla="*/ 696159 w 1337274"/>
              <a:gd name="connsiteY658" fmla="*/ 509892 h 509892"/>
              <a:gd name="connsiteX659" fmla="*/ 696157 w 1337274"/>
              <a:gd name="connsiteY659" fmla="*/ 509892 h 509892"/>
              <a:gd name="connsiteX660" fmla="*/ 692540 w 1337274"/>
              <a:gd name="connsiteY660" fmla="*/ 509892 h 509892"/>
              <a:gd name="connsiteX661" fmla="*/ 692538 w 1337274"/>
              <a:gd name="connsiteY661" fmla="*/ 509892 h 509892"/>
              <a:gd name="connsiteX662" fmla="*/ 690983 w 1337274"/>
              <a:gd name="connsiteY662" fmla="*/ 509892 h 509892"/>
              <a:gd name="connsiteX663" fmla="*/ 690981 w 1337274"/>
              <a:gd name="connsiteY663" fmla="*/ 509892 h 509892"/>
              <a:gd name="connsiteX664" fmla="*/ 690970 w 1337274"/>
              <a:gd name="connsiteY664" fmla="*/ 509892 h 509892"/>
              <a:gd name="connsiteX665" fmla="*/ 688169 w 1337274"/>
              <a:gd name="connsiteY665" fmla="*/ 509892 h 509892"/>
              <a:gd name="connsiteX666" fmla="*/ 688166 w 1337274"/>
              <a:gd name="connsiteY666" fmla="*/ 509892 h 509892"/>
              <a:gd name="connsiteX667" fmla="*/ 687666 w 1337274"/>
              <a:gd name="connsiteY667" fmla="*/ 509892 h 509892"/>
              <a:gd name="connsiteX668" fmla="*/ 687663 w 1337274"/>
              <a:gd name="connsiteY668" fmla="*/ 509892 h 509892"/>
              <a:gd name="connsiteX669" fmla="*/ 684387 w 1337274"/>
              <a:gd name="connsiteY669" fmla="*/ 509892 h 509892"/>
              <a:gd name="connsiteX670" fmla="*/ 684383 w 1337274"/>
              <a:gd name="connsiteY670" fmla="*/ 509892 h 509892"/>
              <a:gd name="connsiteX671" fmla="*/ 681069 w 1337274"/>
              <a:gd name="connsiteY671" fmla="*/ 509892 h 509892"/>
              <a:gd name="connsiteX672" fmla="*/ 681066 w 1337274"/>
              <a:gd name="connsiteY672" fmla="*/ 509892 h 509892"/>
              <a:gd name="connsiteX673" fmla="*/ 680862 w 1337274"/>
              <a:gd name="connsiteY673" fmla="*/ 509892 h 509892"/>
              <a:gd name="connsiteX674" fmla="*/ 680861 w 1337274"/>
              <a:gd name="connsiteY674" fmla="*/ 509892 h 509892"/>
              <a:gd name="connsiteX675" fmla="*/ 676491 w 1337274"/>
              <a:gd name="connsiteY675" fmla="*/ 509892 h 509892"/>
              <a:gd name="connsiteX676" fmla="*/ 672872 w 1337274"/>
              <a:gd name="connsiteY676" fmla="*/ 509892 h 509892"/>
              <a:gd name="connsiteX677" fmla="*/ 672871 w 1337274"/>
              <a:gd name="connsiteY677" fmla="*/ 509892 h 509892"/>
              <a:gd name="connsiteX678" fmla="*/ 672368 w 1337274"/>
              <a:gd name="connsiteY678" fmla="*/ 509892 h 509892"/>
              <a:gd name="connsiteX679" fmla="*/ 672367 w 1337274"/>
              <a:gd name="connsiteY679" fmla="*/ 509892 h 509892"/>
              <a:gd name="connsiteX680" fmla="*/ 669566 w 1337274"/>
              <a:gd name="connsiteY680" fmla="*/ 509892 h 509892"/>
              <a:gd name="connsiteX681" fmla="*/ 669564 w 1337274"/>
              <a:gd name="connsiteY681" fmla="*/ 509892 h 509892"/>
              <a:gd name="connsiteX682" fmla="*/ 669554 w 1337274"/>
              <a:gd name="connsiteY682" fmla="*/ 509892 h 509892"/>
              <a:gd name="connsiteX683" fmla="*/ 669553 w 1337274"/>
              <a:gd name="connsiteY683" fmla="*/ 509892 h 509892"/>
              <a:gd name="connsiteX684" fmla="*/ 667997 w 1337274"/>
              <a:gd name="connsiteY684" fmla="*/ 509892 h 509892"/>
              <a:gd name="connsiteX685" fmla="*/ 665772 w 1337274"/>
              <a:gd name="connsiteY685" fmla="*/ 509892 h 509892"/>
              <a:gd name="connsiteX686" fmla="*/ 665771 w 1337274"/>
              <a:gd name="connsiteY686" fmla="*/ 509892 h 509892"/>
              <a:gd name="connsiteX687" fmla="*/ 662969 w 1337274"/>
              <a:gd name="connsiteY687" fmla="*/ 509892 h 509892"/>
              <a:gd name="connsiteX688" fmla="*/ 662968 w 1337274"/>
              <a:gd name="connsiteY688" fmla="*/ 509892 h 509892"/>
              <a:gd name="connsiteX689" fmla="*/ 661401 w 1337274"/>
              <a:gd name="connsiteY689" fmla="*/ 509892 h 509892"/>
              <a:gd name="connsiteX690" fmla="*/ 661400 w 1337274"/>
              <a:gd name="connsiteY690" fmla="*/ 509892 h 509892"/>
              <a:gd name="connsiteX691" fmla="*/ 658538 w 1337274"/>
              <a:gd name="connsiteY691" fmla="*/ 509892 h 509892"/>
              <a:gd name="connsiteX692" fmla="*/ 658536 w 1337274"/>
              <a:gd name="connsiteY692" fmla="*/ 509892 h 509892"/>
              <a:gd name="connsiteX693" fmla="*/ 654475 w 1337274"/>
              <a:gd name="connsiteY693" fmla="*/ 509892 h 509892"/>
              <a:gd name="connsiteX694" fmla="*/ 654474 w 1337274"/>
              <a:gd name="connsiteY694" fmla="*/ 509892 h 509892"/>
              <a:gd name="connsiteX695" fmla="*/ 651942 w 1337274"/>
              <a:gd name="connsiteY695" fmla="*/ 509892 h 509892"/>
              <a:gd name="connsiteX696" fmla="*/ 651939 w 1337274"/>
              <a:gd name="connsiteY696" fmla="*/ 509892 h 509892"/>
              <a:gd name="connsiteX697" fmla="*/ 643448 w 1337274"/>
              <a:gd name="connsiteY697" fmla="*/ 509892 h 509892"/>
              <a:gd name="connsiteX698" fmla="*/ 643445 w 1337274"/>
              <a:gd name="connsiteY698" fmla="*/ 509892 h 509892"/>
              <a:gd name="connsiteX699" fmla="*/ 639923 w 1337274"/>
              <a:gd name="connsiteY699" fmla="*/ 509892 h 509892"/>
              <a:gd name="connsiteX700" fmla="*/ 635552 w 1337274"/>
              <a:gd name="connsiteY700" fmla="*/ 509892 h 509892"/>
              <a:gd name="connsiteX701" fmla="*/ 633339 w 1337274"/>
              <a:gd name="connsiteY701" fmla="*/ 509892 h 509892"/>
              <a:gd name="connsiteX702" fmla="*/ 633337 w 1337274"/>
              <a:gd name="connsiteY702" fmla="*/ 509892 h 509892"/>
              <a:gd name="connsiteX703" fmla="*/ 633327 w 1337274"/>
              <a:gd name="connsiteY703" fmla="*/ 509892 h 509892"/>
              <a:gd name="connsiteX704" fmla="*/ 633326 w 1337274"/>
              <a:gd name="connsiteY704" fmla="*/ 509892 h 509892"/>
              <a:gd name="connsiteX705" fmla="*/ 628968 w 1337274"/>
              <a:gd name="connsiteY705" fmla="*/ 509892 h 509892"/>
              <a:gd name="connsiteX706" fmla="*/ 628966 w 1337274"/>
              <a:gd name="connsiteY706" fmla="*/ 509892 h 509892"/>
              <a:gd name="connsiteX707" fmla="*/ 628955 w 1337274"/>
              <a:gd name="connsiteY707" fmla="*/ 509892 h 509892"/>
              <a:gd name="connsiteX708" fmla="*/ 625349 w 1337274"/>
              <a:gd name="connsiteY708" fmla="*/ 509892 h 509892"/>
              <a:gd name="connsiteX709" fmla="*/ 625346 w 1337274"/>
              <a:gd name="connsiteY709" fmla="*/ 509892 h 509892"/>
              <a:gd name="connsiteX710" fmla="*/ 624845 w 1337274"/>
              <a:gd name="connsiteY710" fmla="*/ 509892 h 509892"/>
              <a:gd name="connsiteX711" fmla="*/ 624843 w 1337274"/>
              <a:gd name="connsiteY711" fmla="*/ 509892 h 509892"/>
              <a:gd name="connsiteX712" fmla="*/ 624833 w 1337274"/>
              <a:gd name="connsiteY712" fmla="*/ 509892 h 509892"/>
              <a:gd name="connsiteX713" fmla="*/ 624832 w 1337274"/>
              <a:gd name="connsiteY713" fmla="*/ 509892 h 509892"/>
              <a:gd name="connsiteX714" fmla="*/ 622031 w 1337274"/>
              <a:gd name="connsiteY714" fmla="*/ 509892 h 509892"/>
              <a:gd name="connsiteX715" fmla="*/ 622029 w 1337274"/>
              <a:gd name="connsiteY715" fmla="*/ 509892 h 509892"/>
              <a:gd name="connsiteX716" fmla="*/ 620474 w 1337274"/>
              <a:gd name="connsiteY716" fmla="*/ 509892 h 509892"/>
              <a:gd name="connsiteX717" fmla="*/ 620472 w 1337274"/>
              <a:gd name="connsiteY717" fmla="*/ 509892 h 509892"/>
              <a:gd name="connsiteX718" fmla="*/ 620461 w 1337274"/>
              <a:gd name="connsiteY718" fmla="*/ 509892 h 509892"/>
              <a:gd name="connsiteX719" fmla="*/ 618249 w 1337274"/>
              <a:gd name="connsiteY719" fmla="*/ 509892 h 509892"/>
              <a:gd name="connsiteX720" fmla="*/ 618247 w 1337274"/>
              <a:gd name="connsiteY720" fmla="*/ 509892 h 509892"/>
              <a:gd name="connsiteX721" fmla="*/ 610353 w 1337274"/>
              <a:gd name="connsiteY721" fmla="*/ 509892 h 509892"/>
              <a:gd name="connsiteX722" fmla="*/ 610352 w 1337274"/>
              <a:gd name="connsiteY722" fmla="*/ 509892 h 509892"/>
              <a:gd name="connsiteX723" fmla="*/ 606735 w 1337274"/>
              <a:gd name="connsiteY723" fmla="*/ 509892 h 509892"/>
              <a:gd name="connsiteX724" fmla="*/ 606734 w 1337274"/>
              <a:gd name="connsiteY724" fmla="*/ 509892 h 509892"/>
              <a:gd name="connsiteX725" fmla="*/ 602364 w 1337274"/>
              <a:gd name="connsiteY725" fmla="*/ 509892 h 509892"/>
              <a:gd name="connsiteX726" fmla="*/ 602363 w 1337274"/>
              <a:gd name="connsiteY726" fmla="*/ 509892 h 509892"/>
              <a:gd name="connsiteX727" fmla="*/ 592401 w 1337274"/>
              <a:gd name="connsiteY727" fmla="*/ 509892 h 509892"/>
              <a:gd name="connsiteX728" fmla="*/ 592399 w 1337274"/>
              <a:gd name="connsiteY728" fmla="*/ 509892 h 509892"/>
              <a:gd name="connsiteX729" fmla="*/ 588029 w 1337274"/>
              <a:gd name="connsiteY729" fmla="*/ 509892 h 509892"/>
              <a:gd name="connsiteX730" fmla="*/ 588027 w 1337274"/>
              <a:gd name="connsiteY730" fmla="*/ 509892 h 509892"/>
              <a:gd name="connsiteX731" fmla="*/ 585805 w 1337274"/>
              <a:gd name="connsiteY731" fmla="*/ 509892 h 509892"/>
              <a:gd name="connsiteX732" fmla="*/ 585802 w 1337274"/>
              <a:gd name="connsiteY732" fmla="*/ 509892 h 509892"/>
              <a:gd name="connsiteX733" fmla="*/ 581433 w 1337274"/>
              <a:gd name="connsiteY733" fmla="*/ 509892 h 509892"/>
              <a:gd name="connsiteX734" fmla="*/ 581430 w 1337274"/>
              <a:gd name="connsiteY734" fmla="*/ 509892 h 509892"/>
              <a:gd name="connsiteX735" fmla="*/ 572733 w 1337274"/>
              <a:gd name="connsiteY735" fmla="*/ 509892 h 509892"/>
              <a:gd name="connsiteX736" fmla="*/ 569414 w 1337274"/>
              <a:gd name="connsiteY736" fmla="*/ 509892 h 509892"/>
              <a:gd name="connsiteX737" fmla="*/ 566136 w 1337274"/>
              <a:gd name="connsiteY737" fmla="*/ 509892 h 509892"/>
              <a:gd name="connsiteX738" fmla="*/ 566135 w 1337274"/>
              <a:gd name="connsiteY738" fmla="*/ 509892 h 509892"/>
              <a:gd name="connsiteX739" fmla="*/ 562830 w 1337274"/>
              <a:gd name="connsiteY739" fmla="*/ 509892 h 509892"/>
              <a:gd name="connsiteX740" fmla="*/ 562828 w 1337274"/>
              <a:gd name="connsiteY740" fmla="*/ 509892 h 509892"/>
              <a:gd name="connsiteX741" fmla="*/ 562818 w 1337274"/>
              <a:gd name="connsiteY741" fmla="*/ 509892 h 509892"/>
              <a:gd name="connsiteX742" fmla="*/ 562817 w 1337274"/>
              <a:gd name="connsiteY742" fmla="*/ 509892 h 509892"/>
              <a:gd name="connsiteX743" fmla="*/ 559211 w 1337274"/>
              <a:gd name="connsiteY743" fmla="*/ 509892 h 509892"/>
              <a:gd name="connsiteX744" fmla="*/ 559210 w 1337274"/>
              <a:gd name="connsiteY744" fmla="*/ 509892 h 509892"/>
              <a:gd name="connsiteX745" fmla="*/ 554840 w 1337274"/>
              <a:gd name="connsiteY745" fmla="*/ 509892 h 509892"/>
              <a:gd name="connsiteX746" fmla="*/ 554838 w 1337274"/>
              <a:gd name="connsiteY746" fmla="*/ 509892 h 509892"/>
              <a:gd name="connsiteX747" fmla="*/ 536226 w 1337274"/>
              <a:gd name="connsiteY747" fmla="*/ 509892 h 509892"/>
              <a:gd name="connsiteX748" fmla="*/ 536225 w 1337274"/>
              <a:gd name="connsiteY748" fmla="*/ 509892 h 509892"/>
              <a:gd name="connsiteX749" fmla="*/ 525210 w 1337274"/>
              <a:gd name="connsiteY749" fmla="*/ 509892 h 509892"/>
              <a:gd name="connsiteX750" fmla="*/ 525208 w 1337274"/>
              <a:gd name="connsiteY750" fmla="*/ 509892 h 509892"/>
              <a:gd name="connsiteX751" fmla="*/ 525197 w 1337274"/>
              <a:gd name="connsiteY751" fmla="*/ 509892 h 509892"/>
              <a:gd name="connsiteX752" fmla="*/ 521893 w 1337274"/>
              <a:gd name="connsiteY752" fmla="*/ 509892 h 509892"/>
              <a:gd name="connsiteX753" fmla="*/ 521890 w 1337274"/>
              <a:gd name="connsiteY753" fmla="*/ 509892 h 509892"/>
              <a:gd name="connsiteX754" fmla="*/ 518614 w 1337274"/>
              <a:gd name="connsiteY754" fmla="*/ 509892 h 509892"/>
              <a:gd name="connsiteX755" fmla="*/ 518610 w 1337274"/>
              <a:gd name="connsiteY755" fmla="*/ 509892 h 509892"/>
              <a:gd name="connsiteX756" fmla="*/ 515296 w 1337274"/>
              <a:gd name="connsiteY756" fmla="*/ 509892 h 509892"/>
              <a:gd name="connsiteX757" fmla="*/ 515293 w 1337274"/>
              <a:gd name="connsiteY757" fmla="*/ 509892 h 509892"/>
              <a:gd name="connsiteX758" fmla="*/ 506595 w 1337274"/>
              <a:gd name="connsiteY758" fmla="*/ 509892 h 509892"/>
              <a:gd name="connsiteX759" fmla="*/ 506594 w 1337274"/>
              <a:gd name="connsiteY759" fmla="*/ 509892 h 509892"/>
              <a:gd name="connsiteX760" fmla="*/ 502224 w 1337274"/>
              <a:gd name="connsiteY760" fmla="*/ 509892 h 509892"/>
              <a:gd name="connsiteX761" fmla="*/ 499999 w 1337274"/>
              <a:gd name="connsiteY761" fmla="*/ 509892 h 509892"/>
              <a:gd name="connsiteX762" fmla="*/ 499998 w 1337274"/>
              <a:gd name="connsiteY762" fmla="*/ 509892 h 509892"/>
              <a:gd name="connsiteX763" fmla="*/ 495628 w 1337274"/>
              <a:gd name="connsiteY763" fmla="*/ 509892 h 509892"/>
              <a:gd name="connsiteX764" fmla="*/ 495627 w 1337274"/>
              <a:gd name="connsiteY764" fmla="*/ 509892 h 509892"/>
              <a:gd name="connsiteX765" fmla="*/ 488702 w 1337274"/>
              <a:gd name="connsiteY765" fmla="*/ 509892 h 509892"/>
              <a:gd name="connsiteX766" fmla="*/ 488701 w 1337274"/>
              <a:gd name="connsiteY766" fmla="*/ 509892 h 509892"/>
              <a:gd name="connsiteX767" fmla="*/ 477675 w 1337274"/>
              <a:gd name="connsiteY767" fmla="*/ 509892 h 509892"/>
              <a:gd name="connsiteX768" fmla="*/ 477672 w 1337274"/>
              <a:gd name="connsiteY768" fmla="*/ 509892 h 509892"/>
              <a:gd name="connsiteX769" fmla="*/ 459072 w 1337274"/>
              <a:gd name="connsiteY769" fmla="*/ 509892 h 509892"/>
              <a:gd name="connsiteX770" fmla="*/ 459070 w 1337274"/>
              <a:gd name="connsiteY770" fmla="*/ 509892 h 509892"/>
              <a:gd name="connsiteX771" fmla="*/ 459060 w 1337274"/>
              <a:gd name="connsiteY771" fmla="*/ 509892 h 509892"/>
              <a:gd name="connsiteX772" fmla="*/ 459059 w 1337274"/>
              <a:gd name="connsiteY772" fmla="*/ 509892 h 509892"/>
              <a:gd name="connsiteX773" fmla="*/ 454701 w 1337274"/>
              <a:gd name="connsiteY773" fmla="*/ 509892 h 509892"/>
              <a:gd name="connsiteX774" fmla="*/ 454699 w 1337274"/>
              <a:gd name="connsiteY774" fmla="*/ 509892 h 509892"/>
              <a:gd name="connsiteX775" fmla="*/ 454688 w 1337274"/>
              <a:gd name="connsiteY775" fmla="*/ 509892 h 509892"/>
              <a:gd name="connsiteX776" fmla="*/ 452476 w 1337274"/>
              <a:gd name="connsiteY776" fmla="*/ 509892 h 509892"/>
              <a:gd name="connsiteX777" fmla="*/ 452474 w 1337274"/>
              <a:gd name="connsiteY777" fmla="*/ 509892 h 509892"/>
              <a:gd name="connsiteX778" fmla="*/ 254947 w 1337274"/>
              <a:gd name="connsiteY778" fmla="*/ 509891 h 509892"/>
              <a:gd name="connsiteX779" fmla="*/ 5179 w 1337274"/>
              <a:gd name="connsiteY779" fmla="*/ 306326 h 509892"/>
              <a:gd name="connsiteX780" fmla="*/ 0 w 1337274"/>
              <a:gd name="connsiteY780" fmla="*/ 254947 h 509892"/>
              <a:gd name="connsiteX781" fmla="*/ 5179 w 1337274"/>
              <a:gd name="connsiteY781" fmla="*/ 203566 h 509892"/>
              <a:gd name="connsiteX782" fmla="*/ 254947 w 1337274"/>
              <a:gd name="connsiteY782" fmla="*/ 0 h 50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</a:cxnLst>
            <a:rect l="l" t="t" r="r" b="b"/>
            <a:pathLst>
              <a:path w="1337274" h="509892">
                <a:moveTo>
                  <a:pt x="254947" y="0"/>
                </a:moveTo>
                <a:lnTo>
                  <a:pt x="255223" y="0"/>
                </a:lnTo>
                <a:lnTo>
                  <a:pt x="257162" y="0"/>
                </a:lnTo>
                <a:lnTo>
                  <a:pt x="257172" y="0"/>
                </a:lnTo>
                <a:lnTo>
                  <a:pt x="261533" y="0"/>
                </a:lnTo>
                <a:lnTo>
                  <a:pt x="261544" y="0"/>
                </a:lnTo>
                <a:lnTo>
                  <a:pt x="273836" y="0"/>
                </a:lnTo>
                <a:lnTo>
                  <a:pt x="278208" y="0"/>
                </a:lnTo>
                <a:lnTo>
                  <a:pt x="280145" y="0"/>
                </a:lnTo>
                <a:lnTo>
                  <a:pt x="291174" y="0"/>
                </a:lnTo>
                <a:lnTo>
                  <a:pt x="298100" y="0"/>
                </a:lnTo>
                <a:lnTo>
                  <a:pt x="302471" y="0"/>
                </a:lnTo>
                <a:lnTo>
                  <a:pt x="304697" y="0"/>
                </a:lnTo>
                <a:lnTo>
                  <a:pt x="309068" y="0"/>
                </a:lnTo>
                <a:lnTo>
                  <a:pt x="317767" y="0"/>
                </a:lnTo>
                <a:lnTo>
                  <a:pt x="321084" y="0"/>
                </a:lnTo>
                <a:lnTo>
                  <a:pt x="321361" y="0"/>
                </a:lnTo>
                <a:lnTo>
                  <a:pt x="324363" y="0"/>
                </a:lnTo>
                <a:lnTo>
                  <a:pt x="325732" y="0"/>
                </a:lnTo>
                <a:lnTo>
                  <a:pt x="327670" y="0"/>
                </a:lnTo>
                <a:lnTo>
                  <a:pt x="327680" y="0"/>
                </a:lnTo>
                <a:lnTo>
                  <a:pt x="338698" y="0"/>
                </a:lnTo>
                <a:lnTo>
                  <a:pt x="341028" y="0"/>
                </a:lnTo>
                <a:lnTo>
                  <a:pt x="344345" y="0"/>
                </a:lnTo>
                <a:lnTo>
                  <a:pt x="357311" y="0"/>
                </a:lnTo>
                <a:lnTo>
                  <a:pt x="361682" y="0"/>
                </a:lnTo>
                <a:lnTo>
                  <a:pt x="365291" y="0"/>
                </a:lnTo>
                <a:lnTo>
                  <a:pt x="365302" y="0"/>
                </a:lnTo>
                <a:lnTo>
                  <a:pt x="368609" y="0"/>
                </a:lnTo>
                <a:lnTo>
                  <a:pt x="371887" y="0"/>
                </a:lnTo>
                <a:lnTo>
                  <a:pt x="375205" y="0"/>
                </a:lnTo>
                <a:lnTo>
                  <a:pt x="381966" y="0"/>
                </a:lnTo>
                <a:lnTo>
                  <a:pt x="383903" y="0"/>
                </a:lnTo>
                <a:lnTo>
                  <a:pt x="388275" y="0"/>
                </a:lnTo>
                <a:lnTo>
                  <a:pt x="388551" y="0"/>
                </a:lnTo>
                <a:lnTo>
                  <a:pt x="388562" y="0"/>
                </a:lnTo>
                <a:lnTo>
                  <a:pt x="390501" y="0"/>
                </a:lnTo>
                <a:lnTo>
                  <a:pt x="391870" y="0"/>
                </a:lnTo>
                <a:lnTo>
                  <a:pt x="394872" y="0"/>
                </a:lnTo>
                <a:lnTo>
                  <a:pt x="404836" y="0"/>
                </a:lnTo>
                <a:lnTo>
                  <a:pt x="407164" y="0"/>
                </a:lnTo>
                <a:lnTo>
                  <a:pt x="409206" y="0"/>
                </a:lnTo>
                <a:lnTo>
                  <a:pt x="411536" y="0"/>
                </a:lnTo>
                <a:lnTo>
                  <a:pt x="412826" y="0"/>
                </a:lnTo>
                <a:lnTo>
                  <a:pt x="420720" y="0"/>
                </a:lnTo>
                <a:lnTo>
                  <a:pt x="420996" y="0"/>
                </a:lnTo>
                <a:lnTo>
                  <a:pt x="422935" y="0"/>
                </a:lnTo>
                <a:lnTo>
                  <a:pt x="422945" y="0"/>
                </a:lnTo>
                <a:lnTo>
                  <a:pt x="424503" y="0"/>
                </a:lnTo>
                <a:lnTo>
                  <a:pt x="427306" y="0"/>
                </a:lnTo>
                <a:lnTo>
                  <a:pt x="427317" y="0"/>
                </a:lnTo>
                <a:lnTo>
                  <a:pt x="427820" y="0"/>
                </a:lnTo>
                <a:lnTo>
                  <a:pt x="429490" y="0"/>
                </a:lnTo>
                <a:lnTo>
                  <a:pt x="431428" y="0"/>
                </a:lnTo>
                <a:lnTo>
                  <a:pt x="431438" y="0"/>
                </a:lnTo>
                <a:lnTo>
                  <a:pt x="435799" y="0"/>
                </a:lnTo>
                <a:lnTo>
                  <a:pt x="435810" y="0"/>
                </a:lnTo>
                <a:lnTo>
                  <a:pt x="436086" y="0"/>
                </a:lnTo>
                <a:lnTo>
                  <a:pt x="438026" y="0"/>
                </a:lnTo>
                <a:lnTo>
                  <a:pt x="439609" y="0"/>
                </a:lnTo>
                <a:lnTo>
                  <a:pt x="442396" y="0"/>
                </a:lnTo>
                <a:lnTo>
                  <a:pt x="443981" y="0"/>
                </a:lnTo>
                <a:lnTo>
                  <a:pt x="445918" y="0"/>
                </a:lnTo>
                <a:lnTo>
                  <a:pt x="448103" y="0"/>
                </a:lnTo>
                <a:lnTo>
                  <a:pt x="452475" y="0"/>
                </a:lnTo>
                <a:lnTo>
                  <a:pt x="454412" y="0"/>
                </a:lnTo>
                <a:lnTo>
                  <a:pt x="454689" y="0"/>
                </a:lnTo>
                <a:lnTo>
                  <a:pt x="454699" y="0"/>
                </a:lnTo>
                <a:lnTo>
                  <a:pt x="456947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09" y="0"/>
                </a:lnTo>
                <a:lnTo>
                  <a:pt x="463873" y="0"/>
                </a:lnTo>
                <a:lnTo>
                  <a:pt x="465440" y="0"/>
                </a:lnTo>
                <a:lnTo>
                  <a:pt x="468244" y="0"/>
                </a:lnTo>
                <a:lnTo>
                  <a:pt x="470470" y="0"/>
                </a:lnTo>
                <a:lnTo>
                  <a:pt x="472027" y="0"/>
                </a:lnTo>
                <a:lnTo>
                  <a:pt x="472038" y="0"/>
                </a:lnTo>
                <a:lnTo>
                  <a:pt x="474841" y="0"/>
                </a:lnTo>
                <a:lnTo>
                  <a:pt x="475345" y="0"/>
                </a:lnTo>
                <a:lnTo>
                  <a:pt x="477673" y="0"/>
                </a:lnTo>
                <a:lnTo>
                  <a:pt x="478963" y="0"/>
                </a:lnTo>
                <a:lnTo>
                  <a:pt x="483334" y="0"/>
                </a:lnTo>
                <a:lnTo>
                  <a:pt x="483540" y="0"/>
                </a:lnTo>
                <a:lnTo>
                  <a:pt x="486857" y="0"/>
                </a:lnTo>
                <a:lnTo>
                  <a:pt x="487134" y="0"/>
                </a:lnTo>
                <a:lnTo>
                  <a:pt x="488701" y="0"/>
                </a:lnTo>
                <a:lnTo>
                  <a:pt x="490136" y="0"/>
                </a:lnTo>
                <a:lnTo>
                  <a:pt x="490639" y="0"/>
                </a:lnTo>
                <a:lnTo>
                  <a:pt x="491505" y="0"/>
                </a:lnTo>
                <a:lnTo>
                  <a:pt x="493443" y="0"/>
                </a:lnTo>
                <a:lnTo>
                  <a:pt x="493453" y="0"/>
                </a:lnTo>
                <a:lnTo>
                  <a:pt x="495012" y="0"/>
                </a:lnTo>
                <a:lnTo>
                  <a:pt x="495628" y="0"/>
                </a:lnTo>
                <a:lnTo>
                  <a:pt x="498630" y="0"/>
                </a:lnTo>
                <a:lnTo>
                  <a:pt x="499999" y="0"/>
                </a:lnTo>
                <a:lnTo>
                  <a:pt x="501937" y="0"/>
                </a:lnTo>
                <a:lnTo>
                  <a:pt x="501947" y="0"/>
                </a:lnTo>
                <a:lnTo>
                  <a:pt x="502224" y="0"/>
                </a:lnTo>
                <a:lnTo>
                  <a:pt x="504471" y="0"/>
                </a:lnTo>
                <a:lnTo>
                  <a:pt x="506595" y="0"/>
                </a:lnTo>
                <a:lnTo>
                  <a:pt x="506801" y="0"/>
                </a:lnTo>
                <a:lnTo>
                  <a:pt x="508534" y="0"/>
                </a:lnTo>
                <a:lnTo>
                  <a:pt x="510118" y="0"/>
                </a:lnTo>
                <a:lnTo>
                  <a:pt x="512964" y="0"/>
                </a:lnTo>
                <a:lnTo>
                  <a:pt x="515294" y="0"/>
                </a:lnTo>
                <a:lnTo>
                  <a:pt x="518611" y="0"/>
                </a:lnTo>
                <a:lnTo>
                  <a:pt x="519562" y="0"/>
                </a:lnTo>
                <a:lnTo>
                  <a:pt x="521890" y="0"/>
                </a:lnTo>
                <a:lnTo>
                  <a:pt x="523084" y="0"/>
                </a:lnTo>
                <a:lnTo>
                  <a:pt x="525198" y="0"/>
                </a:lnTo>
                <a:lnTo>
                  <a:pt x="525208" y="0"/>
                </a:lnTo>
                <a:lnTo>
                  <a:pt x="527455" y="0"/>
                </a:lnTo>
                <a:lnTo>
                  <a:pt x="531064" y="0"/>
                </a:lnTo>
                <a:lnTo>
                  <a:pt x="531075" y="0"/>
                </a:lnTo>
                <a:lnTo>
                  <a:pt x="531578" y="0"/>
                </a:lnTo>
                <a:lnTo>
                  <a:pt x="534382" y="0"/>
                </a:lnTo>
                <a:lnTo>
                  <a:pt x="535949" y="0"/>
                </a:lnTo>
                <a:lnTo>
                  <a:pt x="536226" y="0"/>
                </a:lnTo>
                <a:lnTo>
                  <a:pt x="537660" y="0"/>
                </a:lnTo>
                <a:lnTo>
                  <a:pt x="538165" y="0"/>
                </a:lnTo>
                <a:lnTo>
                  <a:pt x="538174" y="0"/>
                </a:lnTo>
                <a:lnTo>
                  <a:pt x="540978" y="0"/>
                </a:lnTo>
                <a:lnTo>
                  <a:pt x="542535" y="0"/>
                </a:lnTo>
                <a:lnTo>
                  <a:pt x="542546" y="0"/>
                </a:lnTo>
                <a:lnTo>
                  <a:pt x="546154" y="0"/>
                </a:lnTo>
                <a:lnTo>
                  <a:pt x="547739" y="0"/>
                </a:lnTo>
                <a:lnTo>
                  <a:pt x="549472" y="0"/>
                </a:lnTo>
                <a:lnTo>
                  <a:pt x="549676" y="0"/>
                </a:lnTo>
                <a:lnTo>
                  <a:pt x="554048" y="0"/>
                </a:lnTo>
                <a:lnTo>
                  <a:pt x="554324" y="0"/>
                </a:lnTo>
                <a:lnTo>
                  <a:pt x="554335" y="0"/>
                </a:lnTo>
                <a:lnTo>
                  <a:pt x="554839" y="0"/>
                </a:lnTo>
                <a:lnTo>
                  <a:pt x="556274" y="0"/>
                </a:lnTo>
                <a:lnTo>
                  <a:pt x="557643" y="0"/>
                </a:lnTo>
                <a:lnTo>
                  <a:pt x="559210" y="0"/>
                </a:lnTo>
                <a:lnTo>
                  <a:pt x="560645" y="0"/>
                </a:lnTo>
                <a:lnTo>
                  <a:pt x="561148" y="0"/>
                </a:lnTo>
                <a:lnTo>
                  <a:pt x="562818" y="0"/>
                </a:lnTo>
                <a:lnTo>
                  <a:pt x="562829" y="0"/>
                </a:lnTo>
                <a:lnTo>
                  <a:pt x="564768" y="0"/>
                </a:lnTo>
                <a:lnTo>
                  <a:pt x="566136" y="0"/>
                </a:lnTo>
                <a:lnTo>
                  <a:pt x="569138" y="0"/>
                </a:lnTo>
                <a:lnTo>
                  <a:pt x="569414" y="0"/>
                </a:lnTo>
                <a:lnTo>
                  <a:pt x="570609" y="0"/>
                </a:lnTo>
                <a:lnTo>
                  <a:pt x="572733" y="0"/>
                </a:lnTo>
                <a:lnTo>
                  <a:pt x="572937" y="0"/>
                </a:lnTo>
                <a:lnTo>
                  <a:pt x="574979" y="0"/>
                </a:lnTo>
                <a:lnTo>
                  <a:pt x="577309" y="0"/>
                </a:lnTo>
                <a:lnTo>
                  <a:pt x="578599" y="0"/>
                </a:lnTo>
                <a:lnTo>
                  <a:pt x="579103" y="0"/>
                </a:lnTo>
                <a:lnTo>
                  <a:pt x="581431" y="0"/>
                </a:lnTo>
                <a:lnTo>
                  <a:pt x="583473" y="0"/>
                </a:lnTo>
                <a:lnTo>
                  <a:pt x="585699" y="0"/>
                </a:lnTo>
                <a:lnTo>
                  <a:pt x="585803" y="0"/>
                </a:lnTo>
                <a:lnTo>
                  <a:pt x="588028" y="0"/>
                </a:lnTo>
                <a:lnTo>
                  <a:pt x="590070" y="0"/>
                </a:lnTo>
                <a:lnTo>
                  <a:pt x="590276" y="0"/>
                </a:lnTo>
                <a:lnTo>
                  <a:pt x="592399" y="0"/>
                </a:lnTo>
                <a:lnTo>
                  <a:pt x="593593" y="0"/>
                </a:lnTo>
                <a:lnTo>
                  <a:pt x="595263" y="0"/>
                </a:lnTo>
                <a:lnTo>
                  <a:pt x="597201" y="0"/>
                </a:lnTo>
                <a:lnTo>
                  <a:pt x="597211" y="0"/>
                </a:lnTo>
                <a:lnTo>
                  <a:pt x="598770" y="0"/>
                </a:lnTo>
                <a:lnTo>
                  <a:pt x="601572" y="0"/>
                </a:lnTo>
                <a:lnTo>
                  <a:pt x="601583" y="0"/>
                </a:lnTo>
                <a:lnTo>
                  <a:pt x="601859" y="0"/>
                </a:lnTo>
                <a:lnTo>
                  <a:pt x="602087" y="0"/>
                </a:lnTo>
                <a:lnTo>
                  <a:pt x="602364" y="0"/>
                </a:lnTo>
                <a:lnTo>
                  <a:pt x="603799" y="0"/>
                </a:lnTo>
                <a:lnTo>
                  <a:pt x="605366" y="0"/>
                </a:lnTo>
                <a:lnTo>
                  <a:pt x="606735" y="0"/>
                </a:lnTo>
                <a:lnTo>
                  <a:pt x="608169" y="0"/>
                </a:lnTo>
                <a:lnTo>
                  <a:pt x="608673" y="0"/>
                </a:lnTo>
                <a:lnTo>
                  <a:pt x="608683" y="0"/>
                </a:lnTo>
                <a:lnTo>
                  <a:pt x="610353" y="0"/>
                </a:lnTo>
                <a:lnTo>
                  <a:pt x="612293" y="0"/>
                </a:lnTo>
                <a:lnTo>
                  <a:pt x="613876" y="0"/>
                </a:lnTo>
                <a:lnTo>
                  <a:pt x="616662" y="0"/>
                </a:lnTo>
                <a:lnTo>
                  <a:pt x="618248" y="0"/>
                </a:lnTo>
                <a:lnTo>
                  <a:pt x="620185" y="0"/>
                </a:lnTo>
                <a:lnTo>
                  <a:pt x="620462" y="0"/>
                </a:lnTo>
                <a:lnTo>
                  <a:pt x="620472" y="0"/>
                </a:lnTo>
                <a:lnTo>
                  <a:pt x="622030" y="0"/>
                </a:lnTo>
                <a:lnTo>
                  <a:pt x="624833" y="0"/>
                </a:lnTo>
                <a:lnTo>
                  <a:pt x="624844" y="0"/>
                </a:lnTo>
                <a:lnTo>
                  <a:pt x="625347" y="0"/>
                </a:lnTo>
                <a:lnTo>
                  <a:pt x="626782" y="0"/>
                </a:lnTo>
                <a:lnTo>
                  <a:pt x="628956" y="0"/>
                </a:lnTo>
                <a:lnTo>
                  <a:pt x="628966" y="0"/>
                </a:lnTo>
                <a:lnTo>
                  <a:pt x="631213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5553" y="0"/>
                </a:lnTo>
                <a:lnTo>
                  <a:pt x="637800" y="0"/>
                </a:lnTo>
                <a:lnTo>
                  <a:pt x="637811" y="0"/>
                </a:lnTo>
                <a:lnTo>
                  <a:pt x="639923" y="0"/>
                </a:lnTo>
                <a:lnTo>
                  <a:pt x="641118" y="0"/>
                </a:lnTo>
                <a:lnTo>
                  <a:pt x="643446" y="0"/>
                </a:lnTo>
                <a:lnTo>
                  <a:pt x="644736" y="0"/>
                </a:lnTo>
                <a:lnTo>
                  <a:pt x="646293" y="0"/>
                </a:lnTo>
                <a:lnTo>
                  <a:pt x="646304" y="0"/>
                </a:lnTo>
                <a:lnTo>
                  <a:pt x="649107" y="0"/>
                </a:lnTo>
                <a:lnTo>
                  <a:pt x="649612" y="0"/>
                </a:lnTo>
                <a:lnTo>
                  <a:pt x="651940" y="0"/>
                </a:lnTo>
                <a:lnTo>
                  <a:pt x="652890" y="0"/>
                </a:lnTo>
                <a:lnTo>
                  <a:pt x="654474" y="0"/>
                </a:lnTo>
                <a:lnTo>
                  <a:pt x="656208" y="0"/>
                </a:lnTo>
                <a:lnTo>
                  <a:pt x="656412" y="0"/>
                </a:lnTo>
                <a:lnTo>
                  <a:pt x="658537" y="0"/>
                </a:lnTo>
                <a:lnTo>
                  <a:pt x="660785" y="0"/>
                </a:lnTo>
                <a:lnTo>
                  <a:pt x="661401" y="0"/>
                </a:lnTo>
                <a:lnTo>
                  <a:pt x="662968" y="0"/>
                </a:lnTo>
                <a:lnTo>
                  <a:pt x="664403" y="0"/>
                </a:lnTo>
                <a:lnTo>
                  <a:pt x="664906" y="0"/>
                </a:lnTo>
                <a:lnTo>
                  <a:pt x="665772" y="0"/>
                </a:lnTo>
                <a:lnTo>
                  <a:pt x="667710" y="0"/>
                </a:lnTo>
                <a:lnTo>
                  <a:pt x="667720" y="0"/>
                </a:lnTo>
                <a:lnTo>
                  <a:pt x="667997" y="0"/>
                </a:lnTo>
                <a:lnTo>
                  <a:pt x="669278" y="0"/>
                </a:lnTo>
                <a:lnTo>
                  <a:pt x="669554" y="0"/>
                </a:lnTo>
                <a:lnTo>
                  <a:pt x="669565" y="0"/>
                </a:lnTo>
                <a:lnTo>
                  <a:pt x="671502" y="0"/>
                </a:lnTo>
                <a:lnTo>
                  <a:pt x="672368" y="0"/>
                </a:lnTo>
                <a:lnTo>
                  <a:pt x="672872" y="0"/>
                </a:lnTo>
                <a:lnTo>
                  <a:pt x="674307" y="0"/>
                </a:lnTo>
                <a:lnTo>
                  <a:pt x="675874" y="0"/>
                </a:lnTo>
                <a:lnTo>
                  <a:pt x="676491" y="0"/>
                </a:lnTo>
                <a:lnTo>
                  <a:pt x="678737" y="0"/>
                </a:lnTo>
                <a:lnTo>
                  <a:pt x="680862" y="0"/>
                </a:lnTo>
                <a:lnTo>
                  <a:pt x="681067" y="0"/>
                </a:lnTo>
                <a:lnTo>
                  <a:pt x="682801" y="0"/>
                </a:lnTo>
                <a:lnTo>
                  <a:pt x="684384" y="0"/>
                </a:lnTo>
                <a:lnTo>
                  <a:pt x="685335" y="0"/>
                </a:lnTo>
                <a:lnTo>
                  <a:pt x="687663" y="0"/>
                </a:lnTo>
                <a:lnTo>
                  <a:pt x="688167" y="0"/>
                </a:lnTo>
                <a:lnTo>
                  <a:pt x="690971" y="0"/>
                </a:lnTo>
                <a:lnTo>
                  <a:pt x="690981" y="0"/>
                </a:lnTo>
                <a:lnTo>
                  <a:pt x="692539" y="0"/>
                </a:lnTo>
                <a:lnTo>
                  <a:pt x="693828" y="0"/>
                </a:lnTo>
                <a:lnTo>
                  <a:pt x="696157" y="0"/>
                </a:lnTo>
                <a:lnTo>
                  <a:pt x="697351" y="0"/>
                </a:lnTo>
                <a:lnTo>
                  <a:pt x="699465" y="0"/>
                </a:lnTo>
                <a:lnTo>
                  <a:pt x="699474" y="0"/>
                </a:lnTo>
                <a:lnTo>
                  <a:pt x="701722" y="0"/>
                </a:lnTo>
                <a:lnTo>
                  <a:pt x="701999" y="0"/>
                </a:lnTo>
                <a:lnTo>
                  <a:pt x="703938" y="0"/>
                </a:lnTo>
                <a:lnTo>
                  <a:pt x="703947" y="0"/>
                </a:lnTo>
                <a:lnTo>
                  <a:pt x="706062" y="0"/>
                </a:lnTo>
                <a:lnTo>
                  <a:pt x="708308" y="0"/>
                </a:lnTo>
                <a:lnTo>
                  <a:pt x="708319" y="0"/>
                </a:lnTo>
                <a:lnTo>
                  <a:pt x="710493" y="0"/>
                </a:lnTo>
                <a:lnTo>
                  <a:pt x="711927" y="0"/>
                </a:lnTo>
                <a:lnTo>
                  <a:pt x="712431" y="0"/>
                </a:lnTo>
                <a:lnTo>
                  <a:pt x="712441" y="0"/>
                </a:lnTo>
                <a:lnTo>
                  <a:pt x="715245" y="0"/>
                </a:lnTo>
                <a:lnTo>
                  <a:pt x="716802" y="0"/>
                </a:lnTo>
                <a:lnTo>
                  <a:pt x="716813" y="0"/>
                </a:lnTo>
                <a:lnTo>
                  <a:pt x="717089" y="0"/>
                </a:lnTo>
                <a:lnTo>
                  <a:pt x="719027" y="0"/>
                </a:lnTo>
                <a:lnTo>
                  <a:pt x="720612" y="0"/>
                </a:lnTo>
                <a:lnTo>
                  <a:pt x="723398" y="0"/>
                </a:lnTo>
                <a:lnTo>
                  <a:pt x="724983" y="0"/>
                </a:lnTo>
                <a:lnTo>
                  <a:pt x="726921" y="0"/>
                </a:lnTo>
                <a:lnTo>
                  <a:pt x="728591" y="0"/>
                </a:lnTo>
                <a:lnTo>
                  <a:pt x="728602" y="0"/>
                </a:lnTo>
                <a:lnTo>
                  <a:pt x="729106" y="0"/>
                </a:lnTo>
                <a:lnTo>
                  <a:pt x="730541" y="0"/>
                </a:lnTo>
                <a:lnTo>
                  <a:pt x="731909" y="0"/>
                </a:lnTo>
                <a:lnTo>
                  <a:pt x="733476" y="0"/>
                </a:lnTo>
                <a:lnTo>
                  <a:pt x="734911" y="0"/>
                </a:lnTo>
                <a:lnTo>
                  <a:pt x="735187" y="0"/>
                </a:lnTo>
                <a:lnTo>
                  <a:pt x="735415" y="0"/>
                </a:lnTo>
                <a:lnTo>
                  <a:pt x="735692" y="0"/>
                </a:lnTo>
                <a:lnTo>
                  <a:pt x="735702" y="0"/>
                </a:lnTo>
                <a:lnTo>
                  <a:pt x="738506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3681" y="0"/>
                </a:lnTo>
                <a:lnTo>
                  <a:pt x="744876" y="0"/>
                </a:lnTo>
                <a:lnTo>
                  <a:pt x="746999" y="0"/>
                </a:lnTo>
                <a:lnTo>
                  <a:pt x="747204" y="0"/>
                </a:lnTo>
                <a:lnTo>
                  <a:pt x="749246" y="0"/>
                </a:lnTo>
                <a:lnTo>
                  <a:pt x="751472" y="0"/>
                </a:lnTo>
                <a:lnTo>
                  <a:pt x="751576" y="0"/>
                </a:lnTo>
                <a:lnTo>
                  <a:pt x="753801" y="0"/>
                </a:lnTo>
                <a:lnTo>
                  <a:pt x="755843" y="0"/>
                </a:lnTo>
                <a:lnTo>
                  <a:pt x="758172" y="0"/>
                </a:lnTo>
                <a:lnTo>
                  <a:pt x="758676" y="0"/>
                </a:lnTo>
                <a:lnTo>
                  <a:pt x="759966" y="0"/>
                </a:lnTo>
                <a:lnTo>
                  <a:pt x="762295" y="0"/>
                </a:lnTo>
                <a:lnTo>
                  <a:pt x="764337" y="0"/>
                </a:lnTo>
                <a:lnTo>
                  <a:pt x="764543" y="0"/>
                </a:lnTo>
                <a:lnTo>
                  <a:pt x="766666" y="0"/>
                </a:lnTo>
                <a:lnTo>
                  <a:pt x="767860" y="0"/>
                </a:lnTo>
                <a:lnTo>
                  <a:pt x="768137" y="0"/>
                </a:lnTo>
                <a:lnTo>
                  <a:pt x="771139" y="0"/>
                </a:lnTo>
                <a:lnTo>
                  <a:pt x="772508" y="0"/>
                </a:lnTo>
                <a:lnTo>
                  <a:pt x="774446" y="0"/>
                </a:lnTo>
                <a:lnTo>
                  <a:pt x="774456" y="0"/>
                </a:lnTo>
                <a:lnTo>
                  <a:pt x="776126" y="0"/>
                </a:lnTo>
                <a:lnTo>
                  <a:pt x="776631" y="0"/>
                </a:lnTo>
                <a:lnTo>
                  <a:pt x="778066" y="0"/>
                </a:lnTo>
                <a:lnTo>
                  <a:pt x="779633" y="0"/>
                </a:lnTo>
                <a:lnTo>
                  <a:pt x="781001" y="0"/>
                </a:lnTo>
                <a:lnTo>
                  <a:pt x="782435" y="0"/>
                </a:lnTo>
                <a:lnTo>
                  <a:pt x="782940" y="0"/>
                </a:lnTo>
                <a:lnTo>
                  <a:pt x="782950" y="0"/>
                </a:lnTo>
                <a:lnTo>
                  <a:pt x="783227" y="0"/>
                </a:lnTo>
                <a:lnTo>
                  <a:pt x="787598" y="0"/>
                </a:lnTo>
                <a:lnTo>
                  <a:pt x="787803" y="0"/>
                </a:lnTo>
                <a:lnTo>
                  <a:pt x="789536" y="0"/>
                </a:lnTo>
                <a:lnTo>
                  <a:pt x="791120" y="0"/>
                </a:lnTo>
                <a:lnTo>
                  <a:pt x="794729" y="0"/>
                </a:lnTo>
                <a:lnTo>
                  <a:pt x="794739" y="0"/>
                </a:lnTo>
                <a:lnTo>
                  <a:pt x="796297" y="0"/>
                </a:lnTo>
                <a:lnTo>
                  <a:pt x="799100" y="0"/>
                </a:lnTo>
                <a:lnTo>
                  <a:pt x="799111" y="0"/>
                </a:lnTo>
                <a:lnTo>
                  <a:pt x="799614" y="0"/>
                </a:lnTo>
                <a:lnTo>
                  <a:pt x="801049" y="0"/>
                </a:lnTo>
                <a:lnTo>
                  <a:pt x="801326" y="0"/>
                </a:lnTo>
                <a:lnTo>
                  <a:pt x="802893" y="0"/>
                </a:lnTo>
                <a:lnTo>
                  <a:pt x="805696" y="0"/>
                </a:lnTo>
                <a:lnTo>
                  <a:pt x="806201" y="0"/>
                </a:lnTo>
                <a:lnTo>
                  <a:pt x="806210" y="0"/>
                </a:lnTo>
                <a:lnTo>
                  <a:pt x="809820" y="0"/>
                </a:lnTo>
                <a:lnTo>
                  <a:pt x="812066" y="0"/>
                </a:lnTo>
                <a:lnTo>
                  <a:pt x="812077" y="0"/>
                </a:lnTo>
                <a:lnTo>
                  <a:pt x="814190" y="0"/>
                </a:lnTo>
                <a:lnTo>
                  <a:pt x="815385" y="0"/>
                </a:lnTo>
                <a:lnTo>
                  <a:pt x="817713" y="0"/>
                </a:lnTo>
                <a:lnTo>
                  <a:pt x="818663" y="0"/>
                </a:lnTo>
                <a:lnTo>
                  <a:pt x="821981" y="0"/>
                </a:lnTo>
                <a:lnTo>
                  <a:pt x="824310" y="0"/>
                </a:lnTo>
                <a:lnTo>
                  <a:pt x="827156" y="0"/>
                </a:lnTo>
                <a:lnTo>
                  <a:pt x="828741" y="0"/>
                </a:lnTo>
                <a:lnTo>
                  <a:pt x="830475" y="0"/>
                </a:lnTo>
                <a:lnTo>
                  <a:pt x="830679" y="0"/>
                </a:lnTo>
                <a:lnTo>
                  <a:pt x="832804" y="0"/>
                </a:lnTo>
                <a:lnTo>
                  <a:pt x="835051" y="0"/>
                </a:lnTo>
                <a:lnTo>
                  <a:pt x="835327" y="0"/>
                </a:lnTo>
                <a:lnTo>
                  <a:pt x="835338" y="0"/>
                </a:lnTo>
                <a:lnTo>
                  <a:pt x="837275" y="0"/>
                </a:lnTo>
                <a:lnTo>
                  <a:pt x="838645" y="0"/>
                </a:lnTo>
                <a:lnTo>
                  <a:pt x="841647" y="0"/>
                </a:lnTo>
                <a:lnTo>
                  <a:pt x="842264" y="0"/>
                </a:lnTo>
                <a:lnTo>
                  <a:pt x="843821" y="0"/>
                </a:lnTo>
                <a:lnTo>
                  <a:pt x="843832" y="0"/>
                </a:lnTo>
                <a:lnTo>
                  <a:pt x="845769" y="0"/>
                </a:lnTo>
                <a:lnTo>
                  <a:pt x="846635" y="0"/>
                </a:lnTo>
                <a:lnTo>
                  <a:pt x="847139" y="0"/>
                </a:lnTo>
                <a:lnTo>
                  <a:pt x="848574" y="0"/>
                </a:lnTo>
                <a:lnTo>
                  <a:pt x="850141" y="0"/>
                </a:lnTo>
                <a:lnTo>
                  <a:pt x="850417" y="0"/>
                </a:lnTo>
                <a:lnTo>
                  <a:pt x="853735" y="0"/>
                </a:lnTo>
                <a:lnTo>
                  <a:pt x="853940" y="0"/>
                </a:lnTo>
                <a:lnTo>
                  <a:pt x="858312" y="0"/>
                </a:lnTo>
                <a:lnTo>
                  <a:pt x="859601" y="0"/>
                </a:lnTo>
                <a:lnTo>
                  <a:pt x="861930" y="0"/>
                </a:lnTo>
                <a:lnTo>
                  <a:pt x="862434" y="0"/>
                </a:lnTo>
                <a:lnTo>
                  <a:pt x="865238" y="0"/>
                </a:lnTo>
                <a:lnTo>
                  <a:pt x="865247" y="0"/>
                </a:lnTo>
                <a:lnTo>
                  <a:pt x="866806" y="0"/>
                </a:lnTo>
                <a:lnTo>
                  <a:pt x="869030" y="0"/>
                </a:lnTo>
                <a:lnTo>
                  <a:pt x="871835" y="0"/>
                </a:lnTo>
                <a:lnTo>
                  <a:pt x="873402" y="0"/>
                </a:lnTo>
                <a:lnTo>
                  <a:pt x="876266" y="0"/>
                </a:lnTo>
                <a:lnTo>
                  <a:pt x="878204" y="0"/>
                </a:lnTo>
                <a:lnTo>
                  <a:pt x="878214" y="0"/>
                </a:lnTo>
                <a:lnTo>
                  <a:pt x="880329" y="0"/>
                </a:lnTo>
                <a:lnTo>
                  <a:pt x="882575" y="0"/>
                </a:lnTo>
                <a:lnTo>
                  <a:pt x="882586" y="0"/>
                </a:lnTo>
                <a:lnTo>
                  <a:pt x="882862" y="0"/>
                </a:lnTo>
                <a:lnTo>
                  <a:pt x="884800" y="0"/>
                </a:lnTo>
                <a:lnTo>
                  <a:pt x="889171" y="0"/>
                </a:lnTo>
                <a:lnTo>
                  <a:pt x="891356" y="0"/>
                </a:lnTo>
                <a:lnTo>
                  <a:pt x="893294" y="0"/>
                </a:lnTo>
                <a:lnTo>
                  <a:pt x="894879" y="0"/>
                </a:lnTo>
                <a:lnTo>
                  <a:pt x="897665" y="0"/>
                </a:lnTo>
                <a:lnTo>
                  <a:pt x="899249" y="0"/>
                </a:lnTo>
                <a:lnTo>
                  <a:pt x="901188" y="0"/>
                </a:lnTo>
                <a:lnTo>
                  <a:pt x="901465" y="0"/>
                </a:lnTo>
                <a:lnTo>
                  <a:pt x="901475" y="0"/>
                </a:lnTo>
                <a:lnTo>
                  <a:pt x="905836" y="0"/>
                </a:lnTo>
                <a:lnTo>
                  <a:pt x="905847" y="0"/>
                </a:lnTo>
                <a:lnTo>
                  <a:pt x="907784" y="0"/>
                </a:lnTo>
                <a:lnTo>
                  <a:pt x="909454" y="0"/>
                </a:lnTo>
                <a:lnTo>
                  <a:pt x="909959" y="0"/>
                </a:lnTo>
                <a:lnTo>
                  <a:pt x="909968" y="0"/>
                </a:lnTo>
                <a:lnTo>
                  <a:pt x="912772" y="0"/>
                </a:lnTo>
                <a:lnTo>
                  <a:pt x="914330" y="0"/>
                </a:lnTo>
                <a:lnTo>
                  <a:pt x="914341" y="0"/>
                </a:lnTo>
                <a:lnTo>
                  <a:pt x="916278" y="0"/>
                </a:lnTo>
                <a:lnTo>
                  <a:pt x="916555" y="0"/>
                </a:lnTo>
                <a:lnTo>
                  <a:pt x="924449" y="0"/>
                </a:lnTo>
                <a:lnTo>
                  <a:pt x="925739" y="0"/>
                </a:lnTo>
                <a:lnTo>
                  <a:pt x="928068" y="0"/>
                </a:lnTo>
                <a:lnTo>
                  <a:pt x="930110" y="0"/>
                </a:lnTo>
                <a:lnTo>
                  <a:pt x="932439" y="0"/>
                </a:lnTo>
                <a:lnTo>
                  <a:pt x="942404" y="0"/>
                </a:lnTo>
                <a:lnTo>
                  <a:pt x="945406" y="0"/>
                </a:lnTo>
                <a:lnTo>
                  <a:pt x="946774" y="0"/>
                </a:lnTo>
                <a:lnTo>
                  <a:pt x="948713" y="0"/>
                </a:lnTo>
                <a:lnTo>
                  <a:pt x="948723" y="0"/>
                </a:lnTo>
                <a:lnTo>
                  <a:pt x="949000" y="0"/>
                </a:lnTo>
                <a:lnTo>
                  <a:pt x="953371" y="0"/>
                </a:lnTo>
                <a:lnTo>
                  <a:pt x="955309" y="0"/>
                </a:lnTo>
                <a:lnTo>
                  <a:pt x="962070" y="0"/>
                </a:lnTo>
                <a:lnTo>
                  <a:pt x="965387" y="0"/>
                </a:lnTo>
                <a:lnTo>
                  <a:pt x="968666" y="0"/>
                </a:lnTo>
                <a:lnTo>
                  <a:pt x="971974" y="0"/>
                </a:lnTo>
                <a:lnTo>
                  <a:pt x="971983" y="0"/>
                </a:lnTo>
                <a:lnTo>
                  <a:pt x="975593" y="0"/>
                </a:lnTo>
                <a:lnTo>
                  <a:pt x="979963" y="0"/>
                </a:lnTo>
                <a:lnTo>
                  <a:pt x="992929" y="0"/>
                </a:lnTo>
                <a:lnTo>
                  <a:pt x="996248" y="0"/>
                </a:lnTo>
                <a:lnTo>
                  <a:pt x="998577" y="0"/>
                </a:lnTo>
                <a:lnTo>
                  <a:pt x="1009594" y="0"/>
                </a:lnTo>
                <a:lnTo>
                  <a:pt x="1009605" y="0"/>
                </a:lnTo>
                <a:lnTo>
                  <a:pt x="1011542" y="0"/>
                </a:lnTo>
                <a:lnTo>
                  <a:pt x="1012912" y="0"/>
                </a:lnTo>
                <a:lnTo>
                  <a:pt x="1015914" y="0"/>
                </a:lnTo>
                <a:lnTo>
                  <a:pt x="1016190" y="0"/>
                </a:lnTo>
                <a:lnTo>
                  <a:pt x="1019508" y="0"/>
                </a:lnTo>
                <a:lnTo>
                  <a:pt x="1028207" y="0"/>
                </a:lnTo>
                <a:lnTo>
                  <a:pt x="1032579" y="0"/>
                </a:lnTo>
                <a:lnTo>
                  <a:pt x="1034803" y="0"/>
                </a:lnTo>
                <a:lnTo>
                  <a:pt x="1039175" y="0"/>
                </a:lnTo>
                <a:lnTo>
                  <a:pt x="1046102" y="0"/>
                </a:lnTo>
                <a:lnTo>
                  <a:pt x="1057129" y="0"/>
                </a:lnTo>
                <a:lnTo>
                  <a:pt x="1059067" y="0"/>
                </a:lnTo>
                <a:lnTo>
                  <a:pt x="1063438" y="0"/>
                </a:lnTo>
                <a:lnTo>
                  <a:pt x="1075732" y="0"/>
                </a:lnTo>
                <a:lnTo>
                  <a:pt x="1075741" y="0"/>
                </a:lnTo>
                <a:lnTo>
                  <a:pt x="1080103" y="0"/>
                </a:lnTo>
                <a:lnTo>
                  <a:pt x="1080114" y="0"/>
                </a:lnTo>
                <a:lnTo>
                  <a:pt x="1082051" y="0"/>
                </a:lnTo>
                <a:lnTo>
                  <a:pt x="1082328" y="0"/>
                </a:lnTo>
                <a:cubicBezTo>
                  <a:pt x="1223131" y="0"/>
                  <a:pt x="1337274" y="114144"/>
                  <a:pt x="1337274" y="254947"/>
                </a:cubicBezTo>
                <a:lnTo>
                  <a:pt x="1337273" y="254947"/>
                </a:lnTo>
                <a:cubicBezTo>
                  <a:pt x="1337273" y="395750"/>
                  <a:pt x="1223130" y="509892"/>
                  <a:pt x="1082328" y="509892"/>
                </a:cubicBezTo>
                <a:lnTo>
                  <a:pt x="1080115" y="509892"/>
                </a:lnTo>
                <a:lnTo>
                  <a:pt x="1080112" y="509892"/>
                </a:lnTo>
                <a:lnTo>
                  <a:pt x="1080103" y="509892"/>
                </a:lnTo>
                <a:lnTo>
                  <a:pt x="1080102" y="509892"/>
                </a:lnTo>
                <a:lnTo>
                  <a:pt x="1075744" y="509892"/>
                </a:lnTo>
                <a:lnTo>
                  <a:pt x="1075740" y="509892"/>
                </a:lnTo>
                <a:lnTo>
                  <a:pt x="1075731" y="509892"/>
                </a:lnTo>
                <a:lnTo>
                  <a:pt x="1057129" y="509892"/>
                </a:lnTo>
                <a:lnTo>
                  <a:pt x="1057128" y="509892"/>
                </a:lnTo>
                <a:lnTo>
                  <a:pt x="1046101" y="509892"/>
                </a:lnTo>
                <a:lnTo>
                  <a:pt x="1039177" y="509892"/>
                </a:lnTo>
                <a:lnTo>
                  <a:pt x="1039174" y="509892"/>
                </a:lnTo>
                <a:lnTo>
                  <a:pt x="1034805" y="509892"/>
                </a:lnTo>
                <a:lnTo>
                  <a:pt x="1034803" y="509892"/>
                </a:lnTo>
                <a:lnTo>
                  <a:pt x="1032580" y="509892"/>
                </a:lnTo>
                <a:lnTo>
                  <a:pt x="1032578" y="509892"/>
                </a:lnTo>
                <a:lnTo>
                  <a:pt x="1028209" y="509892"/>
                </a:lnTo>
                <a:lnTo>
                  <a:pt x="1028206" y="509892"/>
                </a:lnTo>
                <a:lnTo>
                  <a:pt x="1019508" y="509892"/>
                </a:lnTo>
                <a:lnTo>
                  <a:pt x="1019507" y="509892"/>
                </a:lnTo>
                <a:lnTo>
                  <a:pt x="1016190" y="509892"/>
                </a:lnTo>
                <a:lnTo>
                  <a:pt x="1016189" y="509892"/>
                </a:lnTo>
                <a:lnTo>
                  <a:pt x="1012912" y="509892"/>
                </a:lnTo>
                <a:lnTo>
                  <a:pt x="1012911" y="509892"/>
                </a:lnTo>
                <a:lnTo>
                  <a:pt x="1009606" y="509892"/>
                </a:lnTo>
                <a:lnTo>
                  <a:pt x="1009604" y="509892"/>
                </a:lnTo>
                <a:lnTo>
                  <a:pt x="1009594" y="509892"/>
                </a:lnTo>
                <a:lnTo>
                  <a:pt x="1009593" y="509892"/>
                </a:lnTo>
                <a:lnTo>
                  <a:pt x="998578" y="509892"/>
                </a:lnTo>
                <a:lnTo>
                  <a:pt x="998576" y="509892"/>
                </a:lnTo>
                <a:lnTo>
                  <a:pt x="979963" y="509892"/>
                </a:lnTo>
                <a:lnTo>
                  <a:pt x="975592" y="509892"/>
                </a:lnTo>
                <a:lnTo>
                  <a:pt x="971986" y="509892"/>
                </a:lnTo>
                <a:lnTo>
                  <a:pt x="971982" y="509892"/>
                </a:lnTo>
                <a:lnTo>
                  <a:pt x="971973" y="509892"/>
                </a:lnTo>
                <a:lnTo>
                  <a:pt x="968668" y="509892"/>
                </a:lnTo>
                <a:lnTo>
                  <a:pt x="968665" y="509892"/>
                </a:lnTo>
                <a:lnTo>
                  <a:pt x="965388" y="509892"/>
                </a:lnTo>
                <a:lnTo>
                  <a:pt x="965386" y="509892"/>
                </a:lnTo>
                <a:lnTo>
                  <a:pt x="962071" y="509892"/>
                </a:lnTo>
                <a:lnTo>
                  <a:pt x="962069" y="509892"/>
                </a:lnTo>
                <a:lnTo>
                  <a:pt x="953371" y="509892"/>
                </a:lnTo>
                <a:lnTo>
                  <a:pt x="953370" y="509892"/>
                </a:lnTo>
                <a:lnTo>
                  <a:pt x="949000" y="509892"/>
                </a:lnTo>
                <a:lnTo>
                  <a:pt x="948999" y="509892"/>
                </a:lnTo>
                <a:lnTo>
                  <a:pt x="946774" y="509892"/>
                </a:lnTo>
                <a:lnTo>
                  <a:pt x="946773" y="509892"/>
                </a:lnTo>
                <a:lnTo>
                  <a:pt x="942404" y="509892"/>
                </a:lnTo>
                <a:lnTo>
                  <a:pt x="942402" y="509892"/>
                </a:lnTo>
                <a:lnTo>
                  <a:pt x="932441" y="509892"/>
                </a:lnTo>
                <a:lnTo>
                  <a:pt x="932439" y="509892"/>
                </a:lnTo>
                <a:lnTo>
                  <a:pt x="928069" y="509892"/>
                </a:lnTo>
                <a:lnTo>
                  <a:pt x="928067" y="509892"/>
                </a:lnTo>
                <a:lnTo>
                  <a:pt x="924451" y="509892"/>
                </a:lnTo>
                <a:lnTo>
                  <a:pt x="924448" y="509892"/>
                </a:lnTo>
                <a:lnTo>
                  <a:pt x="916555" y="509892"/>
                </a:lnTo>
                <a:lnTo>
                  <a:pt x="914342" y="509892"/>
                </a:lnTo>
                <a:lnTo>
                  <a:pt x="914339" y="509892"/>
                </a:lnTo>
                <a:lnTo>
                  <a:pt x="914330" y="509892"/>
                </a:lnTo>
                <a:lnTo>
                  <a:pt x="914329" y="509892"/>
                </a:lnTo>
                <a:lnTo>
                  <a:pt x="912772" y="509892"/>
                </a:lnTo>
                <a:lnTo>
                  <a:pt x="909971" y="509892"/>
                </a:lnTo>
                <a:lnTo>
                  <a:pt x="909967" y="509892"/>
                </a:lnTo>
                <a:lnTo>
                  <a:pt x="909958" y="509892"/>
                </a:lnTo>
                <a:lnTo>
                  <a:pt x="909454" y="509892"/>
                </a:lnTo>
                <a:lnTo>
                  <a:pt x="905848" y="509892"/>
                </a:lnTo>
                <a:lnTo>
                  <a:pt x="905846" y="509892"/>
                </a:lnTo>
                <a:lnTo>
                  <a:pt x="905836" y="509892"/>
                </a:lnTo>
                <a:lnTo>
                  <a:pt x="905835" y="509892"/>
                </a:lnTo>
                <a:lnTo>
                  <a:pt x="901477" y="509892"/>
                </a:lnTo>
                <a:lnTo>
                  <a:pt x="901474" y="509892"/>
                </a:lnTo>
                <a:lnTo>
                  <a:pt x="901464" y="509892"/>
                </a:lnTo>
                <a:lnTo>
                  <a:pt x="899251" y="509892"/>
                </a:lnTo>
                <a:lnTo>
                  <a:pt x="899249" y="509892"/>
                </a:lnTo>
                <a:lnTo>
                  <a:pt x="894880" y="509892"/>
                </a:lnTo>
                <a:lnTo>
                  <a:pt x="894877" y="509892"/>
                </a:lnTo>
                <a:lnTo>
                  <a:pt x="891356" y="509892"/>
                </a:lnTo>
                <a:lnTo>
                  <a:pt x="891355" y="509892"/>
                </a:lnTo>
                <a:lnTo>
                  <a:pt x="882862" y="509892"/>
                </a:lnTo>
                <a:lnTo>
                  <a:pt x="882861" y="509892"/>
                </a:lnTo>
                <a:lnTo>
                  <a:pt x="880328" y="509892"/>
                </a:lnTo>
                <a:lnTo>
                  <a:pt x="876266" y="509892"/>
                </a:lnTo>
                <a:lnTo>
                  <a:pt x="876265" y="509892"/>
                </a:lnTo>
                <a:lnTo>
                  <a:pt x="873404" y="509892"/>
                </a:lnTo>
                <a:lnTo>
                  <a:pt x="873401" y="509892"/>
                </a:lnTo>
                <a:lnTo>
                  <a:pt x="871834" y="509892"/>
                </a:lnTo>
                <a:lnTo>
                  <a:pt x="869032" y="509892"/>
                </a:lnTo>
                <a:lnTo>
                  <a:pt x="869030" y="509892"/>
                </a:lnTo>
                <a:lnTo>
                  <a:pt x="866807" y="509892"/>
                </a:lnTo>
                <a:lnTo>
                  <a:pt x="866805" y="509892"/>
                </a:lnTo>
                <a:lnTo>
                  <a:pt x="865250" y="509892"/>
                </a:lnTo>
                <a:lnTo>
                  <a:pt x="865247" y="509892"/>
                </a:lnTo>
                <a:lnTo>
                  <a:pt x="865237" y="509892"/>
                </a:lnTo>
                <a:lnTo>
                  <a:pt x="862436" y="509892"/>
                </a:lnTo>
                <a:lnTo>
                  <a:pt x="862433" y="509892"/>
                </a:lnTo>
                <a:lnTo>
                  <a:pt x="861932" y="509892"/>
                </a:lnTo>
                <a:lnTo>
                  <a:pt x="861930" y="509892"/>
                </a:lnTo>
                <a:lnTo>
                  <a:pt x="858313" y="509892"/>
                </a:lnTo>
                <a:lnTo>
                  <a:pt x="858311" y="509892"/>
                </a:lnTo>
                <a:lnTo>
                  <a:pt x="853942" y="509892"/>
                </a:lnTo>
                <a:lnTo>
                  <a:pt x="853939" y="509892"/>
                </a:lnTo>
                <a:lnTo>
                  <a:pt x="853735" y="509892"/>
                </a:lnTo>
                <a:lnTo>
                  <a:pt x="853734" y="509892"/>
                </a:lnTo>
                <a:lnTo>
                  <a:pt x="850417" y="509892"/>
                </a:lnTo>
                <a:lnTo>
                  <a:pt x="850416" y="509892"/>
                </a:lnTo>
                <a:lnTo>
                  <a:pt x="847139" y="509892"/>
                </a:lnTo>
                <a:lnTo>
                  <a:pt x="847138" y="509892"/>
                </a:lnTo>
                <a:lnTo>
                  <a:pt x="846635" y="509892"/>
                </a:lnTo>
                <a:lnTo>
                  <a:pt x="846634" y="509892"/>
                </a:lnTo>
                <a:lnTo>
                  <a:pt x="843833" y="509892"/>
                </a:lnTo>
                <a:lnTo>
                  <a:pt x="843831" y="509892"/>
                </a:lnTo>
                <a:lnTo>
                  <a:pt x="843821" y="509892"/>
                </a:lnTo>
                <a:lnTo>
                  <a:pt x="843820" y="509892"/>
                </a:lnTo>
                <a:lnTo>
                  <a:pt x="842264" y="509892"/>
                </a:lnTo>
                <a:lnTo>
                  <a:pt x="838645" y="509892"/>
                </a:lnTo>
                <a:lnTo>
                  <a:pt x="838644" y="509892"/>
                </a:lnTo>
                <a:lnTo>
                  <a:pt x="835339" y="509892"/>
                </a:lnTo>
                <a:lnTo>
                  <a:pt x="835337" y="509892"/>
                </a:lnTo>
                <a:lnTo>
                  <a:pt x="835327" y="509892"/>
                </a:lnTo>
                <a:lnTo>
                  <a:pt x="835326" y="509892"/>
                </a:lnTo>
                <a:lnTo>
                  <a:pt x="832805" y="509892"/>
                </a:lnTo>
                <a:lnTo>
                  <a:pt x="832803" y="509892"/>
                </a:lnTo>
                <a:lnTo>
                  <a:pt x="828742" y="509892"/>
                </a:lnTo>
                <a:lnTo>
                  <a:pt x="828741" y="509892"/>
                </a:lnTo>
                <a:lnTo>
                  <a:pt x="824311" y="509892"/>
                </a:lnTo>
                <a:lnTo>
                  <a:pt x="824309" y="509892"/>
                </a:lnTo>
                <a:lnTo>
                  <a:pt x="817715" y="509892"/>
                </a:lnTo>
                <a:lnTo>
                  <a:pt x="817712" y="509892"/>
                </a:lnTo>
                <a:lnTo>
                  <a:pt x="814190" y="509892"/>
                </a:lnTo>
                <a:lnTo>
                  <a:pt x="809819" y="509892"/>
                </a:lnTo>
                <a:lnTo>
                  <a:pt x="806213" y="509892"/>
                </a:lnTo>
                <a:lnTo>
                  <a:pt x="806209" y="509892"/>
                </a:lnTo>
                <a:lnTo>
                  <a:pt x="806200" y="509892"/>
                </a:lnTo>
                <a:lnTo>
                  <a:pt x="805696" y="509892"/>
                </a:lnTo>
                <a:lnTo>
                  <a:pt x="802895" y="509892"/>
                </a:lnTo>
                <a:lnTo>
                  <a:pt x="802892" y="509892"/>
                </a:lnTo>
                <a:lnTo>
                  <a:pt x="801325" y="509892"/>
                </a:lnTo>
                <a:lnTo>
                  <a:pt x="799615" y="509892"/>
                </a:lnTo>
                <a:lnTo>
                  <a:pt x="799613" y="509892"/>
                </a:lnTo>
                <a:lnTo>
                  <a:pt x="799112" y="509892"/>
                </a:lnTo>
                <a:lnTo>
                  <a:pt x="799110" y="509892"/>
                </a:lnTo>
                <a:lnTo>
                  <a:pt x="799100" y="509892"/>
                </a:lnTo>
                <a:lnTo>
                  <a:pt x="799099" y="509892"/>
                </a:lnTo>
                <a:lnTo>
                  <a:pt x="796298" y="509892"/>
                </a:lnTo>
                <a:lnTo>
                  <a:pt x="796296" y="509892"/>
                </a:lnTo>
                <a:lnTo>
                  <a:pt x="794741" y="509892"/>
                </a:lnTo>
                <a:lnTo>
                  <a:pt x="794739" y="509892"/>
                </a:lnTo>
                <a:lnTo>
                  <a:pt x="794728" y="509892"/>
                </a:lnTo>
                <a:lnTo>
                  <a:pt x="791122" y="509892"/>
                </a:lnTo>
                <a:lnTo>
                  <a:pt x="791119" y="509892"/>
                </a:lnTo>
                <a:lnTo>
                  <a:pt x="787804" y="509892"/>
                </a:lnTo>
                <a:lnTo>
                  <a:pt x="787802" y="509892"/>
                </a:lnTo>
                <a:lnTo>
                  <a:pt x="787598" y="509892"/>
                </a:lnTo>
                <a:lnTo>
                  <a:pt x="787597" y="509892"/>
                </a:lnTo>
                <a:lnTo>
                  <a:pt x="783227" y="509892"/>
                </a:lnTo>
                <a:lnTo>
                  <a:pt x="783226" y="509892"/>
                </a:lnTo>
                <a:lnTo>
                  <a:pt x="781001" y="509892"/>
                </a:lnTo>
                <a:lnTo>
                  <a:pt x="781000" y="509892"/>
                </a:lnTo>
                <a:lnTo>
                  <a:pt x="776631" y="509892"/>
                </a:lnTo>
                <a:lnTo>
                  <a:pt x="776629" y="509892"/>
                </a:lnTo>
                <a:lnTo>
                  <a:pt x="776126" y="509892"/>
                </a:lnTo>
                <a:lnTo>
                  <a:pt x="776125" y="509892"/>
                </a:lnTo>
                <a:lnTo>
                  <a:pt x="772508" y="509892"/>
                </a:lnTo>
                <a:lnTo>
                  <a:pt x="772507" y="509892"/>
                </a:lnTo>
                <a:lnTo>
                  <a:pt x="768137" y="509892"/>
                </a:lnTo>
                <a:lnTo>
                  <a:pt x="768136" y="509892"/>
                </a:lnTo>
                <a:lnTo>
                  <a:pt x="766668" y="509892"/>
                </a:lnTo>
                <a:lnTo>
                  <a:pt x="766666" y="509892"/>
                </a:lnTo>
                <a:lnTo>
                  <a:pt x="762296" y="509892"/>
                </a:lnTo>
                <a:lnTo>
                  <a:pt x="762294" y="509892"/>
                </a:lnTo>
                <a:lnTo>
                  <a:pt x="758678" y="509892"/>
                </a:lnTo>
                <a:lnTo>
                  <a:pt x="758675" y="509892"/>
                </a:lnTo>
                <a:lnTo>
                  <a:pt x="758174" y="509892"/>
                </a:lnTo>
                <a:lnTo>
                  <a:pt x="758172" y="509892"/>
                </a:lnTo>
                <a:lnTo>
                  <a:pt x="753802" y="509892"/>
                </a:lnTo>
                <a:lnTo>
                  <a:pt x="753800" y="509892"/>
                </a:lnTo>
                <a:lnTo>
                  <a:pt x="751578" y="509892"/>
                </a:lnTo>
                <a:lnTo>
                  <a:pt x="751575" y="509892"/>
                </a:lnTo>
                <a:lnTo>
                  <a:pt x="747206" y="509892"/>
                </a:lnTo>
                <a:lnTo>
                  <a:pt x="747203" y="509892"/>
                </a:lnTo>
                <a:lnTo>
                  <a:pt x="746999" y="509892"/>
                </a:lnTo>
                <a:lnTo>
                  <a:pt x="743681" y="509892"/>
                </a:lnTo>
                <a:lnTo>
                  <a:pt x="740075" y="509892"/>
                </a:lnTo>
                <a:lnTo>
                  <a:pt x="740073" y="509892"/>
                </a:lnTo>
                <a:lnTo>
                  <a:pt x="740063" y="509892"/>
                </a:lnTo>
                <a:lnTo>
                  <a:pt x="740062" y="509892"/>
                </a:lnTo>
                <a:lnTo>
                  <a:pt x="738506" y="509892"/>
                </a:lnTo>
                <a:lnTo>
                  <a:pt x="735704" y="509892"/>
                </a:lnTo>
                <a:lnTo>
                  <a:pt x="735701" y="509892"/>
                </a:lnTo>
                <a:lnTo>
                  <a:pt x="735691" y="509892"/>
                </a:lnTo>
                <a:lnTo>
                  <a:pt x="735187" y="509892"/>
                </a:lnTo>
                <a:lnTo>
                  <a:pt x="733478" y="509892"/>
                </a:lnTo>
                <a:lnTo>
                  <a:pt x="733476" y="509892"/>
                </a:lnTo>
                <a:lnTo>
                  <a:pt x="731909" y="509892"/>
                </a:lnTo>
                <a:lnTo>
                  <a:pt x="731908" y="509892"/>
                </a:lnTo>
                <a:lnTo>
                  <a:pt x="729107" y="509892"/>
                </a:lnTo>
                <a:lnTo>
                  <a:pt x="729104" y="509892"/>
                </a:lnTo>
                <a:lnTo>
                  <a:pt x="728603" y="509892"/>
                </a:lnTo>
                <a:lnTo>
                  <a:pt x="728601" y="509892"/>
                </a:lnTo>
                <a:lnTo>
                  <a:pt x="728591" y="509892"/>
                </a:lnTo>
                <a:lnTo>
                  <a:pt x="728590" y="509892"/>
                </a:lnTo>
                <a:lnTo>
                  <a:pt x="724984" y="509892"/>
                </a:lnTo>
                <a:lnTo>
                  <a:pt x="724983" y="509892"/>
                </a:lnTo>
                <a:lnTo>
                  <a:pt x="720613" y="509892"/>
                </a:lnTo>
                <a:lnTo>
                  <a:pt x="720611" y="509892"/>
                </a:lnTo>
                <a:lnTo>
                  <a:pt x="717089" y="509892"/>
                </a:lnTo>
                <a:lnTo>
                  <a:pt x="717088" y="509892"/>
                </a:lnTo>
                <a:lnTo>
                  <a:pt x="710493" y="509892"/>
                </a:lnTo>
                <a:lnTo>
                  <a:pt x="710492" y="509892"/>
                </a:lnTo>
                <a:lnTo>
                  <a:pt x="706061" y="509892"/>
                </a:lnTo>
                <a:lnTo>
                  <a:pt x="701999" y="509892"/>
                </a:lnTo>
                <a:lnTo>
                  <a:pt x="701998" y="509892"/>
                </a:lnTo>
                <a:lnTo>
                  <a:pt x="699477" y="509892"/>
                </a:lnTo>
                <a:lnTo>
                  <a:pt x="699474" y="509892"/>
                </a:lnTo>
                <a:lnTo>
                  <a:pt x="699464" y="509892"/>
                </a:lnTo>
                <a:lnTo>
                  <a:pt x="696159" y="509892"/>
                </a:lnTo>
                <a:lnTo>
                  <a:pt x="696157" y="509892"/>
                </a:lnTo>
                <a:lnTo>
                  <a:pt x="692540" y="509892"/>
                </a:lnTo>
                <a:lnTo>
                  <a:pt x="692538" y="509892"/>
                </a:lnTo>
                <a:lnTo>
                  <a:pt x="690983" y="509892"/>
                </a:lnTo>
                <a:lnTo>
                  <a:pt x="690981" y="509892"/>
                </a:lnTo>
                <a:lnTo>
                  <a:pt x="690970" y="509892"/>
                </a:lnTo>
                <a:lnTo>
                  <a:pt x="688169" y="509892"/>
                </a:lnTo>
                <a:lnTo>
                  <a:pt x="688166" y="509892"/>
                </a:lnTo>
                <a:lnTo>
                  <a:pt x="687666" y="509892"/>
                </a:lnTo>
                <a:lnTo>
                  <a:pt x="687663" y="509892"/>
                </a:lnTo>
                <a:lnTo>
                  <a:pt x="684387" y="509892"/>
                </a:lnTo>
                <a:lnTo>
                  <a:pt x="684383" y="509892"/>
                </a:lnTo>
                <a:lnTo>
                  <a:pt x="681069" y="509892"/>
                </a:lnTo>
                <a:lnTo>
                  <a:pt x="681066" y="509892"/>
                </a:lnTo>
                <a:lnTo>
                  <a:pt x="680862" y="509892"/>
                </a:lnTo>
                <a:lnTo>
                  <a:pt x="680861" y="509892"/>
                </a:lnTo>
                <a:lnTo>
                  <a:pt x="676491" y="509892"/>
                </a:lnTo>
                <a:lnTo>
                  <a:pt x="672872" y="509892"/>
                </a:lnTo>
                <a:lnTo>
                  <a:pt x="672871" y="509892"/>
                </a:lnTo>
                <a:lnTo>
                  <a:pt x="672368" y="509892"/>
                </a:lnTo>
                <a:lnTo>
                  <a:pt x="672367" y="509892"/>
                </a:lnTo>
                <a:lnTo>
                  <a:pt x="669566" y="509892"/>
                </a:lnTo>
                <a:lnTo>
                  <a:pt x="669564" y="509892"/>
                </a:lnTo>
                <a:lnTo>
                  <a:pt x="669554" y="509892"/>
                </a:lnTo>
                <a:lnTo>
                  <a:pt x="669553" y="509892"/>
                </a:lnTo>
                <a:lnTo>
                  <a:pt x="667997" y="509892"/>
                </a:lnTo>
                <a:lnTo>
                  <a:pt x="665772" y="509892"/>
                </a:lnTo>
                <a:lnTo>
                  <a:pt x="665771" y="509892"/>
                </a:lnTo>
                <a:lnTo>
                  <a:pt x="662969" y="509892"/>
                </a:lnTo>
                <a:lnTo>
                  <a:pt x="662968" y="509892"/>
                </a:lnTo>
                <a:lnTo>
                  <a:pt x="661401" y="509892"/>
                </a:lnTo>
                <a:lnTo>
                  <a:pt x="661400" y="509892"/>
                </a:lnTo>
                <a:lnTo>
                  <a:pt x="658538" y="509892"/>
                </a:lnTo>
                <a:lnTo>
                  <a:pt x="658536" y="509892"/>
                </a:lnTo>
                <a:lnTo>
                  <a:pt x="654475" y="509892"/>
                </a:lnTo>
                <a:lnTo>
                  <a:pt x="654474" y="509892"/>
                </a:lnTo>
                <a:lnTo>
                  <a:pt x="651942" y="509892"/>
                </a:lnTo>
                <a:lnTo>
                  <a:pt x="651939" y="509892"/>
                </a:lnTo>
                <a:lnTo>
                  <a:pt x="643448" y="509892"/>
                </a:lnTo>
                <a:lnTo>
                  <a:pt x="643445" y="509892"/>
                </a:lnTo>
                <a:lnTo>
                  <a:pt x="639923" y="509892"/>
                </a:lnTo>
                <a:lnTo>
                  <a:pt x="635552" y="509892"/>
                </a:lnTo>
                <a:lnTo>
                  <a:pt x="633339" y="509892"/>
                </a:lnTo>
                <a:lnTo>
                  <a:pt x="633337" y="509892"/>
                </a:lnTo>
                <a:lnTo>
                  <a:pt x="633327" y="509892"/>
                </a:lnTo>
                <a:lnTo>
                  <a:pt x="633326" y="509892"/>
                </a:lnTo>
                <a:lnTo>
                  <a:pt x="628968" y="509892"/>
                </a:lnTo>
                <a:lnTo>
                  <a:pt x="628966" y="509892"/>
                </a:lnTo>
                <a:lnTo>
                  <a:pt x="628955" y="509892"/>
                </a:lnTo>
                <a:lnTo>
                  <a:pt x="625349" y="509892"/>
                </a:lnTo>
                <a:lnTo>
                  <a:pt x="625346" y="509892"/>
                </a:lnTo>
                <a:lnTo>
                  <a:pt x="624845" y="509892"/>
                </a:lnTo>
                <a:lnTo>
                  <a:pt x="624843" y="509892"/>
                </a:lnTo>
                <a:lnTo>
                  <a:pt x="624833" y="509892"/>
                </a:lnTo>
                <a:lnTo>
                  <a:pt x="624832" y="509892"/>
                </a:lnTo>
                <a:lnTo>
                  <a:pt x="622031" y="509892"/>
                </a:lnTo>
                <a:lnTo>
                  <a:pt x="622029" y="509892"/>
                </a:lnTo>
                <a:lnTo>
                  <a:pt x="620474" y="509892"/>
                </a:lnTo>
                <a:lnTo>
                  <a:pt x="620472" y="509892"/>
                </a:lnTo>
                <a:lnTo>
                  <a:pt x="620461" y="509892"/>
                </a:lnTo>
                <a:lnTo>
                  <a:pt x="618249" y="509892"/>
                </a:lnTo>
                <a:lnTo>
                  <a:pt x="618247" y="509892"/>
                </a:lnTo>
                <a:lnTo>
                  <a:pt x="610353" y="509892"/>
                </a:lnTo>
                <a:lnTo>
                  <a:pt x="610352" y="509892"/>
                </a:lnTo>
                <a:lnTo>
                  <a:pt x="606735" y="509892"/>
                </a:lnTo>
                <a:lnTo>
                  <a:pt x="606734" y="509892"/>
                </a:lnTo>
                <a:lnTo>
                  <a:pt x="602364" y="509892"/>
                </a:lnTo>
                <a:lnTo>
                  <a:pt x="602363" y="509892"/>
                </a:lnTo>
                <a:lnTo>
                  <a:pt x="592401" y="509892"/>
                </a:lnTo>
                <a:lnTo>
                  <a:pt x="592399" y="509892"/>
                </a:lnTo>
                <a:lnTo>
                  <a:pt x="588029" y="509892"/>
                </a:lnTo>
                <a:lnTo>
                  <a:pt x="588027" y="509892"/>
                </a:lnTo>
                <a:lnTo>
                  <a:pt x="585805" y="509892"/>
                </a:lnTo>
                <a:lnTo>
                  <a:pt x="585802" y="509892"/>
                </a:lnTo>
                <a:lnTo>
                  <a:pt x="581433" y="509892"/>
                </a:lnTo>
                <a:lnTo>
                  <a:pt x="581430" y="509892"/>
                </a:lnTo>
                <a:lnTo>
                  <a:pt x="572733" y="509892"/>
                </a:lnTo>
                <a:lnTo>
                  <a:pt x="569414" y="509892"/>
                </a:lnTo>
                <a:lnTo>
                  <a:pt x="566136" y="509892"/>
                </a:lnTo>
                <a:lnTo>
                  <a:pt x="566135" y="509892"/>
                </a:lnTo>
                <a:lnTo>
                  <a:pt x="562830" y="509892"/>
                </a:lnTo>
                <a:lnTo>
                  <a:pt x="562828" y="509892"/>
                </a:lnTo>
                <a:lnTo>
                  <a:pt x="562818" y="509892"/>
                </a:lnTo>
                <a:lnTo>
                  <a:pt x="562817" y="509892"/>
                </a:lnTo>
                <a:lnTo>
                  <a:pt x="559211" y="509892"/>
                </a:lnTo>
                <a:lnTo>
                  <a:pt x="559210" y="509892"/>
                </a:lnTo>
                <a:lnTo>
                  <a:pt x="554840" y="509892"/>
                </a:lnTo>
                <a:lnTo>
                  <a:pt x="554838" y="509892"/>
                </a:lnTo>
                <a:lnTo>
                  <a:pt x="536226" y="509892"/>
                </a:lnTo>
                <a:lnTo>
                  <a:pt x="536225" y="509892"/>
                </a:lnTo>
                <a:lnTo>
                  <a:pt x="525210" y="509892"/>
                </a:lnTo>
                <a:lnTo>
                  <a:pt x="525208" y="509892"/>
                </a:lnTo>
                <a:lnTo>
                  <a:pt x="525197" y="509892"/>
                </a:lnTo>
                <a:lnTo>
                  <a:pt x="521893" y="509892"/>
                </a:lnTo>
                <a:lnTo>
                  <a:pt x="521890" y="509892"/>
                </a:lnTo>
                <a:lnTo>
                  <a:pt x="518614" y="509892"/>
                </a:lnTo>
                <a:lnTo>
                  <a:pt x="518610" y="509892"/>
                </a:lnTo>
                <a:lnTo>
                  <a:pt x="515296" y="509892"/>
                </a:lnTo>
                <a:lnTo>
                  <a:pt x="515293" y="509892"/>
                </a:lnTo>
                <a:lnTo>
                  <a:pt x="506595" y="509892"/>
                </a:lnTo>
                <a:lnTo>
                  <a:pt x="506594" y="509892"/>
                </a:lnTo>
                <a:lnTo>
                  <a:pt x="502224" y="509892"/>
                </a:lnTo>
                <a:lnTo>
                  <a:pt x="499999" y="509892"/>
                </a:lnTo>
                <a:lnTo>
                  <a:pt x="499998" y="509892"/>
                </a:lnTo>
                <a:lnTo>
                  <a:pt x="495628" y="509892"/>
                </a:lnTo>
                <a:lnTo>
                  <a:pt x="495627" y="509892"/>
                </a:lnTo>
                <a:lnTo>
                  <a:pt x="488702" y="509892"/>
                </a:lnTo>
                <a:lnTo>
                  <a:pt x="488701" y="509892"/>
                </a:lnTo>
                <a:lnTo>
                  <a:pt x="477675" y="509892"/>
                </a:lnTo>
                <a:lnTo>
                  <a:pt x="477672" y="509892"/>
                </a:lnTo>
                <a:lnTo>
                  <a:pt x="459072" y="509892"/>
                </a:lnTo>
                <a:lnTo>
                  <a:pt x="459070" y="509892"/>
                </a:lnTo>
                <a:lnTo>
                  <a:pt x="459060" y="509892"/>
                </a:lnTo>
                <a:lnTo>
                  <a:pt x="459059" y="509892"/>
                </a:lnTo>
                <a:lnTo>
                  <a:pt x="454701" y="509892"/>
                </a:lnTo>
                <a:lnTo>
                  <a:pt x="454699" y="509892"/>
                </a:lnTo>
                <a:lnTo>
                  <a:pt x="454688" y="509892"/>
                </a:lnTo>
                <a:lnTo>
                  <a:pt x="452476" y="509892"/>
                </a:lnTo>
                <a:lnTo>
                  <a:pt x="452474" y="509892"/>
                </a:lnTo>
                <a:lnTo>
                  <a:pt x="254947" y="509891"/>
                </a:lnTo>
                <a:cubicBezTo>
                  <a:pt x="131743" y="509891"/>
                  <a:pt x="28953" y="422501"/>
                  <a:pt x="5179" y="306326"/>
                </a:cubicBezTo>
                <a:lnTo>
                  <a:pt x="0" y="254947"/>
                </a:lnTo>
                <a:lnTo>
                  <a:pt x="5179" y="203566"/>
                </a:lnTo>
                <a:cubicBezTo>
                  <a:pt x="28953" y="87392"/>
                  <a:pt x="131743" y="0"/>
                  <a:pt x="25494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67" name="Полилиния 66"/>
          <p:cNvSpPr/>
          <p:nvPr/>
        </p:nvSpPr>
        <p:spPr>
          <a:xfrm>
            <a:off x="303093" y="3915350"/>
            <a:ext cx="916207" cy="439609"/>
          </a:xfrm>
          <a:custGeom>
            <a:avLst/>
            <a:gdLst>
              <a:gd name="connsiteX0" fmla="*/ 254947 w 1126698"/>
              <a:gd name="connsiteY0" fmla="*/ 0 h 509893"/>
              <a:gd name="connsiteX1" fmla="*/ 259893 w 1126698"/>
              <a:gd name="connsiteY1" fmla="*/ 0 h 509893"/>
              <a:gd name="connsiteX2" fmla="*/ 261533 w 1126698"/>
              <a:gd name="connsiteY2" fmla="*/ 0 h 509893"/>
              <a:gd name="connsiteX3" fmla="*/ 261544 w 1126698"/>
              <a:gd name="connsiteY3" fmla="*/ 0 h 509893"/>
              <a:gd name="connsiteX4" fmla="*/ 272964 w 1126698"/>
              <a:gd name="connsiteY4" fmla="*/ 0 h 509893"/>
              <a:gd name="connsiteX5" fmla="*/ 276558 w 1126698"/>
              <a:gd name="connsiteY5" fmla="*/ 0 h 509893"/>
              <a:gd name="connsiteX6" fmla="*/ 278208 w 1126698"/>
              <a:gd name="connsiteY6" fmla="*/ 0 h 509893"/>
              <a:gd name="connsiteX7" fmla="*/ 279560 w 1126698"/>
              <a:gd name="connsiteY7" fmla="*/ 0 h 509893"/>
              <a:gd name="connsiteX8" fmla="*/ 280145 w 1126698"/>
              <a:gd name="connsiteY8" fmla="*/ 0 h 509893"/>
              <a:gd name="connsiteX9" fmla="*/ 293894 w 1126698"/>
              <a:gd name="connsiteY9" fmla="*/ 0 h 509893"/>
              <a:gd name="connsiteX10" fmla="*/ 296224 w 1126698"/>
              <a:gd name="connsiteY10" fmla="*/ 0 h 509893"/>
              <a:gd name="connsiteX11" fmla="*/ 302471 w 1126698"/>
              <a:gd name="connsiteY11" fmla="*/ 0 h 509893"/>
              <a:gd name="connsiteX12" fmla="*/ 309068 w 1126698"/>
              <a:gd name="connsiteY12" fmla="*/ 0 h 509893"/>
              <a:gd name="connsiteX13" fmla="*/ 312508 w 1126698"/>
              <a:gd name="connsiteY13" fmla="*/ 0 h 509893"/>
              <a:gd name="connsiteX14" fmla="*/ 320488 w 1126698"/>
              <a:gd name="connsiteY14" fmla="*/ 0 h 509893"/>
              <a:gd name="connsiteX15" fmla="*/ 320498 w 1126698"/>
              <a:gd name="connsiteY15" fmla="*/ 0 h 509893"/>
              <a:gd name="connsiteX16" fmla="*/ 321084 w 1126698"/>
              <a:gd name="connsiteY16" fmla="*/ 0 h 509893"/>
              <a:gd name="connsiteX17" fmla="*/ 325732 w 1126698"/>
              <a:gd name="connsiteY17" fmla="*/ 0 h 509893"/>
              <a:gd name="connsiteX18" fmla="*/ 327084 w 1126698"/>
              <a:gd name="connsiteY18" fmla="*/ 0 h 509893"/>
              <a:gd name="connsiteX19" fmla="*/ 327671 w 1126698"/>
              <a:gd name="connsiteY19" fmla="*/ 0 h 509893"/>
              <a:gd name="connsiteX20" fmla="*/ 327680 w 1126698"/>
              <a:gd name="connsiteY20" fmla="*/ 0 h 509893"/>
              <a:gd name="connsiteX21" fmla="*/ 337163 w 1126698"/>
              <a:gd name="connsiteY21" fmla="*/ 0 h 509893"/>
              <a:gd name="connsiteX22" fmla="*/ 339100 w 1126698"/>
              <a:gd name="connsiteY22" fmla="*/ 0 h 509893"/>
              <a:gd name="connsiteX23" fmla="*/ 343748 w 1126698"/>
              <a:gd name="connsiteY23" fmla="*/ 0 h 509893"/>
              <a:gd name="connsiteX24" fmla="*/ 343759 w 1126698"/>
              <a:gd name="connsiteY24" fmla="*/ 0 h 509893"/>
              <a:gd name="connsiteX25" fmla="*/ 344345 w 1126698"/>
              <a:gd name="connsiteY25" fmla="*/ 0 h 509893"/>
              <a:gd name="connsiteX26" fmla="*/ 345698 w 1126698"/>
              <a:gd name="connsiteY26" fmla="*/ 0 h 509893"/>
              <a:gd name="connsiteX27" fmla="*/ 360033 w 1126698"/>
              <a:gd name="connsiteY27" fmla="*/ 0 h 509893"/>
              <a:gd name="connsiteX28" fmla="*/ 361682 w 1126698"/>
              <a:gd name="connsiteY28" fmla="*/ 0 h 509893"/>
              <a:gd name="connsiteX29" fmla="*/ 362361 w 1126698"/>
              <a:gd name="connsiteY29" fmla="*/ 0 h 509893"/>
              <a:gd name="connsiteX30" fmla="*/ 368022 w 1126698"/>
              <a:gd name="connsiteY30" fmla="*/ 0 h 509893"/>
              <a:gd name="connsiteX31" fmla="*/ 368609 w 1126698"/>
              <a:gd name="connsiteY31" fmla="*/ 0 h 509893"/>
              <a:gd name="connsiteX32" fmla="*/ 375205 w 1126698"/>
              <a:gd name="connsiteY32" fmla="*/ 0 h 509893"/>
              <a:gd name="connsiteX33" fmla="*/ 379700 w 1126698"/>
              <a:gd name="connsiteY33" fmla="*/ 0 h 509893"/>
              <a:gd name="connsiteX34" fmla="*/ 384687 w 1126698"/>
              <a:gd name="connsiteY34" fmla="*/ 0 h 509893"/>
              <a:gd name="connsiteX35" fmla="*/ 386625 w 1126698"/>
              <a:gd name="connsiteY35" fmla="*/ 0 h 509893"/>
              <a:gd name="connsiteX36" fmla="*/ 386635 w 1126698"/>
              <a:gd name="connsiteY36" fmla="*/ 0 h 509893"/>
              <a:gd name="connsiteX37" fmla="*/ 388276 w 1126698"/>
              <a:gd name="connsiteY37" fmla="*/ 0 h 509893"/>
              <a:gd name="connsiteX38" fmla="*/ 391283 w 1126698"/>
              <a:gd name="connsiteY38" fmla="*/ 0 h 509893"/>
              <a:gd name="connsiteX39" fmla="*/ 391870 w 1126698"/>
              <a:gd name="connsiteY39" fmla="*/ 0 h 509893"/>
              <a:gd name="connsiteX40" fmla="*/ 393223 w 1126698"/>
              <a:gd name="connsiteY40" fmla="*/ 0 h 509893"/>
              <a:gd name="connsiteX41" fmla="*/ 394872 w 1126698"/>
              <a:gd name="connsiteY41" fmla="*/ 0 h 509893"/>
              <a:gd name="connsiteX42" fmla="*/ 403300 w 1126698"/>
              <a:gd name="connsiteY42" fmla="*/ 0 h 509893"/>
              <a:gd name="connsiteX43" fmla="*/ 409206 w 1126698"/>
              <a:gd name="connsiteY43" fmla="*/ 0 h 509893"/>
              <a:gd name="connsiteX44" fmla="*/ 409886 w 1126698"/>
              <a:gd name="connsiteY44" fmla="*/ 0 h 509893"/>
              <a:gd name="connsiteX45" fmla="*/ 409896 w 1126698"/>
              <a:gd name="connsiteY45" fmla="*/ 0 h 509893"/>
              <a:gd name="connsiteX46" fmla="*/ 411536 w 1126698"/>
              <a:gd name="connsiteY46" fmla="*/ 0 h 509893"/>
              <a:gd name="connsiteX47" fmla="*/ 420637 w 1126698"/>
              <a:gd name="connsiteY47" fmla="*/ 0 h 509893"/>
              <a:gd name="connsiteX48" fmla="*/ 427224 w 1126698"/>
              <a:gd name="connsiteY48" fmla="*/ 0 h 509893"/>
              <a:gd name="connsiteX49" fmla="*/ 427234 w 1126698"/>
              <a:gd name="connsiteY49" fmla="*/ 0 h 509893"/>
              <a:gd name="connsiteX50" fmla="*/ 427820 w 1126698"/>
              <a:gd name="connsiteY50" fmla="*/ 0 h 509893"/>
              <a:gd name="connsiteX51" fmla="*/ 434160 w 1126698"/>
              <a:gd name="connsiteY51" fmla="*/ 0 h 509893"/>
              <a:gd name="connsiteX52" fmla="*/ 435800 w 1126698"/>
              <a:gd name="connsiteY52" fmla="*/ 0 h 509893"/>
              <a:gd name="connsiteX53" fmla="*/ 435810 w 1126698"/>
              <a:gd name="connsiteY53" fmla="*/ 0 h 509893"/>
              <a:gd name="connsiteX54" fmla="*/ 442396 w 1126698"/>
              <a:gd name="connsiteY54" fmla="*/ 0 h 509893"/>
              <a:gd name="connsiteX55" fmla="*/ 443898 w 1126698"/>
              <a:gd name="connsiteY55" fmla="*/ 0 h 509893"/>
              <a:gd name="connsiteX56" fmla="*/ 445836 w 1126698"/>
              <a:gd name="connsiteY56" fmla="*/ 0 h 509893"/>
              <a:gd name="connsiteX57" fmla="*/ 450825 w 1126698"/>
              <a:gd name="connsiteY57" fmla="*/ 0 h 509893"/>
              <a:gd name="connsiteX58" fmla="*/ 452475 w 1126698"/>
              <a:gd name="connsiteY58" fmla="*/ 0 h 509893"/>
              <a:gd name="connsiteX59" fmla="*/ 453827 w 1126698"/>
              <a:gd name="connsiteY59" fmla="*/ 0 h 509893"/>
              <a:gd name="connsiteX60" fmla="*/ 454412 w 1126698"/>
              <a:gd name="connsiteY60" fmla="*/ 0 h 509893"/>
              <a:gd name="connsiteX61" fmla="*/ 457421 w 1126698"/>
              <a:gd name="connsiteY61" fmla="*/ 0 h 509893"/>
              <a:gd name="connsiteX62" fmla="*/ 459060 w 1126698"/>
              <a:gd name="connsiteY62" fmla="*/ 0 h 509893"/>
              <a:gd name="connsiteX63" fmla="*/ 459071 w 1126698"/>
              <a:gd name="connsiteY63" fmla="*/ 0 h 509893"/>
              <a:gd name="connsiteX64" fmla="*/ 461010 w 1126698"/>
              <a:gd name="connsiteY64" fmla="*/ 0 h 509893"/>
              <a:gd name="connsiteX65" fmla="*/ 468161 w 1126698"/>
              <a:gd name="connsiteY65" fmla="*/ 0 h 509893"/>
              <a:gd name="connsiteX66" fmla="*/ 470491 w 1126698"/>
              <a:gd name="connsiteY66" fmla="*/ 0 h 509893"/>
              <a:gd name="connsiteX67" fmla="*/ 474758 w 1126698"/>
              <a:gd name="connsiteY67" fmla="*/ 0 h 509893"/>
              <a:gd name="connsiteX68" fmla="*/ 475345 w 1126698"/>
              <a:gd name="connsiteY68" fmla="*/ 0 h 509893"/>
              <a:gd name="connsiteX69" fmla="*/ 477087 w 1126698"/>
              <a:gd name="connsiteY69" fmla="*/ 0 h 509893"/>
              <a:gd name="connsiteX70" fmla="*/ 477673 w 1126698"/>
              <a:gd name="connsiteY70" fmla="*/ 0 h 509893"/>
              <a:gd name="connsiteX71" fmla="*/ 483334 w 1126698"/>
              <a:gd name="connsiteY71" fmla="*/ 0 h 509893"/>
              <a:gd name="connsiteX72" fmla="*/ 486775 w 1126698"/>
              <a:gd name="connsiteY72" fmla="*/ 0 h 509893"/>
              <a:gd name="connsiteX73" fmla="*/ 491423 w 1126698"/>
              <a:gd name="connsiteY73" fmla="*/ 0 h 509893"/>
              <a:gd name="connsiteX74" fmla="*/ 493361 w 1126698"/>
              <a:gd name="connsiteY74" fmla="*/ 0 h 509893"/>
              <a:gd name="connsiteX75" fmla="*/ 493371 w 1126698"/>
              <a:gd name="connsiteY75" fmla="*/ 0 h 509893"/>
              <a:gd name="connsiteX76" fmla="*/ 495012 w 1126698"/>
              <a:gd name="connsiteY76" fmla="*/ 0 h 509893"/>
              <a:gd name="connsiteX77" fmla="*/ 499999 w 1126698"/>
              <a:gd name="connsiteY77" fmla="*/ 0 h 509893"/>
              <a:gd name="connsiteX78" fmla="*/ 501351 w 1126698"/>
              <a:gd name="connsiteY78" fmla="*/ 0 h 509893"/>
              <a:gd name="connsiteX79" fmla="*/ 501937 w 1126698"/>
              <a:gd name="connsiteY79" fmla="*/ 0 h 509893"/>
              <a:gd name="connsiteX80" fmla="*/ 501947 w 1126698"/>
              <a:gd name="connsiteY80" fmla="*/ 0 h 509893"/>
              <a:gd name="connsiteX81" fmla="*/ 506595 w 1126698"/>
              <a:gd name="connsiteY81" fmla="*/ 0 h 509893"/>
              <a:gd name="connsiteX82" fmla="*/ 508535 w 1126698"/>
              <a:gd name="connsiteY82" fmla="*/ 0 h 509893"/>
              <a:gd name="connsiteX83" fmla="*/ 510036 w 1126698"/>
              <a:gd name="connsiteY83" fmla="*/ 0 h 509893"/>
              <a:gd name="connsiteX84" fmla="*/ 518015 w 1126698"/>
              <a:gd name="connsiteY84" fmla="*/ 0 h 509893"/>
              <a:gd name="connsiteX85" fmla="*/ 518026 w 1126698"/>
              <a:gd name="connsiteY85" fmla="*/ 0 h 509893"/>
              <a:gd name="connsiteX86" fmla="*/ 518612 w 1126698"/>
              <a:gd name="connsiteY86" fmla="*/ 0 h 509893"/>
              <a:gd name="connsiteX87" fmla="*/ 519964 w 1126698"/>
              <a:gd name="connsiteY87" fmla="*/ 0 h 509893"/>
              <a:gd name="connsiteX88" fmla="*/ 524611 w 1126698"/>
              <a:gd name="connsiteY88" fmla="*/ 0 h 509893"/>
              <a:gd name="connsiteX89" fmla="*/ 525198 w 1126698"/>
              <a:gd name="connsiteY89" fmla="*/ 0 h 509893"/>
              <a:gd name="connsiteX90" fmla="*/ 525208 w 1126698"/>
              <a:gd name="connsiteY90" fmla="*/ 0 h 509893"/>
              <a:gd name="connsiteX91" fmla="*/ 534300 w 1126698"/>
              <a:gd name="connsiteY91" fmla="*/ 0 h 509893"/>
              <a:gd name="connsiteX92" fmla="*/ 535949 w 1126698"/>
              <a:gd name="connsiteY92" fmla="*/ 0 h 509893"/>
              <a:gd name="connsiteX93" fmla="*/ 536628 w 1126698"/>
              <a:gd name="connsiteY93" fmla="*/ 0 h 509893"/>
              <a:gd name="connsiteX94" fmla="*/ 540896 w 1126698"/>
              <a:gd name="connsiteY94" fmla="*/ 0 h 509893"/>
              <a:gd name="connsiteX95" fmla="*/ 542536 w 1126698"/>
              <a:gd name="connsiteY95" fmla="*/ 0 h 509893"/>
              <a:gd name="connsiteX96" fmla="*/ 542546 w 1126698"/>
              <a:gd name="connsiteY96" fmla="*/ 0 h 509893"/>
              <a:gd name="connsiteX97" fmla="*/ 543225 w 1126698"/>
              <a:gd name="connsiteY97" fmla="*/ 0 h 509893"/>
              <a:gd name="connsiteX98" fmla="*/ 549472 w 1126698"/>
              <a:gd name="connsiteY98" fmla="*/ 0 h 509893"/>
              <a:gd name="connsiteX99" fmla="*/ 553966 w 1126698"/>
              <a:gd name="connsiteY99" fmla="*/ 0 h 509893"/>
              <a:gd name="connsiteX100" fmla="*/ 557561 w 1126698"/>
              <a:gd name="connsiteY100" fmla="*/ 0 h 509893"/>
              <a:gd name="connsiteX101" fmla="*/ 559210 w 1126698"/>
              <a:gd name="connsiteY101" fmla="*/ 0 h 509893"/>
              <a:gd name="connsiteX102" fmla="*/ 560563 w 1126698"/>
              <a:gd name="connsiteY102" fmla="*/ 0 h 509893"/>
              <a:gd name="connsiteX103" fmla="*/ 561148 w 1126698"/>
              <a:gd name="connsiteY103" fmla="*/ 0 h 509893"/>
              <a:gd name="connsiteX104" fmla="*/ 565550 w 1126698"/>
              <a:gd name="connsiteY104" fmla="*/ 0 h 509893"/>
              <a:gd name="connsiteX105" fmla="*/ 566137 w 1126698"/>
              <a:gd name="connsiteY105" fmla="*/ 0 h 509893"/>
              <a:gd name="connsiteX106" fmla="*/ 567489 w 1126698"/>
              <a:gd name="connsiteY106" fmla="*/ 0 h 509893"/>
              <a:gd name="connsiteX107" fmla="*/ 569139 w 1126698"/>
              <a:gd name="connsiteY107" fmla="*/ 0 h 509893"/>
              <a:gd name="connsiteX108" fmla="*/ 572733 w 1126698"/>
              <a:gd name="connsiteY108" fmla="*/ 0 h 509893"/>
              <a:gd name="connsiteX109" fmla="*/ 577227 w 1126698"/>
              <a:gd name="connsiteY109" fmla="*/ 0 h 509893"/>
              <a:gd name="connsiteX110" fmla="*/ 583473 w 1126698"/>
              <a:gd name="connsiteY110" fmla="*/ 0 h 509893"/>
              <a:gd name="connsiteX111" fmla="*/ 584153 w 1126698"/>
              <a:gd name="connsiteY111" fmla="*/ 0 h 509893"/>
              <a:gd name="connsiteX112" fmla="*/ 584163 w 1126698"/>
              <a:gd name="connsiteY112" fmla="*/ 0 h 509893"/>
              <a:gd name="connsiteX113" fmla="*/ 585803 w 1126698"/>
              <a:gd name="connsiteY113" fmla="*/ 0 h 509893"/>
              <a:gd name="connsiteX114" fmla="*/ 590070 w 1126698"/>
              <a:gd name="connsiteY114" fmla="*/ 0 h 509893"/>
              <a:gd name="connsiteX115" fmla="*/ 590750 w 1126698"/>
              <a:gd name="connsiteY115" fmla="*/ 0 h 509893"/>
              <a:gd name="connsiteX116" fmla="*/ 592399 w 1126698"/>
              <a:gd name="connsiteY116" fmla="*/ 0 h 509893"/>
              <a:gd name="connsiteX117" fmla="*/ 601490 w 1126698"/>
              <a:gd name="connsiteY117" fmla="*/ 0 h 509893"/>
              <a:gd name="connsiteX118" fmla="*/ 601501 w 1126698"/>
              <a:gd name="connsiteY118" fmla="*/ 0 h 509893"/>
              <a:gd name="connsiteX119" fmla="*/ 602087 w 1126698"/>
              <a:gd name="connsiteY119" fmla="*/ 0 h 509893"/>
              <a:gd name="connsiteX120" fmla="*/ 606735 w 1126698"/>
              <a:gd name="connsiteY120" fmla="*/ 0 h 509893"/>
              <a:gd name="connsiteX121" fmla="*/ 608087 w 1126698"/>
              <a:gd name="connsiteY121" fmla="*/ 0 h 509893"/>
              <a:gd name="connsiteX122" fmla="*/ 608673 w 1126698"/>
              <a:gd name="connsiteY122" fmla="*/ 0 h 509893"/>
              <a:gd name="connsiteX123" fmla="*/ 608683 w 1126698"/>
              <a:gd name="connsiteY123" fmla="*/ 0 h 509893"/>
              <a:gd name="connsiteX124" fmla="*/ 616663 w 1126698"/>
              <a:gd name="connsiteY124" fmla="*/ 0 h 509893"/>
              <a:gd name="connsiteX125" fmla="*/ 618165 w 1126698"/>
              <a:gd name="connsiteY125" fmla="*/ 0 h 509893"/>
              <a:gd name="connsiteX126" fmla="*/ 620103 w 1126698"/>
              <a:gd name="connsiteY126" fmla="*/ 0 h 509893"/>
              <a:gd name="connsiteX127" fmla="*/ 624751 w 1126698"/>
              <a:gd name="connsiteY127" fmla="*/ 0 h 509893"/>
              <a:gd name="connsiteX128" fmla="*/ 624762 w 1126698"/>
              <a:gd name="connsiteY128" fmla="*/ 0 h 509893"/>
              <a:gd name="connsiteX129" fmla="*/ 625348 w 1126698"/>
              <a:gd name="connsiteY129" fmla="*/ 0 h 509893"/>
              <a:gd name="connsiteX130" fmla="*/ 626699 w 1126698"/>
              <a:gd name="connsiteY130" fmla="*/ 0 h 509893"/>
              <a:gd name="connsiteX131" fmla="*/ 631688 w 1126698"/>
              <a:gd name="connsiteY131" fmla="*/ 0 h 509893"/>
              <a:gd name="connsiteX132" fmla="*/ 633327 w 1126698"/>
              <a:gd name="connsiteY132" fmla="*/ 0 h 509893"/>
              <a:gd name="connsiteX133" fmla="*/ 633338 w 1126698"/>
              <a:gd name="connsiteY133" fmla="*/ 0 h 509893"/>
              <a:gd name="connsiteX134" fmla="*/ 635276 w 1126698"/>
              <a:gd name="connsiteY134" fmla="*/ 0 h 509893"/>
              <a:gd name="connsiteX135" fmla="*/ 639923 w 1126698"/>
              <a:gd name="connsiteY135" fmla="*/ 0 h 509893"/>
              <a:gd name="connsiteX136" fmla="*/ 643364 w 1126698"/>
              <a:gd name="connsiteY136" fmla="*/ 0 h 509893"/>
              <a:gd name="connsiteX137" fmla="*/ 649025 w 1126698"/>
              <a:gd name="connsiteY137" fmla="*/ 0 h 509893"/>
              <a:gd name="connsiteX138" fmla="*/ 649612 w 1126698"/>
              <a:gd name="connsiteY138" fmla="*/ 0 h 509893"/>
              <a:gd name="connsiteX139" fmla="*/ 651354 w 1126698"/>
              <a:gd name="connsiteY139" fmla="*/ 0 h 509893"/>
              <a:gd name="connsiteX140" fmla="*/ 651940 w 1126698"/>
              <a:gd name="connsiteY140" fmla="*/ 0 h 509893"/>
              <a:gd name="connsiteX141" fmla="*/ 656208 w 1126698"/>
              <a:gd name="connsiteY141" fmla="*/ 0 h 509893"/>
              <a:gd name="connsiteX142" fmla="*/ 658537 w 1126698"/>
              <a:gd name="connsiteY142" fmla="*/ 0 h 509893"/>
              <a:gd name="connsiteX143" fmla="*/ 665690 w 1126698"/>
              <a:gd name="connsiteY143" fmla="*/ 0 h 509893"/>
              <a:gd name="connsiteX144" fmla="*/ 667628 w 1126698"/>
              <a:gd name="connsiteY144" fmla="*/ 0 h 509893"/>
              <a:gd name="connsiteX145" fmla="*/ 667638 w 1126698"/>
              <a:gd name="connsiteY145" fmla="*/ 0 h 509893"/>
              <a:gd name="connsiteX146" fmla="*/ 669278 w 1126698"/>
              <a:gd name="connsiteY146" fmla="*/ 0 h 509893"/>
              <a:gd name="connsiteX147" fmla="*/ 672286 w 1126698"/>
              <a:gd name="connsiteY147" fmla="*/ 0 h 509893"/>
              <a:gd name="connsiteX148" fmla="*/ 672873 w 1126698"/>
              <a:gd name="connsiteY148" fmla="*/ 0 h 509893"/>
              <a:gd name="connsiteX149" fmla="*/ 674224 w 1126698"/>
              <a:gd name="connsiteY149" fmla="*/ 0 h 509893"/>
              <a:gd name="connsiteX150" fmla="*/ 675875 w 1126698"/>
              <a:gd name="connsiteY150" fmla="*/ 0 h 509893"/>
              <a:gd name="connsiteX151" fmla="*/ 680862 w 1126698"/>
              <a:gd name="connsiteY151" fmla="*/ 0 h 509893"/>
              <a:gd name="connsiteX152" fmla="*/ 682801 w 1126698"/>
              <a:gd name="connsiteY152" fmla="*/ 0 h 509893"/>
              <a:gd name="connsiteX153" fmla="*/ 684302 w 1126698"/>
              <a:gd name="connsiteY153" fmla="*/ 0 h 509893"/>
              <a:gd name="connsiteX154" fmla="*/ 690889 w 1126698"/>
              <a:gd name="connsiteY154" fmla="*/ 0 h 509893"/>
              <a:gd name="connsiteX155" fmla="*/ 690899 w 1126698"/>
              <a:gd name="connsiteY155" fmla="*/ 0 h 509893"/>
              <a:gd name="connsiteX156" fmla="*/ 692539 w 1126698"/>
              <a:gd name="connsiteY156" fmla="*/ 0 h 509893"/>
              <a:gd name="connsiteX157" fmla="*/ 698878 w 1126698"/>
              <a:gd name="connsiteY157" fmla="*/ 0 h 509893"/>
              <a:gd name="connsiteX158" fmla="*/ 699465 w 1126698"/>
              <a:gd name="connsiteY158" fmla="*/ 0 h 509893"/>
              <a:gd name="connsiteX159" fmla="*/ 699475 w 1126698"/>
              <a:gd name="connsiteY159" fmla="*/ 0 h 509893"/>
              <a:gd name="connsiteX160" fmla="*/ 706062 w 1126698"/>
              <a:gd name="connsiteY160" fmla="*/ 0 h 509893"/>
              <a:gd name="connsiteX161" fmla="*/ 715163 w 1126698"/>
              <a:gd name="connsiteY161" fmla="*/ 0 h 509893"/>
              <a:gd name="connsiteX162" fmla="*/ 716802 w 1126698"/>
              <a:gd name="connsiteY162" fmla="*/ 0 h 509893"/>
              <a:gd name="connsiteX163" fmla="*/ 716813 w 1126698"/>
              <a:gd name="connsiteY163" fmla="*/ 0 h 509893"/>
              <a:gd name="connsiteX164" fmla="*/ 717492 w 1126698"/>
              <a:gd name="connsiteY164" fmla="*/ 0 h 509893"/>
              <a:gd name="connsiteX165" fmla="*/ 723399 w 1126698"/>
              <a:gd name="connsiteY165" fmla="*/ 0 h 509893"/>
              <a:gd name="connsiteX166" fmla="*/ 731827 w 1126698"/>
              <a:gd name="connsiteY166" fmla="*/ 0 h 509893"/>
              <a:gd name="connsiteX167" fmla="*/ 733477 w 1126698"/>
              <a:gd name="connsiteY167" fmla="*/ 0 h 509893"/>
              <a:gd name="connsiteX168" fmla="*/ 734829 w 1126698"/>
              <a:gd name="connsiteY168" fmla="*/ 0 h 509893"/>
              <a:gd name="connsiteX169" fmla="*/ 735415 w 1126698"/>
              <a:gd name="connsiteY169" fmla="*/ 0 h 509893"/>
              <a:gd name="connsiteX170" fmla="*/ 738424 w 1126698"/>
              <a:gd name="connsiteY170" fmla="*/ 0 h 509893"/>
              <a:gd name="connsiteX171" fmla="*/ 740063 w 1126698"/>
              <a:gd name="connsiteY171" fmla="*/ 0 h 509893"/>
              <a:gd name="connsiteX172" fmla="*/ 740074 w 1126698"/>
              <a:gd name="connsiteY172" fmla="*/ 0 h 509893"/>
              <a:gd name="connsiteX173" fmla="*/ 742011 w 1126698"/>
              <a:gd name="connsiteY173" fmla="*/ 0 h 509893"/>
              <a:gd name="connsiteX174" fmla="*/ 747000 w 1126698"/>
              <a:gd name="connsiteY174" fmla="*/ 0 h 509893"/>
              <a:gd name="connsiteX175" fmla="*/ 751494 w 1126698"/>
              <a:gd name="connsiteY175" fmla="*/ 0 h 509893"/>
              <a:gd name="connsiteX176" fmla="*/ 758090 w 1126698"/>
              <a:gd name="connsiteY176" fmla="*/ 0 h 509893"/>
              <a:gd name="connsiteX177" fmla="*/ 758676 w 1126698"/>
              <a:gd name="connsiteY177" fmla="*/ 0 h 509893"/>
              <a:gd name="connsiteX178" fmla="*/ 764337 w 1126698"/>
              <a:gd name="connsiteY178" fmla="*/ 0 h 509893"/>
              <a:gd name="connsiteX179" fmla="*/ 765017 w 1126698"/>
              <a:gd name="connsiteY179" fmla="*/ 0 h 509893"/>
              <a:gd name="connsiteX180" fmla="*/ 766666 w 1126698"/>
              <a:gd name="connsiteY180" fmla="*/ 0 h 509893"/>
              <a:gd name="connsiteX181" fmla="*/ 781002 w 1126698"/>
              <a:gd name="connsiteY181" fmla="*/ 0 h 509893"/>
              <a:gd name="connsiteX182" fmla="*/ 782353 w 1126698"/>
              <a:gd name="connsiteY182" fmla="*/ 0 h 509893"/>
              <a:gd name="connsiteX183" fmla="*/ 782940 w 1126698"/>
              <a:gd name="connsiteY183" fmla="*/ 0 h 509893"/>
              <a:gd name="connsiteX184" fmla="*/ 782950 w 1126698"/>
              <a:gd name="connsiteY184" fmla="*/ 0 h 509893"/>
              <a:gd name="connsiteX185" fmla="*/ 787598 w 1126698"/>
              <a:gd name="connsiteY185" fmla="*/ 0 h 509893"/>
              <a:gd name="connsiteX186" fmla="*/ 789536 w 1126698"/>
              <a:gd name="connsiteY186" fmla="*/ 0 h 509893"/>
              <a:gd name="connsiteX187" fmla="*/ 799018 w 1126698"/>
              <a:gd name="connsiteY187" fmla="*/ 0 h 509893"/>
              <a:gd name="connsiteX188" fmla="*/ 799029 w 1126698"/>
              <a:gd name="connsiteY188" fmla="*/ 0 h 509893"/>
              <a:gd name="connsiteX189" fmla="*/ 799614 w 1126698"/>
              <a:gd name="connsiteY189" fmla="*/ 0 h 509893"/>
              <a:gd name="connsiteX190" fmla="*/ 800966 w 1126698"/>
              <a:gd name="connsiteY190" fmla="*/ 0 h 509893"/>
              <a:gd name="connsiteX191" fmla="*/ 805614 w 1126698"/>
              <a:gd name="connsiteY191" fmla="*/ 0 h 509893"/>
              <a:gd name="connsiteX192" fmla="*/ 806201 w 1126698"/>
              <a:gd name="connsiteY192" fmla="*/ 0 h 509893"/>
              <a:gd name="connsiteX193" fmla="*/ 806211 w 1126698"/>
              <a:gd name="connsiteY193" fmla="*/ 0 h 509893"/>
              <a:gd name="connsiteX194" fmla="*/ 814190 w 1126698"/>
              <a:gd name="connsiteY194" fmla="*/ 0 h 509893"/>
              <a:gd name="connsiteX195" fmla="*/ 817631 w 1126698"/>
              <a:gd name="connsiteY195" fmla="*/ 0 h 509893"/>
              <a:gd name="connsiteX196" fmla="*/ 824227 w 1126698"/>
              <a:gd name="connsiteY196" fmla="*/ 0 h 509893"/>
              <a:gd name="connsiteX197" fmla="*/ 830475 w 1126698"/>
              <a:gd name="connsiteY197" fmla="*/ 0 h 509893"/>
              <a:gd name="connsiteX198" fmla="*/ 832804 w 1126698"/>
              <a:gd name="connsiteY198" fmla="*/ 0 h 509893"/>
              <a:gd name="connsiteX199" fmla="*/ 846553 w 1126698"/>
              <a:gd name="connsiteY199" fmla="*/ 0 h 509893"/>
              <a:gd name="connsiteX200" fmla="*/ 847139 w 1126698"/>
              <a:gd name="connsiteY200" fmla="*/ 0 h 509893"/>
              <a:gd name="connsiteX201" fmla="*/ 848491 w 1126698"/>
              <a:gd name="connsiteY201" fmla="*/ 0 h 509893"/>
              <a:gd name="connsiteX202" fmla="*/ 850141 w 1126698"/>
              <a:gd name="connsiteY202" fmla="*/ 0 h 509893"/>
              <a:gd name="connsiteX203" fmla="*/ 853736 w 1126698"/>
              <a:gd name="connsiteY203" fmla="*/ 0 h 509893"/>
              <a:gd name="connsiteX204" fmla="*/ 865156 w 1126698"/>
              <a:gd name="connsiteY204" fmla="*/ 0 h 509893"/>
              <a:gd name="connsiteX205" fmla="*/ 865165 w 1126698"/>
              <a:gd name="connsiteY205" fmla="*/ 0 h 509893"/>
              <a:gd name="connsiteX206" fmla="*/ 866806 w 1126698"/>
              <a:gd name="connsiteY206" fmla="*/ 0 h 509893"/>
              <a:gd name="connsiteX207" fmla="*/ 871752 w 1126698"/>
              <a:gd name="connsiteY207" fmla="*/ 0 h 509893"/>
              <a:gd name="connsiteX208" fmla="*/ 1126698 w 1126698"/>
              <a:gd name="connsiteY208" fmla="*/ 254948 h 509893"/>
              <a:gd name="connsiteX209" fmla="*/ 1126697 w 1126698"/>
              <a:gd name="connsiteY209" fmla="*/ 254948 h 509893"/>
              <a:gd name="connsiteX210" fmla="*/ 871752 w 1126698"/>
              <a:gd name="connsiteY210" fmla="*/ 509893 h 509893"/>
              <a:gd name="connsiteX211" fmla="*/ 866807 w 1126698"/>
              <a:gd name="connsiteY211" fmla="*/ 509893 h 509893"/>
              <a:gd name="connsiteX212" fmla="*/ 866805 w 1126698"/>
              <a:gd name="connsiteY212" fmla="*/ 509893 h 509893"/>
              <a:gd name="connsiteX213" fmla="*/ 865168 w 1126698"/>
              <a:gd name="connsiteY213" fmla="*/ 509893 h 509893"/>
              <a:gd name="connsiteX214" fmla="*/ 865164 w 1126698"/>
              <a:gd name="connsiteY214" fmla="*/ 509893 h 509893"/>
              <a:gd name="connsiteX215" fmla="*/ 865155 w 1126698"/>
              <a:gd name="connsiteY215" fmla="*/ 509893 h 509893"/>
              <a:gd name="connsiteX216" fmla="*/ 853736 w 1126698"/>
              <a:gd name="connsiteY216" fmla="*/ 509893 h 509893"/>
              <a:gd name="connsiteX217" fmla="*/ 853735 w 1126698"/>
              <a:gd name="connsiteY217" fmla="*/ 509893 h 509893"/>
              <a:gd name="connsiteX218" fmla="*/ 847139 w 1126698"/>
              <a:gd name="connsiteY218" fmla="*/ 509893 h 509893"/>
              <a:gd name="connsiteX219" fmla="*/ 847138 w 1126698"/>
              <a:gd name="connsiteY219" fmla="*/ 509893 h 509893"/>
              <a:gd name="connsiteX220" fmla="*/ 846553 w 1126698"/>
              <a:gd name="connsiteY220" fmla="*/ 509893 h 509893"/>
              <a:gd name="connsiteX221" fmla="*/ 846552 w 1126698"/>
              <a:gd name="connsiteY221" fmla="*/ 509893 h 509893"/>
              <a:gd name="connsiteX222" fmla="*/ 832805 w 1126698"/>
              <a:gd name="connsiteY222" fmla="*/ 509893 h 509893"/>
              <a:gd name="connsiteX223" fmla="*/ 832803 w 1126698"/>
              <a:gd name="connsiteY223" fmla="*/ 509893 h 509893"/>
              <a:gd name="connsiteX224" fmla="*/ 824229 w 1126698"/>
              <a:gd name="connsiteY224" fmla="*/ 509893 h 509893"/>
              <a:gd name="connsiteX225" fmla="*/ 824227 w 1126698"/>
              <a:gd name="connsiteY225" fmla="*/ 509893 h 509893"/>
              <a:gd name="connsiteX226" fmla="*/ 817633 w 1126698"/>
              <a:gd name="connsiteY226" fmla="*/ 509893 h 509893"/>
              <a:gd name="connsiteX227" fmla="*/ 817629 w 1126698"/>
              <a:gd name="connsiteY227" fmla="*/ 509893 h 509893"/>
              <a:gd name="connsiteX228" fmla="*/ 814190 w 1126698"/>
              <a:gd name="connsiteY228" fmla="*/ 509893 h 509893"/>
              <a:gd name="connsiteX229" fmla="*/ 806213 w 1126698"/>
              <a:gd name="connsiteY229" fmla="*/ 509893 h 509893"/>
              <a:gd name="connsiteX230" fmla="*/ 806210 w 1126698"/>
              <a:gd name="connsiteY230" fmla="*/ 509893 h 509893"/>
              <a:gd name="connsiteX231" fmla="*/ 806200 w 1126698"/>
              <a:gd name="connsiteY231" fmla="*/ 509893 h 509893"/>
              <a:gd name="connsiteX232" fmla="*/ 805614 w 1126698"/>
              <a:gd name="connsiteY232" fmla="*/ 509893 h 509893"/>
              <a:gd name="connsiteX233" fmla="*/ 805613 w 1126698"/>
              <a:gd name="connsiteY233" fmla="*/ 509893 h 509893"/>
              <a:gd name="connsiteX234" fmla="*/ 799616 w 1126698"/>
              <a:gd name="connsiteY234" fmla="*/ 509893 h 509893"/>
              <a:gd name="connsiteX235" fmla="*/ 799613 w 1126698"/>
              <a:gd name="connsiteY235" fmla="*/ 509893 h 509893"/>
              <a:gd name="connsiteX236" fmla="*/ 799030 w 1126698"/>
              <a:gd name="connsiteY236" fmla="*/ 509893 h 509893"/>
              <a:gd name="connsiteX237" fmla="*/ 799028 w 1126698"/>
              <a:gd name="connsiteY237" fmla="*/ 509893 h 509893"/>
              <a:gd name="connsiteX238" fmla="*/ 799018 w 1126698"/>
              <a:gd name="connsiteY238" fmla="*/ 509893 h 509893"/>
              <a:gd name="connsiteX239" fmla="*/ 799017 w 1126698"/>
              <a:gd name="connsiteY239" fmla="*/ 509893 h 509893"/>
              <a:gd name="connsiteX240" fmla="*/ 787598 w 1126698"/>
              <a:gd name="connsiteY240" fmla="*/ 509893 h 509893"/>
              <a:gd name="connsiteX241" fmla="*/ 787597 w 1126698"/>
              <a:gd name="connsiteY241" fmla="*/ 509893 h 509893"/>
              <a:gd name="connsiteX242" fmla="*/ 781002 w 1126698"/>
              <a:gd name="connsiteY242" fmla="*/ 509893 h 509893"/>
              <a:gd name="connsiteX243" fmla="*/ 781001 w 1126698"/>
              <a:gd name="connsiteY243" fmla="*/ 509893 h 509893"/>
              <a:gd name="connsiteX244" fmla="*/ 766668 w 1126698"/>
              <a:gd name="connsiteY244" fmla="*/ 509893 h 509893"/>
              <a:gd name="connsiteX245" fmla="*/ 766666 w 1126698"/>
              <a:gd name="connsiteY245" fmla="*/ 509893 h 509893"/>
              <a:gd name="connsiteX246" fmla="*/ 765016 w 1126698"/>
              <a:gd name="connsiteY246" fmla="*/ 509893 h 509893"/>
              <a:gd name="connsiteX247" fmla="*/ 758678 w 1126698"/>
              <a:gd name="connsiteY247" fmla="*/ 509893 h 509893"/>
              <a:gd name="connsiteX248" fmla="*/ 758675 w 1126698"/>
              <a:gd name="connsiteY248" fmla="*/ 509893 h 509893"/>
              <a:gd name="connsiteX249" fmla="*/ 758092 w 1126698"/>
              <a:gd name="connsiteY249" fmla="*/ 509893 h 509893"/>
              <a:gd name="connsiteX250" fmla="*/ 758089 w 1126698"/>
              <a:gd name="connsiteY250" fmla="*/ 509893 h 509893"/>
              <a:gd name="connsiteX251" fmla="*/ 751495 w 1126698"/>
              <a:gd name="connsiteY251" fmla="*/ 509893 h 509893"/>
              <a:gd name="connsiteX252" fmla="*/ 751493 w 1126698"/>
              <a:gd name="connsiteY252" fmla="*/ 509893 h 509893"/>
              <a:gd name="connsiteX253" fmla="*/ 747000 w 1126698"/>
              <a:gd name="connsiteY253" fmla="*/ 509893 h 509893"/>
              <a:gd name="connsiteX254" fmla="*/ 740075 w 1126698"/>
              <a:gd name="connsiteY254" fmla="*/ 509893 h 509893"/>
              <a:gd name="connsiteX255" fmla="*/ 740073 w 1126698"/>
              <a:gd name="connsiteY255" fmla="*/ 509893 h 509893"/>
              <a:gd name="connsiteX256" fmla="*/ 740063 w 1126698"/>
              <a:gd name="connsiteY256" fmla="*/ 509893 h 509893"/>
              <a:gd name="connsiteX257" fmla="*/ 740062 w 1126698"/>
              <a:gd name="connsiteY257" fmla="*/ 509893 h 509893"/>
              <a:gd name="connsiteX258" fmla="*/ 738424 w 1126698"/>
              <a:gd name="connsiteY258" fmla="*/ 509893 h 509893"/>
              <a:gd name="connsiteX259" fmla="*/ 738423 w 1126698"/>
              <a:gd name="connsiteY259" fmla="*/ 509893 h 509893"/>
              <a:gd name="connsiteX260" fmla="*/ 733478 w 1126698"/>
              <a:gd name="connsiteY260" fmla="*/ 509893 h 509893"/>
              <a:gd name="connsiteX261" fmla="*/ 733477 w 1126698"/>
              <a:gd name="connsiteY261" fmla="*/ 509893 h 509893"/>
              <a:gd name="connsiteX262" fmla="*/ 731827 w 1126698"/>
              <a:gd name="connsiteY262" fmla="*/ 509893 h 509893"/>
              <a:gd name="connsiteX263" fmla="*/ 731826 w 1126698"/>
              <a:gd name="connsiteY263" fmla="*/ 509893 h 509893"/>
              <a:gd name="connsiteX264" fmla="*/ 717493 w 1126698"/>
              <a:gd name="connsiteY264" fmla="*/ 509893 h 509893"/>
              <a:gd name="connsiteX265" fmla="*/ 717491 w 1126698"/>
              <a:gd name="connsiteY265" fmla="*/ 509893 h 509893"/>
              <a:gd name="connsiteX266" fmla="*/ 706061 w 1126698"/>
              <a:gd name="connsiteY266" fmla="*/ 509893 h 509893"/>
              <a:gd name="connsiteX267" fmla="*/ 699477 w 1126698"/>
              <a:gd name="connsiteY267" fmla="*/ 509893 h 509893"/>
              <a:gd name="connsiteX268" fmla="*/ 699475 w 1126698"/>
              <a:gd name="connsiteY268" fmla="*/ 509893 h 509893"/>
              <a:gd name="connsiteX269" fmla="*/ 699464 w 1126698"/>
              <a:gd name="connsiteY269" fmla="*/ 509893 h 509893"/>
              <a:gd name="connsiteX270" fmla="*/ 698878 w 1126698"/>
              <a:gd name="connsiteY270" fmla="*/ 509893 h 509893"/>
              <a:gd name="connsiteX271" fmla="*/ 692540 w 1126698"/>
              <a:gd name="connsiteY271" fmla="*/ 509893 h 509893"/>
              <a:gd name="connsiteX272" fmla="*/ 692538 w 1126698"/>
              <a:gd name="connsiteY272" fmla="*/ 509893 h 509893"/>
              <a:gd name="connsiteX273" fmla="*/ 690901 w 1126698"/>
              <a:gd name="connsiteY273" fmla="*/ 509893 h 509893"/>
              <a:gd name="connsiteX274" fmla="*/ 690898 w 1126698"/>
              <a:gd name="connsiteY274" fmla="*/ 509893 h 509893"/>
              <a:gd name="connsiteX275" fmla="*/ 690888 w 1126698"/>
              <a:gd name="connsiteY275" fmla="*/ 509893 h 509893"/>
              <a:gd name="connsiteX276" fmla="*/ 684304 w 1126698"/>
              <a:gd name="connsiteY276" fmla="*/ 509893 h 509893"/>
              <a:gd name="connsiteX277" fmla="*/ 684301 w 1126698"/>
              <a:gd name="connsiteY277" fmla="*/ 509893 h 509893"/>
              <a:gd name="connsiteX278" fmla="*/ 680862 w 1126698"/>
              <a:gd name="connsiteY278" fmla="*/ 509893 h 509893"/>
              <a:gd name="connsiteX279" fmla="*/ 680861 w 1126698"/>
              <a:gd name="connsiteY279" fmla="*/ 509893 h 509893"/>
              <a:gd name="connsiteX280" fmla="*/ 672873 w 1126698"/>
              <a:gd name="connsiteY280" fmla="*/ 509893 h 509893"/>
              <a:gd name="connsiteX281" fmla="*/ 672872 w 1126698"/>
              <a:gd name="connsiteY281" fmla="*/ 509893 h 509893"/>
              <a:gd name="connsiteX282" fmla="*/ 672286 w 1126698"/>
              <a:gd name="connsiteY282" fmla="*/ 509893 h 509893"/>
              <a:gd name="connsiteX283" fmla="*/ 672285 w 1126698"/>
              <a:gd name="connsiteY283" fmla="*/ 509893 h 509893"/>
              <a:gd name="connsiteX284" fmla="*/ 665690 w 1126698"/>
              <a:gd name="connsiteY284" fmla="*/ 509893 h 509893"/>
              <a:gd name="connsiteX285" fmla="*/ 665689 w 1126698"/>
              <a:gd name="connsiteY285" fmla="*/ 509893 h 509893"/>
              <a:gd name="connsiteX286" fmla="*/ 658538 w 1126698"/>
              <a:gd name="connsiteY286" fmla="*/ 509893 h 509893"/>
              <a:gd name="connsiteX287" fmla="*/ 658536 w 1126698"/>
              <a:gd name="connsiteY287" fmla="*/ 509893 h 509893"/>
              <a:gd name="connsiteX288" fmla="*/ 651942 w 1126698"/>
              <a:gd name="connsiteY288" fmla="*/ 509893 h 509893"/>
              <a:gd name="connsiteX289" fmla="*/ 651939 w 1126698"/>
              <a:gd name="connsiteY289" fmla="*/ 509893 h 509893"/>
              <a:gd name="connsiteX290" fmla="*/ 651356 w 1126698"/>
              <a:gd name="connsiteY290" fmla="*/ 509893 h 509893"/>
              <a:gd name="connsiteX291" fmla="*/ 651354 w 1126698"/>
              <a:gd name="connsiteY291" fmla="*/ 509893 h 509893"/>
              <a:gd name="connsiteX292" fmla="*/ 643366 w 1126698"/>
              <a:gd name="connsiteY292" fmla="*/ 509893 h 509893"/>
              <a:gd name="connsiteX293" fmla="*/ 643363 w 1126698"/>
              <a:gd name="connsiteY293" fmla="*/ 509893 h 509893"/>
              <a:gd name="connsiteX294" fmla="*/ 639923 w 1126698"/>
              <a:gd name="connsiteY294" fmla="*/ 509893 h 509893"/>
              <a:gd name="connsiteX295" fmla="*/ 633339 w 1126698"/>
              <a:gd name="connsiteY295" fmla="*/ 509893 h 509893"/>
              <a:gd name="connsiteX296" fmla="*/ 633337 w 1126698"/>
              <a:gd name="connsiteY296" fmla="*/ 509893 h 509893"/>
              <a:gd name="connsiteX297" fmla="*/ 633327 w 1126698"/>
              <a:gd name="connsiteY297" fmla="*/ 509893 h 509893"/>
              <a:gd name="connsiteX298" fmla="*/ 633326 w 1126698"/>
              <a:gd name="connsiteY298" fmla="*/ 509893 h 509893"/>
              <a:gd name="connsiteX299" fmla="*/ 631688 w 1126698"/>
              <a:gd name="connsiteY299" fmla="*/ 509893 h 509893"/>
              <a:gd name="connsiteX300" fmla="*/ 625349 w 1126698"/>
              <a:gd name="connsiteY300" fmla="*/ 509893 h 509893"/>
              <a:gd name="connsiteX301" fmla="*/ 625347 w 1126698"/>
              <a:gd name="connsiteY301" fmla="*/ 509893 h 509893"/>
              <a:gd name="connsiteX302" fmla="*/ 624763 w 1126698"/>
              <a:gd name="connsiteY302" fmla="*/ 509893 h 509893"/>
              <a:gd name="connsiteX303" fmla="*/ 624761 w 1126698"/>
              <a:gd name="connsiteY303" fmla="*/ 509893 h 509893"/>
              <a:gd name="connsiteX304" fmla="*/ 624751 w 1126698"/>
              <a:gd name="connsiteY304" fmla="*/ 509893 h 509893"/>
              <a:gd name="connsiteX305" fmla="*/ 624750 w 1126698"/>
              <a:gd name="connsiteY305" fmla="*/ 509893 h 509893"/>
              <a:gd name="connsiteX306" fmla="*/ 618166 w 1126698"/>
              <a:gd name="connsiteY306" fmla="*/ 509893 h 509893"/>
              <a:gd name="connsiteX307" fmla="*/ 618165 w 1126698"/>
              <a:gd name="connsiteY307" fmla="*/ 509893 h 509893"/>
              <a:gd name="connsiteX308" fmla="*/ 606735 w 1126698"/>
              <a:gd name="connsiteY308" fmla="*/ 509893 h 509893"/>
              <a:gd name="connsiteX309" fmla="*/ 606734 w 1126698"/>
              <a:gd name="connsiteY309" fmla="*/ 509893 h 509893"/>
              <a:gd name="connsiteX310" fmla="*/ 592402 w 1126698"/>
              <a:gd name="connsiteY310" fmla="*/ 509893 h 509893"/>
              <a:gd name="connsiteX311" fmla="*/ 592399 w 1126698"/>
              <a:gd name="connsiteY311" fmla="*/ 509893 h 509893"/>
              <a:gd name="connsiteX312" fmla="*/ 590749 w 1126698"/>
              <a:gd name="connsiteY312" fmla="*/ 509893 h 509893"/>
              <a:gd name="connsiteX313" fmla="*/ 585805 w 1126698"/>
              <a:gd name="connsiteY313" fmla="*/ 509893 h 509893"/>
              <a:gd name="connsiteX314" fmla="*/ 585802 w 1126698"/>
              <a:gd name="connsiteY314" fmla="*/ 509893 h 509893"/>
              <a:gd name="connsiteX315" fmla="*/ 584165 w 1126698"/>
              <a:gd name="connsiteY315" fmla="*/ 509893 h 509893"/>
              <a:gd name="connsiteX316" fmla="*/ 584163 w 1126698"/>
              <a:gd name="connsiteY316" fmla="*/ 509893 h 509893"/>
              <a:gd name="connsiteX317" fmla="*/ 584152 w 1126698"/>
              <a:gd name="connsiteY317" fmla="*/ 509893 h 509893"/>
              <a:gd name="connsiteX318" fmla="*/ 577228 w 1126698"/>
              <a:gd name="connsiteY318" fmla="*/ 509893 h 509893"/>
              <a:gd name="connsiteX319" fmla="*/ 577226 w 1126698"/>
              <a:gd name="connsiteY319" fmla="*/ 509893 h 509893"/>
              <a:gd name="connsiteX320" fmla="*/ 572733 w 1126698"/>
              <a:gd name="connsiteY320" fmla="*/ 509893 h 509893"/>
              <a:gd name="connsiteX321" fmla="*/ 566137 w 1126698"/>
              <a:gd name="connsiteY321" fmla="*/ 509893 h 509893"/>
              <a:gd name="connsiteX322" fmla="*/ 566136 w 1126698"/>
              <a:gd name="connsiteY322" fmla="*/ 509893 h 509893"/>
              <a:gd name="connsiteX323" fmla="*/ 565550 w 1126698"/>
              <a:gd name="connsiteY323" fmla="*/ 509893 h 509893"/>
              <a:gd name="connsiteX324" fmla="*/ 565549 w 1126698"/>
              <a:gd name="connsiteY324" fmla="*/ 509893 h 509893"/>
              <a:gd name="connsiteX325" fmla="*/ 559211 w 1126698"/>
              <a:gd name="connsiteY325" fmla="*/ 509893 h 509893"/>
              <a:gd name="connsiteX326" fmla="*/ 559210 w 1126698"/>
              <a:gd name="connsiteY326" fmla="*/ 509893 h 509893"/>
              <a:gd name="connsiteX327" fmla="*/ 557561 w 1126698"/>
              <a:gd name="connsiteY327" fmla="*/ 509893 h 509893"/>
              <a:gd name="connsiteX328" fmla="*/ 557560 w 1126698"/>
              <a:gd name="connsiteY328" fmla="*/ 509893 h 509893"/>
              <a:gd name="connsiteX329" fmla="*/ 543226 w 1126698"/>
              <a:gd name="connsiteY329" fmla="*/ 509893 h 509893"/>
              <a:gd name="connsiteX330" fmla="*/ 543224 w 1126698"/>
              <a:gd name="connsiteY330" fmla="*/ 509893 h 509893"/>
              <a:gd name="connsiteX331" fmla="*/ 536630 w 1126698"/>
              <a:gd name="connsiteY331" fmla="*/ 509893 h 509893"/>
              <a:gd name="connsiteX332" fmla="*/ 536627 w 1126698"/>
              <a:gd name="connsiteY332" fmla="*/ 509893 h 509893"/>
              <a:gd name="connsiteX333" fmla="*/ 525210 w 1126698"/>
              <a:gd name="connsiteY333" fmla="*/ 509893 h 509893"/>
              <a:gd name="connsiteX334" fmla="*/ 525208 w 1126698"/>
              <a:gd name="connsiteY334" fmla="*/ 509893 h 509893"/>
              <a:gd name="connsiteX335" fmla="*/ 525197 w 1126698"/>
              <a:gd name="connsiteY335" fmla="*/ 509893 h 509893"/>
              <a:gd name="connsiteX336" fmla="*/ 524611 w 1126698"/>
              <a:gd name="connsiteY336" fmla="*/ 509893 h 509893"/>
              <a:gd name="connsiteX337" fmla="*/ 518614 w 1126698"/>
              <a:gd name="connsiteY337" fmla="*/ 509893 h 509893"/>
              <a:gd name="connsiteX338" fmla="*/ 518611 w 1126698"/>
              <a:gd name="connsiteY338" fmla="*/ 509893 h 509893"/>
              <a:gd name="connsiteX339" fmla="*/ 518027 w 1126698"/>
              <a:gd name="connsiteY339" fmla="*/ 509893 h 509893"/>
              <a:gd name="connsiteX340" fmla="*/ 518025 w 1126698"/>
              <a:gd name="connsiteY340" fmla="*/ 509893 h 509893"/>
              <a:gd name="connsiteX341" fmla="*/ 518015 w 1126698"/>
              <a:gd name="connsiteY341" fmla="*/ 509893 h 509893"/>
              <a:gd name="connsiteX342" fmla="*/ 518014 w 1126698"/>
              <a:gd name="connsiteY342" fmla="*/ 509893 h 509893"/>
              <a:gd name="connsiteX343" fmla="*/ 510037 w 1126698"/>
              <a:gd name="connsiteY343" fmla="*/ 509893 h 509893"/>
              <a:gd name="connsiteX344" fmla="*/ 510035 w 1126698"/>
              <a:gd name="connsiteY344" fmla="*/ 509893 h 509893"/>
              <a:gd name="connsiteX345" fmla="*/ 506595 w 1126698"/>
              <a:gd name="connsiteY345" fmla="*/ 509893 h 509893"/>
              <a:gd name="connsiteX346" fmla="*/ 506594 w 1126698"/>
              <a:gd name="connsiteY346" fmla="*/ 509893 h 509893"/>
              <a:gd name="connsiteX347" fmla="*/ 499999 w 1126698"/>
              <a:gd name="connsiteY347" fmla="*/ 509893 h 509893"/>
              <a:gd name="connsiteX348" fmla="*/ 499998 w 1126698"/>
              <a:gd name="connsiteY348" fmla="*/ 509893 h 509893"/>
              <a:gd name="connsiteX349" fmla="*/ 491423 w 1126698"/>
              <a:gd name="connsiteY349" fmla="*/ 509893 h 509893"/>
              <a:gd name="connsiteX350" fmla="*/ 491422 w 1126698"/>
              <a:gd name="connsiteY350" fmla="*/ 509893 h 509893"/>
              <a:gd name="connsiteX351" fmla="*/ 477675 w 1126698"/>
              <a:gd name="connsiteY351" fmla="*/ 509893 h 509893"/>
              <a:gd name="connsiteX352" fmla="*/ 477672 w 1126698"/>
              <a:gd name="connsiteY352" fmla="*/ 509893 h 509893"/>
              <a:gd name="connsiteX353" fmla="*/ 477090 w 1126698"/>
              <a:gd name="connsiteY353" fmla="*/ 509893 h 509893"/>
              <a:gd name="connsiteX354" fmla="*/ 477087 w 1126698"/>
              <a:gd name="connsiteY354" fmla="*/ 509893 h 509893"/>
              <a:gd name="connsiteX355" fmla="*/ 470493 w 1126698"/>
              <a:gd name="connsiteY355" fmla="*/ 509893 h 509893"/>
              <a:gd name="connsiteX356" fmla="*/ 470490 w 1126698"/>
              <a:gd name="connsiteY356" fmla="*/ 509893 h 509893"/>
              <a:gd name="connsiteX357" fmla="*/ 459072 w 1126698"/>
              <a:gd name="connsiteY357" fmla="*/ 509893 h 509893"/>
              <a:gd name="connsiteX358" fmla="*/ 459070 w 1126698"/>
              <a:gd name="connsiteY358" fmla="*/ 509893 h 509893"/>
              <a:gd name="connsiteX359" fmla="*/ 459060 w 1126698"/>
              <a:gd name="connsiteY359" fmla="*/ 509893 h 509893"/>
              <a:gd name="connsiteX360" fmla="*/ 459059 w 1126698"/>
              <a:gd name="connsiteY360" fmla="*/ 509893 h 509893"/>
              <a:gd name="connsiteX361" fmla="*/ 457421 w 1126698"/>
              <a:gd name="connsiteY361" fmla="*/ 509893 h 509893"/>
              <a:gd name="connsiteX362" fmla="*/ 452476 w 1126698"/>
              <a:gd name="connsiteY362" fmla="*/ 509893 h 509893"/>
              <a:gd name="connsiteX363" fmla="*/ 452474 w 1126698"/>
              <a:gd name="connsiteY363" fmla="*/ 509893 h 509893"/>
              <a:gd name="connsiteX364" fmla="*/ 254947 w 1126698"/>
              <a:gd name="connsiteY364" fmla="*/ 509892 h 509893"/>
              <a:gd name="connsiteX365" fmla="*/ 5179 w 1126698"/>
              <a:gd name="connsiteY365" fmla="*/ 306327 h 509893"/>
              <a:gd name="connsiteX366" fmla="*/ 0 w 1126698"/>
              <a:gd name="connsiteY366" fmla="*/ 254948 h 509893"/>
              <a:gd name="connsiteX367" fmla="*/ 5179 w 1126698"/>
              <a:gd name="connsiteY367" fmla="*/ 203567 h 509893"/>
              <a:gd name="connsiteX368" fmla="*/ 254947 w 1126698"/>
              <a:gd name="connsiteY368" fmla="*/ 0 h 509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</a:cxnLst>
            <a:rect l="l" t="t" r="r" b="b"/>
            <a:pathLst>
              <a:path w="1126698" h="509893">
                <a:moveTo>
                  <a:pt x="254947" y="0"/>
                </a:moveTo>
                <a:lnTo>
                  <a:pt x="259893" y="0"/>
                </a:lnTo>
                <a:lnTo>
                  <a:pt x="261533" y="0"/>
                </a:lnTo>
                <a:lnTo>
                  <a:pt x="261544" y="0"/>
                </a:lnTo>
                <a:lnTo>
                  <a:pt x="272964" y="0"/>
                </a:lnTo>
                <a:lnTo>
                  <a:pt x="276558" y="0"/>
                </a:lnTo>
                <a:lnTo>
                  <a:pt x="278208" y="0"/>
                </a:lnTo>
                <a:lnTo>
                  <a:pt x="279560" y="0"/>
                </a:lnTo>
                <a:lnTo>
                  <a:pt x="280145" y="0"/>
                </a:lnTo>
                <a:lnTo>
                  <a:pt x="293894" y="0"/>
                </a:lnTo>
                <a:lnTo>
                  <a:pt x="296224" y="0"/>
                </a:lnTo>
                <a:lnTo>
                  <a:pt x="302471" y="0"/>
                </a:lnTo>
                <a:lnTo>
                  <a:pt x="309068" y="0"/>
                </a:lnTo>
                <a:lnTo>
                  <a:pt x="312508" y="0"/>
                </a:lnTo>
                <a:lnTo>
                  <a:pt x="320488" y="0"/>
                </a:lnTo>
                <a:lnTo>
                  <a:pt x="320498" y="0"/>
                </a:lnTo>
                <a:lnTo>
                  <a:pt x="321084" y="0"/>
                </a:lnTo>
                <a:lnTo>
                  <a:pt x="325732" y="0"/>
                </a:lnTo>
                <a:lnTo>
                  <a:pt x="327084" y="0"/>
                </a:lnTo>
                <a:lnTo>
                  <a:pt x="327671" y="0"/>
                </a:lnTo>
                <a:lnTo>
                  <a:pt x="327680" y="0"/>
                </a:lnTo>
                <a:lnTo>
                  <a:pt x="337163" y="0"/>
                </a:lnTo>
                <a:lnTo>
                  <a:pt x="339100" y="0"/>
                </a:lnTo>
                <a:lnTo>
                  <a:pt x="343748" y="0"/>
                </a:lnTo>
                <a:lnTo>
                  <a:pt x="343759" y="0"/>
                </a:lnTo>
                <a:lnTo>
                  <a:pt x="344345" y="0"/>
                </a:lnTo>
                <a:lnTo>
                  <a:pt x="345698" y="0"/>
                </a:lnTo>
                <a:lnTo>
                  <a:pt x="360033" y="0"/>
                </a:lnTo>
                <a:lnTo>
                  <a:pt x="361682" y="0"/>
                </a:lnTo>
                <a:lnTo>
                  <a:pt x="362361" y="0"/>
                </a:lnTo>
                <a:lnTo>
                  <a:pt x="368022" y="0"/>
                </a:lnTo>
                <a:lnTo>
                  <a:pt x="368609" y="0"/>
                </a:lnTo>
                <a:lnTo>
                  <a:pt x="375205" y="0"/>
                </a:lnTo>
                <a:lnTo>
                  <a:pt x="379700" y="0"/>
                </a:lnTo>
                <a:lnTo>
                  <a:pt x="384687" y="0"/>
                </a:lnTo>
                <a:lnTo>
                  <a:pt x="386625" y="0"/>
                </a:lnTo>
                <a:lnTo>
                  <a:pt x="386635" y="0"/>
                </a:lnTo>
                <a:lnTo>
                  <a:pt x="388276" y="0"/>
                </a:lnTo>
                <a:lnTo>
                  <a:pt x="391283" y="0"/>
                </a:lnTo>
                <a:lnTo>
                  <a:pt x="391870" y="0"/>
                </a:lnTo>
                <a:lnTo>
                  <a:pt x="393223" y="0"/>
                </a:lnTo>
                <a:lnTo>
                  <a:pt x="394872" y="0"/>
                </a:lnTo>
                <a:lnTo>
                  <a:pt x="403300" y="0"/>
                </a:lnTo>
                <a:lnTo>
                  <a:pt x="409206" y="0"/>
                </a:lnTo>
                <a:lnTo>
                  <a:pt x="409886" y="0"/>
                </a:lnTo>
                <a:lnTo>
                  <a:pt x="409896" y="0"/>
                </a:lnTo>
                <a:lnTo>
                  <a:pt x="411536" y="0"/>
                </a:lnTo>
                <a:lnTo>
                  <a:pt x="420637" y="0"/>
                </a:lnTo>
                <a:lnTo>
                  <a:pt x="427224" y="0"/>
                </a:lnTo>
                <a:lnTo>
                  <a:pt x="427234" y="0"/>
                </a:lnTo>
                <a:lnTo>
                  <a:pt x="427820" y="0"/>
                </a:lnTo>
                <a:lnTo>
                  <a:pt x="434160" y="0"/>
                </a:lnTo>
                <a:lnTo>
                  <a:pt x="435800" y="0"/>
                </a:lnTo>
                <a:lnTo>
                  <a:pt x="435810" y="0"/>
                </a:lnTo>
                <a:lnTo>
                  <a:pt x="442396" y="0"/>
                </a:lnTo>
                <a:lnTo>
                  <a:pt x="443898" y="0"/>
                </a:lnTo>
                <a:lnTo>
                  <a:pt x="445836" y="0"/>
                </a:lnTo>
                <a:lnTo>
                  <a:pt x="450825" y="0"/>
                </a:lnTo>
                <a:lnTo>
                  <a:pt x="452475" y="0"/>
                </a:lnTo>
                <a:lnTo>
                  <a:pt x="453827" y="0"/>
                </a:lnTo>
                <a:lnTo>
                  <a:pt x="454412" y="0"/>
                </a:lnTo>
                <a:lnTo>
                  <a:pt x="457421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10" y="0"/>
                </a:lnTo>
                <a:lnTo>
                  <a:pt x="468161" y="0"/>
                </a:lnTo>
                <a:lnTo>
                  <a:pt x="470491" y="0"/>
                </a:lnTo>
                <a:lnTo>
                  <a:pt x="474758" y="0"/>
                </a:lnTo>
                <a:lnTo>
                  <a:pt x="475345" y="0"/>
                </a:lnTo>
                <a:lnTo>
                  <a:pt x="477087" y="0"/>
                </a:lnTo>
                <a:lnTo>
                  <a:pt x="477673" y="0"/>
                </a:lnTo>
                <a:lnTo>
                  <a:pt x="483334" y="0"/>
                </a:lnTo>
                <a:lnTo>
                  <a:pt x="486775" y="0"/>
                </a:lnTo>
                <a:lnTo>
                  <a:pt x="491423" y="0"/>
                </a:lnTo>
                <a:lnTo>
                  <a:pt x="493361" y="0"/>
                </a:lnTo>
                <a:lnTo>
                  <a:pt x="493371" y="0"/>
                </a:lnTo>
                <a:lnTo>
                  <a:pt x="495012" y="0"/>
                </a:lnTo>
                <a:lnTo>
                  <a:pt x="499999" y="0"/>
                </a:lnTo>
                <a:lnTo>
                  <a:pt x="501351" y="0"/>
                </a:lnTo>
                <a:lnTo>
                  <a:pt x="501937" y="0"/>
                </a:lnTo>
                <a:lnTo>
                  <a:pt x="501947" y="0"/>
                </a:lnTo>
                <a:lnTo>
                  <a:pt x="506595" y="0"/>
                </a:lnTo>
                <a:lnTo>
                  <a:pt x="508535" y="0"/>
                </a:lnTo>
                <a:lnTo>
                  <a:pt x="510036" y="0"/>
                </a:lnTo>
                <a:lnTo>
                  <a:pt x="518015" y="0"/>
                </a:lnTo>
                <a:lnTo>
                  <a:pt x="518026" y="0"/>
                </a:lnTo>
                <a:lnTo>
                  <a:pt x="518612" y="0"/>
                </a:lnTo>
                <a:lnTo>
                  <a:pt x="519964" y="0"/>
                </a:lnTo>
                <a:lnTo>
                  <a:pt x="524611" y="0"/>
                </a:lnTo>
                <a:lnTo>
                  <a:pt x="525198" y="0"/>
                </a:lnTo>
                <a:lnTo>
                  <a:pt x="525208" y="0"/>
                </a:lnTo>
                <a:lnTo>
                  <a:pt x="534300" y="0"/>
                </a:lnTo>
                <a:lnTo>
                  <a:pt x="535949" y="0"/>
                </a:lnTo>
                <a:lnTo>
                  <a:pt x="536628" y="0"/>
                </a:lnTo>
                <a:lnTo>
                  <a:pt x="540896" y="0"/>
                </a:lnTo>
                <a:lnTo>
                  <a:pt x="542536" y="0"/>
                </a:lnTo>
                <a:lnTo>
                  <a:pt x="542546" y="0"/>
                </a:lnTo>
                <a:lnTo>
                  <a:pt x="543225" y="0"/>
                </a:lnTo>
                <a:lnTo>
                  <a:pt x="549472" y="0"/>
                </a:lnTo>
                <a:lnTo>
                  <a:pt x="553966" y="0"/>
                </a:lnTo>
                <a:lnTo>
                  <a:pt x="557561" y="0"/>
                </a:lnTo>
                <a:lnTo>
                  <a:pt x="559210" y="0"/>
                </a:lnTo>
                <a:lnTo>
                  <a:pt x="560563" y="0"/>
                </a:lnTo>
                <a:lnTo>
                  <a:pt x="561148" y="0"/>
                </a:lnTo>
                <a:lnTo>
                  <a:pt x="565550" y="0"/>
                </a:lnTo>
                <a:lnTo>
                  <a:pt x="566137" y="0"/>
                </a:lnTo>
                <a:lnTo>
                  <a:pt x="567489" y="0"/>
                </a:lnTo>
                <a:lnTo>
                  <a:pt x="569139" y="0"/>
                </a:lnTo>
                <a:lnTo>
                  <a:pt x="572733" y="0"/>
                </a:lnTo>
                <a:lnTo>
                  <a:pt x="577227" y="0"/>
                </a:lnTo>
                <a:lnTo>
                  <a:pt x="583473" y="0"/>
                </a:lnTo>
                <a:lnTo>
                  <a:pt x="584153" y="0"/>
                </a:lnTo>
                <a:lnTo>
                  <a:pt x="584163" y="0"/>
                </a:lnTo>
                <a:lnTo>
                  <a:pt x="585803" y="0"/>
                </a:lnTo>
                <a:lnTo>
                  <a:pt x="590070" y="0"/>
                </a:lnTo>
                <a:lnTo>
                  <a:pt x="590750" y="0"/>
                </a:lnTo>
                <a:lnTo>
                  <a:pt x="592399" y="0"/>
                </a:lnTo>
                <a:lnTo>
                  <a:pt x="601490" y="0"/>
                </a:lnTo>
                <a:lnTo>
                  <a:pt x="601501" y="0"/>
                </a:lnTo>
                <a:lnTo>
                  <a:pt x="602087" y="0"/>
                </a:lnTo>
                <a:lnTo>
                  <a:pt x="606735" y="0"/>
                </a:lnTo>
                <a:lnTo>
                  <a:pt x="608087" y="0"/>
                </a:lnTo>
                <a:lnTo>
                  <a:pt x="608673" y="0"/>
                </a:lnTo>
                <a:lnTo>
                  <a:pt x="608683" y="0"/>
                </a:lnTo>
                <a:lnTo>
                  <a:pt x="616663" y="0"/>
                </a:lnTo>
                <a:lnTo>
                  <a:pt x="618165" y="0"/>
                </a:lnTo>
                <a:lnTo>
                  <a:pt x="620103" y="0"/>
                </a:lnTo>
                <a:lnTo>
                  <a:pt x="624751" y="0"/>
                </a:lnTo>
                <a:lnTo>
                  <a:pt x="624762" y="0"/>
                </a:lnTo>
                <a:lnTo>
                  <a:pt x="625348" y="0"/>
                </a:lnTo>
                <a:lnTo>
                  <a:pt x="626699" y="0"/>
                </a:lnTo>
                <a:lnTo>
                  <a:pt x="631688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9923" y="0"/>
                </a:lnTo>
                <a:lnTo>
                  <a:pt x="643364" y="0"/>
                </a:lnTo>
                <a:lnTo>
                  <a:pt x="649025" y="0"/>
                </a:lnTo>
                <a:lnTo>
                  <a:pt x="649612" y="0"/>
                </a:lnTo>
                <a:lnTo>
                  <a:pt x="651354" y="0"/>
                </a:lnTo>
                <a:lnTo>
                  <a:pt x="651940" y="0"/>
                </a:lnTo>
                <a:lnTo>
                  <a:pt x="656208" y="0"/>
                </a:lnTo>
                <a:lnTo>
                  <a:pt x="658537" y="0"/>
                </a:lnTo>
                <a:lnTo>
                  <a:pt x="665690" y="0"/>
                </a:lnTo>
                <a:lnTo>
                  <a:pt x="667628" y="0"/>
                </a:lnTo>
                <a:lnTo>
                  <a:pt x="667638" y="0"/>
                </a:lnTo>
                <a:lnTo>
                  <a:pt x="669278" y="0"/>
                </a:lnTo>
                <a:lnTo>
                  <a:pt x="672286" y="0"/>
                </a:lnTo>
                <a:lnTo>
                  <a:pt x="672873" y="0"/>
                </a:lnTo>
                <a:lnTo>
                  <a:pt x="674224" y="0"/>
                </a:lnTo>
                <a:lnTo>
                  <a:pt x="675875" y="0"/>
                </a:lnTo>
                <a:lnTo>
                  <a:pt x="680862" y="0"/>
                </a:lnTo>
                <a:lnTo>
                  <a:pt x="682801" y="0"/>
                </a:lnTo>
                <a:lnTo>
                  <a:pt x="684302" y="0"/>
                </a:lnTo>
                <a:lnTo>
                  <a:pt x="690889" y="0"/>
                </a:lnTo>
                <a:lnTo>
                  <a:pt x="690899" y="0"/>
                </a:lnTo>
                <a:lnTo>
                  <a:pt x="692539" y="0"/>
                </a:lnTo>
                <a:lnTo>
                  <a:pt x="698878" y="0"/>
                </a:lnTo>
                <a:lnTo>
                  <a:pt x="699465" y="0"/>
                </a:lnTo>
                <a:lnTo>
                  <a:pt x="699475" y="0"/>
                </a:lnTo>
                <a:lnTo>
                  <a:pt x="706062" y="0"/>
                </a:lnTo>
                <a:lnTo>
                  <a:pt x="715163" y="0"/>
                </a:lnTo>
                <a:lnTo>
                  <a:pt x="716802" y="0"/>
                </a:lnTo>
                <a:lnTo>
                  <a:pt x="716813" y="0"/>
                </a:lnTo>
                <a:lnTo>
                  <a:pt x="717492" y="0"/>
                </a:lnTo>
                <a:lnTo>
                  <a:pt x="723399" y="0"/>
                </a:lnTo>
                <a:lnTo>
                  <a:pt x="731827" y="0"/>
                </a:lnTo>
                <a:lnTo>
                  <a:pt x="733477" y="0"/>
                </a:lnTo>
                <a:lnTo>
                  <a:pt x="734829" y="0"/>
                </a:lnTo>
                <a:lnTo>
                  <a:pt x="735415" y="0"/>
                </a:lnTo>
                <a:lnTo>
                  <a:pt x="738424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7000" y="0"/>
                </a:lnTo>
                <a:lnTo>
                  <a:pt x="751494" y="0"/>
                </a:lnTo>
                <a:lnTo>
                  <a:pt x="758090" y="0"/>
                </a:lnTo>
                <a:lnTo>
                  <a:pt x="758676" y="0"/>
                </a:lnTo>
                <a:lnTo>
                  <a:pt x="764337" y="0"/>
                </a:lnTo>
                <a:lnTo>
                  <a:pt x="765017" y="0"/>
                </a:lnTo>
                <a:lnTo>
                  <a:pt x="766666" y="0"/>
                </a:lnTo>
                <a:lnTo>
                  <a:pt x="781002" y="0"/>
                </a:lnTo>
                <a:lnTo>
                  <a:pt x="782353" y="0"/>
                </a:lnTo>
                <a:lnTo>
                  <a:pt x="782940" y="0"/>
                </a:lnTo>
                <a:lnTo>
                  <a:pt x="782950" y="0"/>
                </a:lnTo>
                <a:lnTo>
                  <a:pt x="787598" y="0"/>
                </a:lnTo>
                <a:lnTo>
                  <a:pt x="789536" y="0"/>
                </a:lnTo>
                <a:lnTo>
                  <a:pt x="799018" y="0"/>
                </a:lnTo>
                <a:lnTo>
                  <a:pt x="799029" y="0"/>
                </a:lnTo>
                <a:lnTo>
                  <a:pt x="799614" y="0"/>
                </a:lnTo>
                <a:lnTo>
                  <a:pt x="800966" y="0"/>
                </a:lnTo>
                <a:lnTo>
                  <a:pt x="805614" y="0"/>
                </a:lnTo>
                <a:lnTo>
                  <a:pt x="806201" y="0"/>
                </a:lnTo>
                <a:lnTo>
                  <a:pt x="806211" y="0"/>
                </a:lnTo>
                <a:lnTo>
                  <a:pt x="814190" y="0"/>
                </a:lnTo>
                <a:lnTo>
                  <a:pt x="817631" y="0"/>
                </a:lnTo>
                <a:lnTo>
                  <a:pt x="824227" y="0"/>
                </a:lnTo>
                <a:lnTo>
                  <a:pt x="830475" y="0"/>
                </a:lnTo>
                <a:lnTo>
                  <a:pt x="832804" y="0"/>
                </a:lnTo>
                <a:lnTo>
                  <a:pt x="846553" y="0"/>
                </a:lnTo>
                <a:lnTo>
                  <a:pt x="847139" y="0"/>
                </a:lnTo>
                <a:lnTo>
                  <a:pt x="848491" y="0"/>
                </a:lnTo>
                <a:lnTo>
                  <a:pt x="850141" y="0"/>
                </a:lnTo>
                <a:lnTo>
                  <a:pt x="853736" y="0"/>
                </a:lnTo>
                <a:lnTo>
                  <a:pt x="865156" y="0"/>
                </a:lnTo>
                <a:lnTo>
                  <a:pt x="865165" y="0"/>
                </a:lnTo>
                <a:lnTo>
                  <a:pt x="866806" y="0"/>
                </a:lnTo>
                <a:lnTo>
                  <a:pt x="871752" y="0"/>
                </a:lnTo>
                <a:cubicBezTo>
                  <a:pt x="1012555" y="0"/>
                  <a:pt x="1126698" y="114144"/>
                  <a:pt x="1126698" y="254948"/>
                </a:cubicBezTo>
                <a:lnTo>
                  <a:pt x="1126697" y="254948"/>
                </a:lnTo>
                <a:cubicBezTo>
                  <a:pt x="1126697" y="395750"/>
                  <a:pt x="1012554" y="509893"/>
                  <a:pt x="871752" y="509893"/>
                </a:cubicBezTo>
                <a:lnTo>
                  <a:pt x="866807" y="509893"/>
                </a:lnTo>
                <a:lnTo>
                  <a:pt x="866805" y="509893"/>
                </a:lnTo>
                <a:lnTo>
                  <a:pt x="865168" y="509893"/>
                </a:lnTo>
                <a:lnTo>
                  <a:pt x="865164" y="509893"/>
                </a:lnTo>
                <a:lnTo>
                  <a:pt x="865155" y="509893"/>
                </a:lnTo>
                <a:lnTo>
                  <a:pt x="853736" y="509893"/>
                </a:lnTo>
                <a:lnTo>
                  <a:pt x="853735" y="509893"/>
                </a:lnTo>
                <a:lnTo>
                  <a:pt x="847139" y="509893"/>
                </a:lnTo>
                <a:lnTo>
                  <a:pt x="847138" y="509893"/>
                </a:lnTo>
                <a:lnTo>
                  <a:pt x="846553" y="509893"/>
                </a:lnTo>
                <a:lnTo>
                  <a:pt x="846552" y="509893"/>
                </a:lnTo>
                <a:lnTo>
                  <a:pt x="832805" y="509893"/>
                </a:lnTo>
                <a:lnTo>
                  <a:pt x="832803" y="509893"/>
                </a:lnTo>
                <a:lnTo>
                  <a:pt x="824229" y="509893"/>
                </a:lnTo>
                <a:lnTo>
                  <a:pt x="824227" y="509893"/>
                </a:lnTo>
                <a:lnTo>
                  <a:pt x="817633" y="509893"/>
                </a:lnTo>
                <a:lnTo>
                  <a:pt x="817629" y="509893"/>
                </a:lnTo>
                <a:lnTo>
                  <a:pt x="814190" y="509893"/>
                </a:lnTo>
                <a:lnTo>
                  <a:pt x="806213" y="509893"/>
                </a:lnTo>
                <a:lnTo>
                  <a:pt x="806210" y="509893"/>
                </a:lnTo>
                <a:lnTo>
                  <a:pt x="806200" y="509893"/>
                </a:lnTo>
                <a:lnTo>
                  <a:pt x="805614" y="509893"/>
                </a:lnTo>
                <a:lnTo>
                  <a:pt x="805613" y="509893"/>
                </a:lnTo>
                <a:lnTo>
                  <a:pt x="799616" y="509893"/>
                </a:lnTo>
                <a:lnTo>
                  <a:pt x="799613" y="509893"/>
                </a:lnTo>
                <a:lnTo>
                  <a:pt x="799030" y="509893"/>
                </a:lnTo>
                <a:lnTo>
                  <a:pt x="799028" y="509893"/>
                </a:lnTo>
                <a:lnTo>
                  <a:pt x="799018" y="509893"/>
                </a:lnTo>
                <a:lnTo>
                  <a:pt x="799017" y="509893"/>
                </a:lnTo>
                <a:lnTo>
                  <a:pt x="787598" y="509893"/>
                </a:lnTo>
                <a:lnTo>
                  <a:pt x="787597" y="509893"/>
                </a:lnTo>
                <a:lnTo>
                  <a:pt x="781002" y="509893"/>
                </a:lnTo>
                <a:lnTo>
                  <a:pt x="781001" y="509893"/>
                </a:lnTo>
                <a:lnTo>
                  <a:pt x="766668" y="509893"/>
                </a:lnTo>
                <a:lnTo>
                  <a:pt x="766666" y="509893"/>
                </a:lnTo>
                <a:lnTo>
                  <a:pt x="765016" y="509893"/>
                </a:lnTo>
                <a:lnTo>
                  <a:pt x="758678" y="509893"/>
                </a:lnTo>
                <a:lnTo>
                  <a:pt x="758675" y="509893"/>
                </a:lnTo>
                <a:lnTo>
                  <a:pt x="758092" y="509893"/>
                </a:lnTo>
                <a:lnTo>
                  <a:pt x="758089" y="509893"/>
                </a:lnTo>
                <a:lnTo>
                  <a:pt x="751495" y="509893"/>
                </a:lnTo>
                <a:lnTo>
                  <a:pt x="751493" y="509893"/>
                </a:lnTo>
                <a:lnTo>
                  <a:pt x="747000" y="509893"/>
                </a:lnTo>
                <a:lnTo>
                  <a:pt x="740075" y="509893"/>
                </a:lnTo>
                <a:lnTo>
                  <a:pt x="740073" y="509893"/>
                </a:lnTo>
                <a:lnTo>
                  <a:pt x="740063" y="509893"/>
                </a:lnTo>
                <a:lnTo>
                  <a:pt x="740062" y="509893"/>
                </a:lnTo>
                <a:lnTo>
                  <a:pt x="738424" y="509893"/>
                </a:lnTo>
                <a:lnTo>
                  <a:pt x="738423" y="509893"/>
                </a:lnTo>
                <a:lnTo>
                  <a:pt x="733478" y="509893"/>
                </a:lnTo>
                <a:lnTo>
                  <a:pt x="733477" y="509893"/>
                </a:lnTo>
                <a:lnTo>
                  <a:pt x="731827" y="509893"/>
                </a:lnTo>
                <a:lnTo>
                  <a:pt x="731826" y="509893"/>
                </a:lnTo>
                <a:lnTo>
                  <a:pt x="717493" y="509893"/>
                </a:lnTo>
                <a:lnTo>
                  <a:pt x="717491" y="509893"/>
                </a:lnTo>
                <a:lnTo>
                  <a:pt x="706061" y="509893"/>
                </a:lnTo>
                <a:lnTo>
                  <a:pt x="699477" y="509893"/>
                </a:lnTo>
                <a:lnTo>
                  <a:pt x="699475" y="509893"/>
                </a:lnTo>
                <a:lnTo>
                  <a:pt x="699464" y="509893"/>
                </a:lnTo>
                <a:lnTo>
                  <a:pt x="698878" y="509893"/>
                </a:lnTo>
                <a:lnTo>
                  <a:pt x="692540" y="509893"/>
                </a:lnTo>
                <a:lnTo>
                  <a:pt x="692538" y="509893"/>
                </a:lnTo>
                <a:lnTo>
                  <a:pt x="690901" y="509893"/>
                </a:lnTo>
                <a:lnTo>
                  <a:pt x="690898" y="509893"/>
                </a:lnTo>
                <a:lnTo>
                  <a:pt x="690888" y="509893"/>
                </a:lnTo>
                <a:lnTo>
                  <a:pt x="684304" y="509893"/>
                </a:lnTo>
                <a:lnTo>
                  <a:pt x="684301" y="509893"/>
                </a:lnTo>
                <a:lnTo>
                  <a:pt x="680862" y="509893"/>
                </a:lnTo>
                <a:lnTo>
                  <a:pt x="680861" y="509893"/>
                </a:lnTo>
                <a:lnTo>
                  <a:pt x="672873" y="509893"/>
                </a:lnTo>
                <a:lnTo>
                  <a:pt x="672872" y="509893"/>
                </a:lnTo>
                <a:lnTo>
                  <a:pt x="672286" y="509893"/>
                </a:lnTo>
                <a:lnTo>
                  <a:pt x="672285" y="509893"/>
                </a:lnTo>
                <a:lnTo>
                  <a:pt x="665690" y="509893"/>
                </a:lnTo>
                <a:lnTo>
                  <a:pt x="665689" y="509893"/>
                </a:lnTo>
                <a:lnTo>
                  <a:pt x="658538" y="509893"/>
                </a:lnTo>
                <a:lnTo>
                  <a:pt x="658536" y="509893"/>
                </a:lnTo>
                <a:lnTo>
                  <a:pt x="651942" y="509893"/>
                </a:lnTo>
                <a:lnTo>
                  <a:pt x="651939" y="509893"/>
                </a:lnTo>
                <a:lnTo>
                  <a:pt x="651356" y="509893"/>
                </a:lnTo>
                <a:lnTo>
                  <a:pt x="651354" y="509893"/>
                </a:lnTo>
                <a:lnTo>
                  <a:pt x="643366" y="509893"/>
                </a:lnTo>
                <a:lnTo>
                  <a:pt x="643363" y="509893"/>
                </a:lnTo>
                <a:lnTo>
                  <a:pt x="639923" y="509893"/>
                </a:lnTo>
                <a:lnTo>
                  <a:pt x="633339" y="509893"/>
                </a:lnTo>
                <a:lnTo>
                  <a:pt x="633337" y="509893"/>
                </a:lnTo>
                <a:lnTo>
                  <a:pt x="633327" y="509893"/>
                </a:lnTo>
                <a:lnTo>
                  <a:pt x="633326" y="509893"/>
                </a:lnTo>
                <a:lnTo>
                  <a:pt x="631688" y="509893"/>
                </a:lnTo>
                <a:lnTo>
                  <a:pt x="625349" y="509893"/>
                </a:lnTo>
                <a:lnTo>
                  <a:pt x="625347" y="509893"/>
                </a:lnTo>
                <a:lnTo>
                  <a:pt x="624763" y="509893"/>
                </a:lnTo>
                <a:lnTo>
                  <a:pt x="624761" y="509893"/>
                </a:lnTo>
                <a:lnTo>
                  <a:pt x="624751" y="509893"/>
                </a:lnTo>
                <a:lnTo>
                  <a:pt x="624750" y="509893"/>
                </a:lnTo>
                <a:lnTo>
                  <a:pt x="618166" y="509893"/>
                </a:lnTo>
                <a:lnTo>
                  <a:pt x="618165" y="509893"/>
                </a:lnTo>
                <a:lnTo>
                  <a:pt x="606735" y="509893"/>
                </a:lnTo>
                <a:lnTo>
                  <a:pt x="606734" y="509893"/>
                </a:lnTo>
                <a:lnTo>
                  <a:pt x="592402" y="509893"/>
                </a:lnTo>
                <a:lnTo>
                  <a:pt x="592399" y="509893"/>
                </a:lnTo>
                <a:lnTo>
                  <a:pt x="590749" y="509893"/>
                </a:lnTo>
                <a:lnTo>
                  <a:pt x="585805" y="509893"/>
                </a:lnTo>
                <a:lnTo>
                  <a:pt x="585802" y="509893"/>
                </a:lnTo>
                <a:lnTo>
                  <a:pt x="584165" y="509893"/>
                </a:lnTo>
                <a:lnTo>
                  <a:pt x="584163" y="509893"/>
                </a:lnTo>
                <a:lnTo>
                  <a:pt x="584152" y="509893"/>
                </a:lnTo>
                <a:lnTo>
                  <a:pt x="577228" y="509893"/>
                </a:lnTo>
                <a:lnTo>
                  <a:pt x="577226" y="509893"/>
                </a:lnTo>
                <a:lnTo>
                  <a:pt x="572733" y="509893"/>
                </a:lnTo>
                <a:lnTo>
                  <a:pt x="566137" y="509893"/>
                </a:lnTo>
                <a:lnTo>
                  <a:pt x="566136" y="509893"/>
                </a:lnTo>
                <a:lnTo>
                  <a:pt x="565550" y="509893"/>
                </a:lnTo>
                <a:lnTo>
                  <a:pt x="565549" y="509893"/>
                </a:lnTo>
                <a:lnTo>
                  <a:pt x="559211" y="509893"/>
                </a:lnTo>
                <a:lnTo>
                  <a:pt x="559210" y="509893"/>
                </a:lnTo>
                <a:lnTo>
                  <a:pt x="557561" y="509893"/>
                </a:lnTo>
                <a:lnTo>
                  <a:pt x="557560" y="509893"/>
                </a:lnTo>
                <a:lnTo>
                  <a:pt x="543226" y="509893"/>
                </a:lnTo>
                <a:lnTo>
                  <a:pt x="543224" y="509893"/>
                </a:lnTo>
                <a:lnTo>
                  <a:pt x="536630" y="509893"/>
                </a:lnTo>
                <a:lnTo>
                  <a:pt x="536627" y="509893"/>
                </a:lnTo>
                <a:lnTo>
                  <a:pt x="525210" y="509893"/>
                </a:lnTo>
                <a:lnTo>
                  <a:pt x="525208" y="509893"/>
                </a:lnTo>
                <a:lnTo>
                  <a:pt x="525197" y="509893"/>
                </a:lnTo>
                <a:lnTo>
                  <a:pt x="524611" y="509893"/>
                </a:lnTo>
                <a:lnTo>
                  <a:pt x="518614" y="509893"/>
                </a:lnTo>
                <a:lnTo>
                  <a:pt x="518611" y="509893"/>
                </a:lnTo>
                <a:lnTo>
                  <a:pt x="518027" y="509893"/>
                </a:lnTo>
                <a:lnTo>
                  <a:pt x="518025" y="509893"/>
                </a:lnTo>
                <a:lnTo>
                  <a:pt x="518015" y="509893"/>
                </a:lnTo>
                <a:lnTo>
                  <a:pt x="518014" y="509893"/>
                </a:lnTo>
                <a:lnTo>
                  <a:pt x="510037" y="509893"/>
                </a:lnTo>
                <a:lnTo>
                  <a:pt x="510035" y="509893"/>
                </a:lnTo>
                <a:lnTo>
                  <a:pt x="506595" y="509893"/>
                </a:lnTo>
                <a:lnTo>
                  <a:pt x="506594" y="509893"/>
                </a:lnTo>
                <a:lnTo>
                  <a:pt x="499999" y="509893"/>
                </a:lnTo>
                <a:lnTo>
                  <a:pt x="499998" y="509893"/>
                </a:lnTo>
                <a:lnTo>
                  <a:pt x="491423" y="509893"/>
                </a:lnTo>
                <a:lnTo>
                  <a:pt x="491422" y="509893"/>
                </a:lnTo>
                <a:lnTo>
                  <a:pt x="477675" y="509893"/>
                </a:lnTo>
                <a:lnTo>
                  <a:pt x="477672" y="509893"/>
                </a:lnTo>
                <a:lnTo>
                  <a:pt x="477090" y="509893"/>
                </a:lnTo>
                <a:lnTo>
                  <a:pt x="477087" y="509893"/>
                </a:lnTo>
                <a:lnTo>
                  <a:pt x="470493" y="509893"/>
                </a:lnTo>
                <a:lnTo>
                  <a:pt x="470490" y="509893"/>
                </a:lnTo>
                <a:lnTo>
                  <a:pt x="459072" y="509893"/>
                </a:lnTo>
                <a:lnTo>
                  <a:pt x="459070" y="509893"/>
                </a:lnTo>
                <a:lnTo>
                  <a:pt x="459060" y="509893"/>
                </a:lnTo>
                <a:lnTo>
                  <a:pt x="459059" y="509893"/>
                </a:lnTo>
                <a:lnTo>
                  <a:pt x="457421" y="509893"/>
                </a:lnTo>
                <a:lnTo>
                  <a:pt x="452476" y="509893"/>
                </a:lnTo>
                <a:lnTo>
                  <a:pt x="452474" y="509893"/>
                </a:lnTo>
                <a:lnTo>
                  <a:pt x="254947" y="509892"/>
                </a:lnTo>
                <a:cubicBezTo>
                  <a:pt x="131743" y="509892"/>
                  <a:pt x="28953" y="422502"/>
                  <a:pt x="5179" y="306327"/>
                </a:cubicBezTo>
                <a:lnTo>
                  <a:pt x="0" y="254948"/>
                </a:lnTo>
                <a:lnTo>
                  <a:pt x="5179" y="203567"/>
                </a:lnTo>
                <a:cubicBezTo>
                  <a:pt x="28953" y="87392"/>
                  <a:pt x="131743" y="0"/>
                  <a:pt x="25494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68" name="Полилиния 67"/>
          <p:cNvSpPr/>
          <p:nvPr/>
        </p:nvSpPr>
        <p:spPr>
          <a:xfrm>
            <a:off x="1346246" y="3915349"/>
            <a:ext cx="1116241" cy="439609"/>
          </a:xfrm>
          <a:custGeom>
            <a:avLst/>
            <a:gdLst>
              <a:gd name="connsiteX0" fmla="*/ 254948 w 1372688"/>
              <a:gd name="connsiteY0" fmla="*/ 0 h 509893"/>
              <a:gd name="connsiteX1" fmla="*/ 261533 w 1372688"/>
              <a:gd name="connsiteY1" fmla="*/ 0 h 509893"/>
              <a:gd name="connsiteX2" fmla="*/ 261544 w 1372688"/>
              <a:gd name="connsiteY2" fmla="*/ 0 h 509893"/>
              <a:gd name="connsiteX3" fmla="*/ 278208 w 1372688"/>
              <a:gd name="connsiteY3" fmla="*/ 0 h 509893"/>
              <a:gd name="connsiteX4" fmla="*/ 280146 w 1372688"/>
              <a:gd name="connsiteY4" fmla="*/ 0 h 509893"/>
              <a:gd name="connsiteX5" fmla="*/ 302471 w 1372688"/>
              <a:gd name="connsiteY5" fmla="*/ 0 h 509893"/>
              <a:gd name="connsiteX6" fmla="*/ 309068 w 1372688"/>
              <a:gd name="connsiteY6" fmla="*/ 0 h 509893"/>
              <a:gd name="connsiteX7" fmla="*/ 321084 w 1372688"/>
              <a:gd name="connsiteY7" fmla="*/ 0 h 509893"/>
              <a:gd name="connsiteX8" fmla="*/ 325732 w 1372688"/>
              <a:gd name="connsiteY8" fmla="*/ 0 h 509893"/>
              <a:gd name="connsiteX9" fmla="*/ 327671 w 1372688"/>
              <a:gd name="connsiteY9" fmla="*/ 0 h 509893"/>
              <a:gd name="connsiteX10" fmla="*/ 327680 w 1372688"/>
              <a:gd name="connsiteY10" fmla="*/ 0 h 509893"/>
              <a:gd name="connsiteX11" fmla="*/ 344345 w 1372688"/>
              <a:gd name="connsiteY11" fmla="*/ 0 h 509893"/>
              <a:gd name="connsiteX12" fmla="*/ 361682 w 1372688"/>
              <a:gd name="connsiteY12" fmla="*/ 0 h 509893"/>
              <a:gd name="connsiteX13" fmla="*/ 368609 w 1372688"/>
              <a:gd name="connsiteY13" fmla="*/ 0 h 509893"/>
              <a:gd name="connsiteX14" fmla="*/ 375205 w 1372688"/>
              <a:gd name="connsiteY14" fmla="*/ 0 h 509893"/>
              <a:gd name="connsiteX15" fmla="*/ 385626 w 1372688"/>
              <a:gd name="connsiteY15" fmla="*/ 0 h 509893"/>
              <a:gd name="connsiteX16" fmla="*/ 388276 w 1372688"/>
              <a:gd name="connsiteY16" fmla="*/ 0 h 509893"/>
              <a:gd name="connsiteX17" fmla="*/ 391870 w 1372688"/>
              <a:gd name="connsiteY17" fmla="*/ 0 h 509893"/>
              <a:gd name="connsiteX18" fmla="*/ 392211 w 1372688"/>
              <a:gd name="connsiteY18" fmla="*/ 0 h 509893"/>
              <a:gd name="connsiteX19" fmla="*/ 392222 w 1372688"/>
              <a:gd name="connsiteY19" fmla="*/ 0 h 509893"/>
              <a:gd name="connsiteX20" fmla="*/ 394872 w 1372688"/>
              <a:gd name="connsiteY20" fmla="*/ 0 h 509893"/>
              <a:gd name="connsiteX21" fmla="*/ 408886 w 1372688"/>
              <a:gd name="connsiteY21" fmla="*/ 0 h 509893"/>
              <a:gd name="connsiteX22" fmla="*/ 409206 w 1372688"/>
              <a:gd name="connsiteY22" fmla="*/ 0 h 509893"/>
              <a:gd name="connsiteX23" fmla="*/ 410824 w 1372688"/>
              <a:gd name="connsiteY23" fmla="*/ 0 h 509893"/>
              <a:gd name="connsiteX24" fmla="*/ 411536 w 1372688"/>
              <a:gd name="connsiteY24" fmla="*/ 0 h 509893"/>
              <a:gd name="connsiteX25" fmla="*/ 427820 w 1372688"/>
              <a:gd name="connsiteY25" fmla="*/ 0 h 509893"/>
              <a:gd name="connsiteX26" fmla="*/ 433149 w 1372688"/>
              <a:gd name="connsiteY26" fmla="*/ 0 h 509893"/>
              <a:gd name="connsiteX27" fmla="*/ 435800 w 1372688"/>
              <a:gd name="connsiteY27" fmla="*/ 0 h 509893"/>
              <a:gd name="connsiteX28" fmla="*/ 435810 w 1372688"/>
              <a:gd name="connsiteY28" fmla="*/ 0 h 509893"/>
              <a:gd name="connsiteX29" fmla="*/ 439746 w 1372688"/>
              <a:gd name="connsiteY29" fmla="*/ 0 h 509893"/>
              <a:gd name="connsiteX30" fmla="*/ 442396 w 1372688"/>
              <a:gd name="connsiteY30" fmla="*/ 0 h 509893"/>
              <a:gd name="connsiteX31" fmla="*/ 451762 w 1372688"/>
              <a:gd name="connsiteY31" fmla="*/ 0 h 509893"/>
              <a:gd name="connsiteX32" fmla="*/ 452475 w 1372688"/>
              <a:gd name="connsiteY32" fmla="*/ 0 h 509893"/>
              <a:gd name="connsiteX33" fmla="*/ 454412 w 1372688"/>
              <a:gd name="connsiteY33" fmla="*/ 0 h 509893"/>
              <a:gd name="connsiteX34" fmla="*/ 456410 w 1372688"/>
              <a:gd name="connsiteY34" fmla="*/ 0 h 509893"/>
              <a:gd name="connsiteX35" fmla="*/ 458349 w 1372688"/>
              <a:gd name="connsiteY35" fmla="*/ 0 h 509893"/>
              <a:gd name="connsiteX36" fmla="*/ 458358 w 1372688"/>
              <a:gd name="connsiteY36" fmla="*/ 0 h 509893"/>
              <a:gd name="connsiteX37" fmla="*/ 459060 w 1372688"/>
              <a:gd name="connsiteY37" fmla="*/ 0 h 509893"/>
              <a:gd name="connsiteX38" fmla="*/ 459071 w 1372688"/>
              <a:gd name="connsiteY38" fmla="*/ 0 h 509893"/>
              <a:gd name="connsiteX39" fmla="*/ 461010 w 1372688"/>
              <a:gd name="connsiteY39" fmla="*/ 0 h 509893"/>
              <a:gd name="connsiteX40" fmla="*/ 475023 w 1372688"/>
              <a:gd name="connsiteY40" fmla="*/ 0 h 509893"/>
              <a:gd name="connsiteX41" fmla="*/ 475345 w 1372688"/>
              <a:gd name="connsiteY41" fmla="*/ 0 h 509893"/>
              <a:gd name="connsiteX42" fmla="*/ 477673 w 1372688"/>
              <a:gd name="connsiteY42" fmla="*/ 0 h 509893"/>
              <a:gd name="connsiteX43" fmla="*/ 483334 w 1372688"/>
              <a:gd name="connsiteY43" fmla="*/ 0 h 509893"/>
              <a:gd name="connsiteX44" fmla="*/ 492360 w 1372688"/>
              <a:gd name="connsiteY44" fmla="*/ 0 h 509893"/>
              <a:gd name="connsiteX45" fmla="*/ 495012 w 1372688"/>
              <a:gd name="connsiteY45" fmla="*/ 0 h 509893"/>
              <a:gd name="connsiteX46" fmla="*/ 499287 w 1372688"/>
              <a:gd name="connsiteY46" fmla="*/ 0 h 509893"/>
              <a:gd name="connsiteX47" fmla="*/ 499999 w 1372688"/>
              <a:gd name="connsiteY47" fmla="*/ 0 h 509893"/>
              <a:gd name="connsiteX48" fmla="*/ 501937 w 1372688"/>
              <a:gd name="connsiteY48" fmla="*/ 0 h 509893"/>
              <a:gd name="connsiteX49" fmla="*/ 501947 w 1372688"/>
              <a:gd name="connsiteY49" fmla="*/ 0 h 509893"/>
              <a:gd name="connsiteX50" fmla="*/ 505883 w 1372688"/>
              <a:gd name="connsiteY50" fmla="*/ 0 h 509893"/>
              <a:gd name="connsiteX51" fmla="*/ 506595 w 1372688"/>
              <a:gd name="connsiteY51" fmla="*/ 0 h 509893"/>
              <a:gd name="connsiteX52" fmla="*/ 508535 w 1372688"/>
              <a:gd name="connsiteY52" fmla="*/ 0 h 509893"/>
              <a:gd name="connsiteX53" fmla="*/ 518612 w 1372688"/>
              <a:gd name="connsiteY53" fmla="*/ 0 h 509893"/>
              <a:gd name="connsiteX54" fmla="*/ 518954 w 1372688"/>
              <a:gd name="connsiteY54" fmla="*/ 0 h 509893"/>
              <a:gd name="connsiteX55" fmla="*/ 522548 w 1372688"/>
              <a:gd name="connsiteY55" fmla="*/ 0 h 509893"/>
              <a:gd name="connsiteX56" fmla="*/ 525198 w 1372688"/>
              <a:gd name="connsiteY56" fmla="*/ 0 h 509893"/>
              <a:gd name="connsiteX57" fmla="*/ 525208 w 1372688"/>
              <a:gd name="connsiteY57" fmla="*/ 0 h 509893"/>
              <a:gd name="connsiteX58" fmla="*/ 525550 w 1372688"/>
              <a:gd name="connsiteY58" fmla="*/ 0 h 509893"/>
              <a:gd name="connsiteX59" fmla="*/ 535949 w 1372688"/>
              <a:gd name="connsiteY59" fmla="*/ 0 h 509893"/>
              <a:gd name="connsiteX60" fmla="*/ 539884 w 1372688"/>
              <a:gd name="connsiteY60" fmla="*/ 0 h 509893"/>
              <a:gd name="connsiteX61" fmla="*/ 542214 w 1372688"/>
              <a:gd name="connsiteY61" fmla="*/ 0 h 509893"/>
              <a:gd name="connsiteX62" fmla="*/ 542536 w 1372688"/>
              <a:gd name="connsiteY62" fmla="*/ 0 h 509893"/>
              <a:gd name="connsiteX63" fmla="*/ 542547 w 1372688"/>
              <a:gd name="connsiteY63" fmla="*/ 0 h 509893"/>
              <a:gd name="connsiteX64" fmla="*/ 549472 w 1372688"/>
              <a:gd name="connsiteY64" fmla="*/ 0 h 509893"/>
              <a:gd name="connsiteX65" fmla="*/ 558498 w 1372688"/>
              <a:gd name="connsiteY65" fmla="*/ 0 h 509893"/>
              <a:gd name="connsiteX66" fmla="*/ 559210 w 1372688"/>
              <a:gd name="connsiteY66" fmla="*/ 0 h 509893"/>
              <a:gd name="connsiteX67" fmla="*/ 561148 w 1372688"/>
              <a:gd name="connsiteY67" fmla="*/ 0 h 509893"/>
              <a:gd name="connsiteX68" fmla="*/ 566137 w 1372688"/>
              <a:gd name="connsiteY68" fmla="*/ 0 h 509893"/>
              <a:gd name="connsiteX69" fmla="*/ 566478 w 1372688"/>
              <a:gd name="connsiteY69" fmla="*/ 0 h 509893"/>
              <a:gd name="connsiteX70" fmla="*/ 566488 w 1372688"/>
              <a:gd name="connsiteY70" fmla="*/ 0 h 509893"/>
              <a:gd name="connsiteX71" fmla="*/ 569139 w 1372688"/>
              <a:gd name="connsiteY71" fmla="*/ 0 h 509893"/>
              <a:gd name="connsiteX72" fmla="*/ 572733 w 1372688"/>
              <a:gd name="connsiteY72" fmla="*/ 0 h 509893"/>
              <a:gd name="connsiteX73" fmla="*/ 573074 w 1372688"/>
              <a:gd name="connsiteY73" fmla="*/ 0 h 509893"/>
              <a:gd name="connsiteX74" fmla="*/ 583153 w 1372688"/>
              <a:gd name="connsiteY74" fmla="*/ 0 h 509893"/>
              <a:gd name="connsiteX75" fmla="*/ 583473 w 1372688"/>
              <a:gd name="connsiteY75" fmla="*/ 0 h 509893"/>
              <a:gd name="connsiteX76" fmla="*/ 585090 w 1372688"/>
              <a:gd name="connsiteY76" fmla="*/ 0 h 509893"/>
              <a:gd name="connsiteX77" fmla="*/ 585803 w 1372688"/>
              <a:gd name="connsiteY77" fmla="*/ 0 h 509893"/>
              <a:gd name="connsiteX78" fmla="*/ 589738 w 1372688"/>
              <a:gd name="connsiteY78" fmla="*/ 0 h 509893"/>
              <a:gd name="connsiteX79" fmla="*/ 589749 w 1372688"/>
              <a:gd name="connsiteY79" fmla="*/ 0 h 509893"/>
              <a:gd name="connsiteX80" fmla="*/ 590070 w 1372688"/>
              <a:gd name="connsiteY80" fmla="*/ 0 h 509893"/>
              <a:gd name="connsiteX81" fmla="*/ 591688 w 1372688"/>
              <a:gd name="connsiteY81" fmla="*/ 0 h 509893"/>
              <a:gd name="connsiteX82" fmla="*/ 592399 w 1372688"/>
              <a:gd name="connsiteY82" fmla="*/ 0 h 509893"/>
              <a:gd name="connsiteX83" fmla="*/ 602087 w 1372688"/>
              <a:gd name="connsiteY83" fmla="*/ 0 h 509893"/>
              <a:gd name="connsiteX84" fmla="*/ 606023 w 1372688"/>
              <a:gd name="connsiteY84" fmla="*/ 0 h 509893"/>
              <a:gd name="connsiteX85" fmla="*/ 606735 w 1372688"/>
              <a:gd name="connsiteY85" fmla="*/ 0 h 509893"/>
              <a:gd name="connsiteX86" fmla="*/ 608351 w 1372688"/>
              <a:gd name="connsiteY86" fmla="*/ 0 h 509893"/>
              <a:gd name="connsiteX87" fmla="*/ 608673 w 1372688"/>
              <a:gd name="connsiteY87" fmla="*/ 0 h 509893"/>
              <a:gd name="connsiteX88" fmla="*/ 608683 w 1372688"/>
              <a:gd name="connsiteY88" fmla="*/ 0 h 509893"/>
              <a:gd name="connsiteX89" fmla="*/ 614012 w 1372688"/>
              <a:gd name="connsiteY89" fmla="*/ 0 h 509893"/>
              <a:gd name="connsiteX90" fmla="*/ 616663 w 1372688"/>
              <a:gd name="connsiteY90" fmla="*/ 0 h 509893"/>
              <a:gd name="connsiteX91" fmla="*/ 625348 w 1372688"/>
              <a:gd name="connsiteY91" fmla="*/ 0 h 509893"/>
              <a:gd name="connsiteX92" fmla="*/ 625690 w 1372688"/>
              <a:gd name="connsiteY92" fmla="*/ 0 h 509893"/>
              <a:gd name="connsiteX93" fmla="*/ 630677 w 1372688"/>
              <a:gd name="connsiteY93" fmla="*/ 0 h 509893"/>
              <a:gd name="connsiteX94" fmla="*/ 632615 w 1372688"/>
              <a:gd name="connsiteY94" fmla="*/ 0 h 509893"/>
              <a:gd name="connsiteX95" fmla="*/ 632625 w 1372688"/>
              <a:gd name="connsiteY95" fmla="*/ 0 h 509893"/>
              <a:gd name="connsiteX96" fmla="*/ 633327 w 1372688"/>
              <a:gd name="connsiteY96" fmla="*/ 0 h 509893"/>
              <a:gd name="connsiteX97" fmla="*/ 633338 w 1372688"/>
              <a:gd name="connsiteY97" fmla="*/ 0 h 509893"/>
              <a:gd name="connsiteX98" fmla="*/ 635276 w 1372688"/>
              <a:gd name="connsiteY98" fmla="*/ 0 h 509893"/>
              <a:gd name="connsiteX99" fmla="*/ 637273 w 1372688"/>
              <a:gd name="connsiteY99" fmla="*/ 0 h 509893"/>
              <a:gd name="connsiteX100" fmla="*/ 639213 w 1372688"/>
              <a:gd name="connsiteY100" fmla="*/ 0 h 509893"/>
              <a:gd name="connsiteX101" fmla="*/ 639923 w 1372688"/>
              <a:gd name="connsiteY101" fmla="*/ 0 h 509893"/>
              <a:gd name="connsiteX102" fmla="*/ 649290 w 1372688"/>
              <a:gd name="connsiteY102" fmla="*/ 0 h 509893"/>
              <a:gd name="connsiteX103" fmla="*/ 649612 w 1372688"/>
              <a:gd name="connsiteY103" fmla="*/ 0 h 509893"/>
              <a:gd name="connsiteX104" fmla="*/ 651940 w 1372688"/>
              <a:gd name="connsiteY104" fmla="*/ 0 h 509893"/>
              <a:gd name="connsiteX105" fmla="*/ 655876 w 1372688"/>
              <a:gd name="connsiteY105" fmla="*/ 0 h 509893"/>
              <a:gd name="connsiteX106" fmla="*/ 655886 w 1372688"/>
              <a:gd name="connsiteY106" fmla="*/ 0 h 509893"/>
              <a:gd name="connsiteX107" fmla="*/ 656208 w 1372688"/>
              <a:gd name="connsiteY107" fmla="*/ 0 h 509893"/>
              <a:gd name="connsiteX108" fmla="*/ 658537 w 1372688"/>
              <a:gd name="connsiteY108" fmla="*/ 0 h 509893"/>
              <a:gd name="connsiteX109" fmla="*/ 666627 w 1372688"/>
              <a:gd name="connsiteY109" fmla="*/ 0 h 509893"/>
              <a:gd name="connsiteX110" fmla="*/ 669278 w 1372688"/>
              <a:gd name="connsiteY110" fmla="*/ 0 h 509893"/>
              <a:gd name="connsiteX111" fmla="*/ 672873 w 1372688"/>
              <a:gd name="connsiteY111" fmla="*/ 0 h 509893"/>
              <a:gd name="connsiteX112" fmla="*/ 673214 w 1372688"/>
              <a:gd name="connsiteY112" fmla="*/ 0 h 509893"/>
              <a:gd name="connsiteX113" fmla="*/ 673225 w 1372688"/>
              <a:gd name="connsiteY113" fmla="*/ 0 h 509893"/>
              <a:gd name="connsiteX114" fmla="*/ 675875 w 1372688"/>
              <a:gd name="connsiteY114" fmla="*/ 0 h 509893"/>
              <a:gd name="connsiteX115" fmla="*/ 680150 w 1372688"/>
              <a:gd name="connsiteY115" fmla="*/ 0 h 509893"/>
              <a:gd name="connsiteX116" fmla="*/ 680862 w 1372688"/>
              <a:gd name="connsiteY116" fmla="*/ 0 h 509893"/>
              <a:gd name="connsiteX117" fmla="*/ 682801 w 1372688"/>
              <a:gd name="connsiteY117" fmla="*/ 0 h 509893"/>
              <a:gd name="connsiteX118" fmla="*/ 689888 w 1372688"/>
              <a:gd name="connsiteY118" fmla="*/ 0 h 509893"/>
              <a:gd name="connsiteX119" fmla="*/ 691826 w 1372688"/>
              <a:gd name="connsiteY119" fmla="*/ 0 h 509893"/>
              <a:gd name="connsiteX120" fmla="*/ 692539 w 1372688"/>
              <a:gd name="connsiteY120" fmla="*/ 0 h 509893"/>
              <a:gd name="connsiteX121" fmla="*/ 696815 w 1372688"/>
              <a:gd name="connsiteY121" fmla="*/ 0 h 509893"/>
              <a:gd name="connsiteX122" fmla="*/ 699465 w 1372688"/>
              <a:gd name="connsiteY122" fmla="*/ 0 h 509893"/>
              <a:gd name="connsiteX123" fmla="*/ 699475 w 1372688"/>
              <a:gd name="connsiteY123" fmla="*/ 0 h 509893"/>
              <a:gd name="connsiteX124" fmla="*/ 699817 w 1372688"/>
              <a:gd name="connsiteY124" fmla="*/ 0 h 509893"/>
              <a:gd name="connsiteX125" fmla="*/ 703411 w 1372688"/>
              <a:gd name="connsiteY125" fmla="*/ 0 h 509893"/>
              <a:gd name="connsiteX126" fmla="*/ 706062 w 1372688"/>
              <a:gd name="connsiteY126" fmla="*/ 0 h 509893"/>
              <a:gd name="connsiteX127" fmla="*/ 714151 w 1372688"/>
              <a:gd name="connsiteY127" fmla="*/ 0 h 509893"/>
              <a:gd name="connsiteX128" fmla="*/ 716481 w 1372688"/>
              <a:gd name="connsiteY128" fmla="*/ 0 h 509893"/>
              <a:gd name="connsiteX129" fmla="*/ 716802 w 1372688"/>
              <a:gd name="connsiteY129" fmla="*/ 0 h 509893"/>
              <a:gd name="connsiteX130" fmla="*/ 716813 w 1372688"/>
              <a:gd name="connsiteY130" fmla="*/ 0 h 509893"/>
              <a:gd name="connsiteX131" fmla="*/ 720748 w 1372688"/>
              <a:gd name="connsiteY131" fmla="*/ 0 h 509893"/>
              <a:gd name="connsiteX132" fmla="*/ 723077 w 1372688"/>
              <a:gd name="connsiteY132" fmla="*/ 0 h 509893"/>
              <a:gd name="connsiteX133" fmla="*/ 723399 w 1372688"/>
              <a:gd name="connsiteY133" fmla="*/ 0 h 509893"/>
              <a:gd name="connsiteX134" fmla="*/ 732765 w 1372688"/>
              <a:gd name="connsiteY134" fmla="*/ 0 h 509893"/>
              <a:gd name="connsiteX135" fmla="*/ 733477 w 1372688"/>
              <a:gd name="connsiteY135" fmla="*/ 0 h 509893"/>
              <a:gd name="connsiteX136" fmla="*/ 735415 w 1372688"/>
              <a:gd name="connsiteY136" fmla="*/ 0 h 509893"/>
              <a:gd name="connsiteX137" fmla="*/ 737413 w 1372688"/>
              <a:gd name="connsiteY137" fmla="*/ 0 h 509893"/>
              <a:gd name="connsiteX138" fmla="*/ 739351 w 1372688"/>
              <a:gd name="connsiteY138" fmla="*/ 0 h 509893"/>
              <a:gd name="connsiteX139" fmla="*/ 739361 w 1372688"/>
              <a:gd name="connsiteY139" fmla="*/ 0 h 509893"/>
              <a:gd name="connsiteX140" fmla="*/ 740063 w 1372688"/>
              <a:gd name="connsiteY140" fmla="*/ 0 h 509893"/>
              <a:gd name="connsiteX141" fmla="*/ 740074 w 1372688"/>
              <a:gd name="connsiteY141" fmla="*/ 0 h 509893"/>
              <a:gd name="connsiteX142" fmla="*/ 742011 w 1372688"/>
              <a:gd name="connsiteY142" fmla="*/ 0 h 509893"/>
              <a:gd name="connsiteX143" fmla="*/ 747000 w 1372688"/>
              <a:gd name="connsiteY143" fmla="*/ 0 h 509893"/>
              <a:gd name="connsiteX144" fmla="*/ 747341 w 1372688"/>
              <a:gd name="connsiteY144" fmla="*/ 0 h 509893"/>
              <a:gd name="connsiteX145" fmla="*/ 756026 w 1372688"/>
              <a:gd name="connsiteY145" fmla="*/ 0 h 509893"/>
              <a:gd name="connsiteX146" fmla="*/ 758676 w 1372688"/>
              <a:gd name="connsiteY146" fmla="*/ 0 h 509893"/>
              <a:gd name="connsiteX147" fmla="*/ 764005 w 1372688"/>
              <a:gd name="connsiteY147" fmla="*/ 0 h 509893"/>
              <a:gd name="connsiteX148" fmla="*/ 764016 w 1372688"/>
              <a:gd name="connsiteY148" fmla="*/ 0 h 509893"/>
              <a:gd name="connsiteX149" fmla="*/ 764337 w 1372688"/>
              <a:gd name="connsiteY149" fmla="*/ 0 h 509893"/>
              <a:gd name="connsiteX150" fmla="*/ 765954 w 1372688"/>
              <a:gd name="connsiteY150" fmla="*/ 0 h 509893"/>
              <a:gd name="connsiteX151" fmla="*/ 766666 w 1372688"/>
              <a:gd name="connsiteY151" fmla="*/ 0 h 509893"/>
              <a:gd name="connsiteX152" fmla="*/ 770601 w 1372688"/>
              <a:gd name="connsiteY152" fmla="*/ 0 h 509893"/>
              <a:gd name="connsiteX153" fmla="*/ 780290 w 1372688"/>
              <a:gd name="connsiteY153" fmla="*/ 0 h 509893"/>
              <a:gd name="connsiteX154" fmla="*/ 781002 w 1372688"/>
              <a:gd name="connsiteY154" fmla="*/ 0 h 509893"/>
              <a:gd name="connsiteX155" fmla="*/ 782618 w 1372688"/>
              <a:gd name="connsiteY155" fmla="*/ 0 h 509893"/>
              <a:gd name="connsiteX156" fmla="*/ 782940 w 1372688"/>
              <a:gd name="connsiteY156" fmla="*/ 0 h 509893"/>
              <a:gd name="connsiteX157" fmla="*/ 782950 w 1372688"/>
              <a:gd name="connsiteY157" fmla="*/ 0 h 509893"/>
              <a:gd name="connsiteX158" fmla="*/ 786886 w 1372688"/>
              <a:gd name="connsiteY158" fmla="*/ 0 h 509893"/>
              <a:gd name="connsiteX159" fmla="*/ 787598 w 1372688"/>
              <a:gd name="connsiteY159" fmla="*/ 0 h 509893"/>
              <a:gd name="connsiteX160" fmla="*/ 789215 w 1372688"/>
              <a:gd name="connsiteY160" fmla="*/ 0 h 509893"/>
              <a:gd name="connsiteX161" fmla="*/ 789536 w 1372688"/>
              <a:gd name="connsiteY161" fmla="*/ 0 h 509893"/>
              <a:gd name="connsiteX162" fmla="*/ 799614 w 1372688"/>
              <a:gd name="connsiteY162" fmla="*/ 0 h 509893"/>
              <a:gd name="connsiteX163" fmla="*/ 799956 w 1372688"/>
              <a:gd name="connsiteY163" fmla="*/ 0 h 509893"/>
              <a:gd name="connsiteX164" fmla="*/ 803551 w 1372688"/>
              <a:gd name="connsiteY164" fmla="*/ 0 h 509893"/>
              <a:gd name="connsiteX165" fmla="*/ 806201 w 1372688"/>
              <a:gd name="connsiteY165" fmla="*/ 0 h 509893"/>
              <a:gd name="connsiteX166" fmla="*/ 806211 w 1372688"/>
              <a:gd name="connsiteY166" fmla="*/ 0 h 509893"/>
              <a:gd name="connsiteX167" fmla="*/ 806553 w 1372688"/>
              <a:gd name="connsiteY167" fmla="*/ 0 h 509893"/>
              <a:gd name="connsiteX168" fmla="*/ 811540 w 1372688"/>
              <a:gd name="connsiteY168" fmla="*/ 0 h 509893"/>
              <a:gd name="connsiteX169" fmla="*/ 813479 w 1372688"/>
              <a:gd name="connsiteY169" fmla="*/ 0 h 509893"/>
              <a:gd name="connsiteX170" fmla="*/ 814190 w 1372688"/>
              <a:gd name="connsiteY170" fmla="*/ 0 h 509893"/>
              <a:gd name="connsiteX171" fmla="*/ 823217 w 1372688"/>
              <a:gd name="connsiteY171" fmla="*/ 0 h 509893"/>
              <a:gd name="connsiteX172" fmla="*/ 830143 w 1372688"/>
              <a:gd name="connsiteY172" fmla="*/ 0 h 509893"/>
              <a:gd name="connsiteX173" fmla="*/ 830153 w 1372688"/>
              <a:gd name="connsiteY173" fmla="*/ 0 h 509893"/>
              <a:gd name="connsiteX174" fmla="*/ 830475 w 1372688"/>
              <a:gd name="connsiteY174" fmla="*/ 0 h 509893"/>
              <a:gd name="connsiteX175" fmla="*/ 832804 w 1372688"/>
              <a:gd name="connsiteY175" fmla="*/ 0 h 509893"/>
              <a:gd name="connsiteX176" fmla="*/ 836740 w 1372688"/>
              <a:gd name="connsiteY176" fmla="*/ 0 h 509893"/>
              <a:gd name="connsiteX177" fmla="*/ 847140 w 1372688"/>
              <a:gd name="connsiteY177" fmla="*/ 0 h 509893"/>
              <a:gd name="connsiteX178" fmla="*/ 847480 w 1372688"/>
              <a:gd name="connsiteY178" fmla="*/ 0 h 509893"/>
              <a:gd name="connsiteX179" fmla="*/ 847491 w 1372688"/>
              <a:gd name="connsiteY179" fmla="*/ 0 h 509893"/>
              <a:gd name="connsiteX180" fmla="*/ 850141 w 1372688"/>
              <a:gd name="connsiteY180" fmla="*/ 0 h 509893"/>
              <a:gd name="connsiteX181" fmla="*/ 853736 w 1372688"/>
              <a:gd name="connsiteY181" fmla="*/ 0 h 509893"/>
              <a:gd name="connsiteX182" fmla="*/ 854077 w 1372688"/>
              <a:gd name="connsiteY182" fmla="*/ 0 h 509893"/>
              <a:gd name="connsiteX183" fmla="*/ 864155 w 1372688"/>
              <a:gd name="connsiteY183" fmla="*/ 0 h 509893"/>
              <a:gd name="connsiteX184" fmla="*/ 866093 w 1372688"/>
              <a:gd name="connsiteY184" fmla="*/ 0 h 509893"/>
              <a:gd name="connsiteX185" fmla="*/ 866806 w 1372688"/>
              <a:gd name="connsiteY185" fmla="*/ 0 h 509893"/>
              <a:gd name="connsiteX186" fmla="*/ 870741 w 1372688"/>
              <a:gd name="connsiteY186" fmla="*/ 0 h 509893"/>
              <a:gd name="connsiteX187" fmla="*/ 870752 w 1372688"/>
              <a:gd name="connsiteY187" fmla="*/ 0 h 509893"/>
              <a:gd name="connsiteX188" fmla="*/ 872689 w 1372688"/>
              <a:gd name="connsiteY188" fmla="*/ 0 h 509893"/>
              <a:gd name="connsiteX189" fmla="*/ 873402 w 1372688"/>
              <a:gd name="connsiteY189" fmla="*/ 0 h 509893"/>
              <a:gd name="connsiteX190" fmla="*/ 877678 w 1372688"/>
              <a:gd name="connsiteY190" fmla="*/ 0 h 509893"/>
              <a:gd name="connsiteX191" fmla="*/ 880329 w 1372688"/>
              <a:gd name="connsiteY191" fmla="*/ 0 h 509893"/>
              <a:gd name="connsiteX192" fmla="*/ 889354 w 1372688"/>
              <a:gd name="connsiteY192" fmla="*/ 0 h 509893"/>
              <a:gd name="connsiteX193" fmla="*/ 895015 w 1372688"/>
              <a:gd name="connsiteY193" fmla="*/ 0 h 509893"/>
              <a:gd name="connsiteX194" fmla="*/ 897344 w 1372688"/>
              <a:gd name="connsiteY194" fmla="*/ 0 h 509893"/>
              <a:gd name="connsiteX195" fmla="*/ 897665 w 1372688"/>
              <a:gd name="connsiteY195" fmla="*/ 0 h 509893"/>
              <a:gd name="connsiteX196" fmla="*/ 911680 w 1372688"/>
              <a:gd name="connsiteY196" fmla="*/ 0 h 509893"/>
              <a:gd name="connsiteX197" fmla="*/ 913618 w 1372688"/>
              <a:gd name="connsiteY197" fmla="*/ 0 h 509893"/>
              <a:gd name="connsiteX198" fmla="*/ 913628 w 1372688"/>
              <a:gd name="connsiteY198" fmla="*/ 0 h 509893"/>
              <a:gd name="connsiteX199" fmla="*/ 914330 w 1372688"/>
              <a:gd name="connsiteY199" fmla="*/ 0 h 509893"/>
              <a:gd name="connsiteX200" fmla="*/ 914341 w 1372688"/>
              <a:gd name="connsiteY200" fmla="*/ 0 h 509893"/>
              <a:gd name="connsiteX201" fmla="*/ 916278 w 1372688"/>
              <a:gd name="connsiteY201" fmla="*/ 0 h 509893"/>
              <a:gd name="connsiteX202" fmla="*/ 918276 w 1372688"/>
              <a:gd name="connsiteY202" fmla="*/ 0 h 509893"/>
              <a:gd name="connsiteX203" fmla="*/ 920214 w 1372688"/>
              <a:gd name="connsiteY203" fmla="*/ 0 h 509893"/>
              <a:gd name="connsiteX204" fmla="*/ 920926 w 1372688"/>
              <a:gd name="connsiteY204" fmla="*/ 0 h 509893"/>
              <a:gd name="connsiteX205" fmla="*/ 930292 w 1372688"/>
              <a:gd name="connsiteY205" fmla="*/ 0 h 509893"/>
              <a:gd name="connsiteX206" fmla="*/ 932943 w 1372688"/>
              <a:gd name="connsiteY206" fmla="*/ 0 h 509893"/>
              <a:gd name="connsiteX207" fmla="*/ 936879 w 1372688"/>
              <a:gd name="connsiteY207" fmla="*/ 0 h 509893"/>
              <a:gd name="connsiteX208" fmla="*/ 936889 w 1372688"/>
              <a:gd name="connsiteY208" fmla="*/ 0 h 509893"/>
              <a:gd name="connsiteX209" fmla="*/ 939539 w 1372688"/>
              <a:gd name="connsiteY209" fmla="*/ 0 h 509893"/>
              <a:gd name="connsiteX210" fmla="*/ 944868 w 1372688"/>
              <a:gd name="connsiteY210" fmla="*/ 0 h 509893"/>
              <a:gd name="connsiteX211" fmla="*/ 961153 w 1372688"/>
              <a:gd name="connsiteY211" fmla="*/ 0 h 509893"/>
              <a:gd name="connsiteX212" fmla="*/ 961865 w 1372688"/>
              <a:gd name="connsiteY212" fmla="*/ 0 h 509893"/>
              <a:gd name="connsiteX213" fmla="*/ 963482 w 1372688"/>
              <a:gd name="connsiteY213" fmla="*/ 0 h 509893"/>
              <a:gd name="connsiteX214" fmla="*/ 963803 w 1372688"/>
              <a:gd name="connsiteY214" fmla="*/ 0 h 509893"/>
              <a:gd name="connsiteX215" fmla="*/ 977818 w 1372688"/>
              <a:gd name="connsiteY215" fmla="*/ 0 h 509893"/>
              <a:gd name="connsiteX216" fmla="*/ 980468 w 1372688"/>
              <a:gd name="connsiteY216" fmla="*/ 0 h 509893"/>
              <a:gd name="connsiteX217" fmla="*/ 980477 w 1372688"/>
              <a:gd name="connsiteY217" fmla="*/ 0 h 509893"/>
              <a:gd name="connsiteX218" fmla="*/ 980819 w 1372688"/>
              <a:gd name="connsiteY218" fmla="*/ 0 h 509893"/>
              <a:gd name="connsiteX219" fmla="*/ 984414 w 1372688"/>
              <a:gd name="connsiteY219" fmla="*/ 0 h 509893"/>
              <a:gd name="connsiteX220" fmla="*/ 987064 w 1372688"/>
              <a:gd name="connsiteY220" fmla="*/ 0 h 509893"/>
              <a:gd name="connsiteX221" fmla="*/ 997484 w 1372688"/>
              <a:gd name="connsiteY221" fmla="*/ 0 h 509893"/>
              <a:gd name="connsiteX222" fmla="*/ 1004080 w 1372688"/>
              <a:gd name="connsiteY222" fmla="*/ 0 h 509893"/>
              <a:gd name="connsiteX223" fmla="*/ 1011007 w 1372688"/>
              <a:gd name="connsiteY223" fmla="*/ 0 h 509893"/>
              <a:gd name="connsiteX224" fmla="*/ 1028343 w 1372688"/>
              <a:gd name="connsiteY224" fmla="*/ 0 h 509893"/>
              <a:gd name="connsiteX225" fmla="*/ 1045008 w 1372688"/>
              <a:gd name="connsiteY225" fmla="*/ 0 h 509893"/>
              <a:gd name="connsiteX226" fmla="*/ 1045019 w 1372688"/>
              <a:gd name="connsiteY226" fmla="*/ 0 h 509893"/>
              <a:gd name="connsiteX227" fmla="*/ 1046956 w 1372688"/>
              <a:gd name="connsiteY227" fmla="*/ 0 h 509893"/>
              <a:gd name="connsiteX228" fmla="*/ 1051604 w 1372688"/>
              <a:gd name="connsiteY228" fmla="*/ 0 h 509893"/>
              <a:gd name="connsiteX229" fmla="*/ 1063621 w 1372688"/>
              <a:gd name="connsiteY229" fmla="*/ 0 h 509893"/>
              <a:gd name="connsiteX230" fmla="*/ 1070217 w 1372688"/>
              <a:gd name="connsiteY230" fmla="*/ 0 h 509893"/>
              <a:gd name="connsiteX231" fmla="*/ 1092543 w 1372688"/>
              <a:gd name="connsiteY231" fmla="*/ 0 h 509893"/>
              <a:gd name="connsiteX232" fmla="*/ 1094481 w 1372688"/>
              <a:gd name="connsiteY232" fmla="*/ 0 h 509893"/>
              <a:gd name="connsiteX233" fmla="*/ 1111146 w 1372688"/>
              <a:gd name="connsiteY233" fmla="*/ 0 h 509893"/>
              <a:gd name="connsiteX234" fmla="*/ 1111155 w 1372688"/>
              <a:gd name="connsiteY234" fmla="*/ 0 h 509893"/>
              <a:gd name="connsiteX235" fmla="*/ 1117742 w 1372688"/>
              <a:gd name="connsiteY235" fmla="*/ 0 h 509893"/>
              <a:gd name="connsiteX236" fmla="*/ 1372688 w 1372688"/>
              <a:gd name="connsiteY236" fmla="*/ 254948 h 509893"/>
              <a:gd name="connsiteX237" fmla="*/ 1372687 w 1372688"/>
              <a:gd name="connsiteY237" fmla="*/ 254948 h 509893"/>
              <a:gd name="connsiteX238" fmla="*/ 1117742 w 1372688"/>
              <a:gd name="connsiteY238" fmla="*/ 509893 h 509893"/>
              <a:gd name="connsiteX239" fmla="*/ 1111158 w 1372688"/>
              <a:gd name="connsiteY239" fmla="*/ 509893 h 509893"/>
              <a:gd name="connsiteX240" fmla="*/ 1111154 w 1372688"/>
              <a:gd name="connsiteY240" fmla="*/ 509893 h 509893"/>
              <a:gd name="connsiteX241" fmla="*/ 1111145 w 1372688"/>
              <a:gd name="connsiteY241" fmla="*/ 509893 h 509893"/>
              <a:gd name="connsiteX242" fmla="*/ 1092543 w 1372688"/>
              <a:gd name="connsiteY242" fmla="*/ 509893 h 509893"/>
              <a:gd name="connsiteX243" fmla="*/ 1092542 w 1372688"/>
              <a:gd name="connsiteY243" fmla="*/ 509893 h 509893"/>
              <a:gd name="connsiteX244" fmla="*/ 1070219 w 1372688"/>
              <a:gd name="connsiteY244" fmla="*/ 509893 h 509893"/>
              <a:gd name="connsiteX245" fmla="*/ 1070217 w 1372688"/>
              <a:gd name="connsiteY245" fmla="*/ 509893 h 509893"/>
              <a:gd name="connsiteX246" fmla="*/ 1063623 w 1372688"/>
              <a:gd name="connsiteY246" fmla="*/ 509893 h 509893"/>
              <a:gd name="connsiteX247" fmla="*/ 1063620 w 1372688"/>
              <a:gd name="connsiteY247" fmla="*/ 509893 h 509893"/>
              <a:gd name="connsiteX248" fmla="*/ 1051604 w 1372688"/>
              <a:gd name="connsiteY248" fmla="*/ 509893 h 509893"/>
              <a:gd name="connsiteX249" fmla="*/ 1051603 w 1372688"/>
              <a:gd name="connsiteY249" fmla="*/ 509893 h 509893"/>
              <a:gd name="connsiteX250" fmla="*/ 1045020 w 1372688"/>
              <a:gd name="connsiteY250" fmla="*/ 509893 h 509893"/>
              <a:gd name="connsiteX251" fmla="*/ 1045018 w 1372688"/>
              <a:gd name="connsiteY251" fmla="*/ 509893 h 509893"/>
              <a:gd name="connsiteX252" fmla="*/ 1045008 w 1372688"/>
              <a:gd name="connsiteY252" fmla="*/ 509893 h 509893"/>
              <a:gd name="connsiteX253" fmla="*/ 1045007 w 1372688"/>
              <a:gd name="connsiteY253" fmla="*/ 509893 h 509893"/>
              <a:gd name="connsiteX254" fmla="*/ 1011006 w 1372688"/>
              <a:gd name="connsiteY254" fmla="*/ 509893 h 509893"/>
              <a:gd name="connsiteX255" fmla="*/ 1004082 w 1372688"/>
              <a:gd name="connsiteY255" fmla="*/ 509893 h 509893"/>
              <a:gd name="connsiteX256" fmla="*/ 1004079 w 1372688"/>
              <a:gd name="connsiteY256" fmla="*/ 509893 h 509893"/>
              <a:gd name="connsiteX257" fmla="*/ 997485 w 1372688"/>
              <a:gd name="connsiteY257" fmla="*/ 509893 h 509893"/>
              <a:gd name="connsiteX258" fmla="*/ 997483 w 1372688"/>
              <a:gd name="connsiteY258" fmla="*/ 509893 h 509893"/>
              <a:gd name="connsiteX259" fmla="*/ 987064 w 1372688"/>
              <a:gd name="connsiteY259" fmla="*/ 509893 h 509893"/>
              <a:gd name="connsiteX260" fmla="*/ 984414 w 1372688"/>
              <a:gd name="connsiteY260" fmla="*/ 509893 h 509893"/>
              <a:gd name="connsiteX261" fmla="*/ 984413 w 1372688"/>
              <a:gd name="connsiteY261" fmla="*/ 509893 h 509893"/>
              <a:gd name="connsiteX262" fmla="*/ 980480 w 1372688"/>
              <a:gd name="connsiteY262" fmla="*/ 509893 h 509893"/>
              <a:gd name="connsiteX263" fmla="*/ 980476 w 1372688"/>
              <a:gd name="connsiteY263" fmla="*/ 509893 h 509893"/>
              <a:gd name="connsiteX264" fmla="*/ 980467 w 1372688"/>
              <a:gd name="connsiteY264" fmla="*/ 509893 h 509893"/>
              <a:gd name="connsiteX265" fmla="*/ 977818 w 1372688"/>
              <a:gd name="connsiteY265" fmla="*/ 509893 h 509893"/>
              <a:gd name="connsiteX266" fmla="*/ 977816 w 1372688"/>
              <a:gd name="connsiteY266" fmla="*/ 509893 h 509893"/>
              <a:gd name="connsiteX267" fmla="*/ 963483 w 1372688"/>
              <a:gd name="connsiteY267" fmla="*/ 509893 h 509893"/>
              <a:gd name="connsiteX268" fmla="*/ 963481 w 1372688"/>
              <a:gd name="connsiteY268" fmla="*/ 509893 h 509893"/>
              <a:gd name="connsiteX269" fmla="*/ 961865 w 1372688"/>
              <a:gd name="connsiteY269" fmla="*/ 509893 h 509893"/>
              <a:gd name="connsiteX270" fmla="*/ 961864 w 1372688"/>
              <a:gd name="connsiteY270" fmla="*/ 509893 h 509893"/>
              <a:gd name="connsiteX271" fmla="*/ 944868 w 1372688"/>
              <a:gd name="connsiteY271" fmla="*/ 509893 h 509893"/>
              <a:gd name="connsiteX272" fmla="*/ 939541 w 1372688"/>
              <a:gd name="connsiteY272" fmla="*/ 509893 h 509893"/>
              <a:gd name="connsiteX273" fmla="*/ 939539 w 1372688"/>
              <a:gd name="connsiteY273" fmla="*/ 509893 h 509893"/>
              <a:gd name="connsiteX274" fmla="*/ 936891 w 1372688"/>
              <a:gd name="connsiteY274" fmla="*/ 509893 h 509893"/>
              <a:gd name="connsiteX275" fmla="*/ 936888 w 1372688"/>
              <a:gd name="connsiteY275" fmla="*/ 509893 h 509893"/>
              <a:gd name="connsiteX276" fmla="*/ 936878 w 1372688"/>
              <a:gd name="connsiteY276" fmla="*/ 509893 h 509893"/>
              <a:gd name="connsiteX277" fmla="*/ 932945 w 1372688"/>
              <a:gd name="connsiteY277" fmla="*/ 509893 h 509893"/>
              <a:gd name="connsiteX278" fmla="*/ 932942 w 1372688"/>
              <a:gd name="connsiteY278" fmla="*/ 509893 h 509893"/>
              <a:gd name="connsiteX279" fmla="*/ 930294 w 1372688"/>
              <a:gd name="connsiteY279" fmla="*/ 509893 h 509893"/>
              <a:gd name="connsiteX280" fmla="*/ 930291 w 1372688"/>
              <a:gd name="connsiteY280" fmla="*/ 509893 h 509893"/>
              <a:gd name="connsiteX281" fmla="*/ 920926 w 1372688"/>
              <a:gd name="connsiteY281" fmla="*/ 509893 h 509893"/>
              <a:gd name="connsiteX282" fmla="*/ 920925 w 1372688"/>
              <a:gd name="connsiteY282" fmla="*/ 509893 h 509893"/>
              <a:gd name="connsiteX283" fmla="*/ 918276 w 1372688"/>
              <a:gd name="connsiteY283" fmla="*/ 509893 h 509893"/>
              <a:gd name="connsiteX284" fmla="*/ 918275 w 1372688"/>
              <a:gd name="connsiteY284" fmla="*/ 509893 h 509893"/>
              <a:gd name="connsiteX285" fmla="*/ 914342 w 1372688"/>
              <a:gd name="connsiteY285" fmla="*/ 509893 h 509893"/>
              <a:gd name="connsiteX286" fmla="*/ 914340 w 1372688"/>
              <a:gd name="connsiteY286" fmla="*/ 509893 h 509893"/>
              <a:gd name="connsiteX287" fmla="*/ 914330 w 1372688"/>
              <a:gd name="connsiteY287" fmla="*/ 509893 h 509893"/>
              <a:gd name="connsiteX288" fmla="*/ 914329 w 1372688"/>
              <a:gd name="connsiteY288" fmla="*/ 509893 h 509893"/>
              <a:gd name="connsiteX289" fmla="*/ 911680 w 1372688"/>
              <a:gd name="connsiteY289" fmla="*/ 509893 h 509893"/>
              <a:gd name="connsiteX290" fmla="*/ 911679 w 1372688"/>
              <a:gd name="connsiteY290" fmla="*/ 509893 h 509893"/>
              <a:gd name="connsiteX291" fmla="*/ 897346 w 1372688"/>
              <a:gd name="connsiteY291" fmla="*/ 509893 h 509893"/>
              <a:gd name="connsiteX292" fmla="*/ 897344 w 1372688"/>
              <a:gd name="connsiteY292" fmla="*/ 509893 h 509893"/>
              <a:gd name="connsiteX293" fmla="*/ 889356 w 1372688"/>
              <a:gd name="connsiteY293" fmla="*/ 509893 h 509893"/>
              <a:gd name="connsiteX294" fmla="*/ 889353 w 1372688"/>
              <a:gd name="connsiteY294" fmla="*/ 509893 h 509893"/>
              <a:gd name="connsiteX295" fmla="*/ 880328 w 1372688"/>
              <a:gd name="connsiteY295" fmla="*/ 509893 h 509893"/>
              <a:gd name="connsiteX296" fmla="*/ 877678 w 1372688"/>
              <a:gd name="connsiteY296" fmla="*/ 509893 h 509893"/>
              <a:gd name="connsiteX297" fmla="*/ 873404 w 1372688"/>
              <a:gd name="connsiteY297" fmla="*/ 509893 h 509893"/>
              <a:gd name="connsiteX298" fmla="*/ 873401 w 1372688"/>
              <a:gd name="connsiteY298" fmla="*/ 509893 h 509893"/>
              <a:gd name="connsiteX299" fmla="*/ 870753 w 1372688"/>
              <a:gd name="connsiteY299" fmla="*/ 509893 h 509893"/>
              <a:gd name="connsiteX300" fmla="*/ 870751 w 1372688"/>
              <a:gd name="connsiteY300" fmla="*/ 509893 h 509893"/>
              <a:gd name="connsiteX301" fmla="*/ 870741 w 1372688"/>
              <a:gd name="connsiteY301" fmla="*/ 509893 h 509893"/>
              <a:gd name="connsiteX302" fmla="*/ 870740 w 1372688"/>
              <a:gd name="connsiteY302" fmla="*/ 509893 h 509893"/>
              <a:gd name="connsiteX303" fmla="*/ 866807 w 1372688"/>
              <a:gd name="connsiteY303" fmla="*/ 509893 h 509893"/>
              <a:gd name="connsiteX304" fmla="*/ 866805 w 1372688"/>
              <a:gd name="connsiteY304" fmla="*/ 509893 h 509893"/>
              <a:gd name="connsiteX305" fmla="*/ 864156 w 1372688"/>
              <a:gd name="connsiteY305" fmla="*/ 509893 h 509893"/>
              <a:gd name="connsiteX306" fmla="*/ 864155 w 1372688"/>
              <a:gd name="connsiteY306" fmla="*/ 509893 h 509893"/>
              <a:gd name="connsiteX307" fmla="*/ 853736 w 1372688"/>
              <a:gd name="connsiteY307" fmla="*/ 509893 h 509893"/>
              <a:gd name="connsiteX308" fmla="*/ 853735 w 1372688"/>
              <a:gd name="connsiteY308" fmla="*/ 509893 h 509893"/>
              <a:gd name="connsiteX309" fmla="*/ 847140 w 1372688"/>
              <a:gd name="connsiteY309" fmla="*/ 509893 h 509893"/>
              <a:gd name="connsiteX310" fmla="*/ 847138 w 1372688"/>
              <a:gd name="connsiteY310" fmla="*/ 509893 h 509893"/>
              <a:gd name="connsiteX311" fmla="*/ 836739 w 1372688"/>
              <a:gd name="connsiteY311" fmla="*/ 509893 h 509893"/>
              <a:gd name="connsiteX312" fmla="*/ 832805 w 1372688"/>
              <a:gd name="connsiteY312" fmla="*/ 509893 h 509893"/>
              <a:gd name="connsiteX313" fmla="*/ 832803 w 1372688"/>
              <a:gd name="connsiteY313" fmla="*/ 509893 h 509893"/>
              <a:gd name="connsiteX314" fmla="*/ 830155 w 1372688"/>
              <a:gd name="connsiteY314" fmla="*/ 509893 h 509893"/>
              <a:gd name="connsiteX315" fmla="*/ 830153 w 1372688"/>
              <a:gd name="connsiteY315" fmla="*/ 509893 h 509893"/>
              <a:gd name="connsiteX316" fmla="*/ 830142 w 1372688"/>
              <a:gd name="connsiteY316" fmla="*/ 509893 h 509893"/>
              <a:gd name="connsiteX317" fmla="*/ 823218 w 1372688"/>
              <a:gd name="connsiteY317" fmla="*/ 509893 h 509893"/>
              <a:gd name="connsiteX318" fmla="*/ 823216 w 1372688"/>
              <a:gd name="connsiteY318" fmla="*/ 509893 h 509893"/>
              <a:gd name="connsiteX319" fmla="*/ 814190 w 1372688"/>
              <a:gd name="connsiteY319" fmla="*/ 509893 h 509893"/>
              <a:gd name="connsiteX320" fmla="*/ 811540 w 1372688"/>
              <a:gd name="connsiteY320" fmla="*/ 509893 h 509893"/>
              <a:gd name="connsiteX321" fmla="*/ 811539 w 1372688"/>
              <a:gd name="connsiteY321" fmla="*/ 509893 h 509893"/>
              <a:gd name="connsiteX322" fmla="*/ 806213 w 1372688"/>
              <a:gd name="connsiteY322" fmla="*/ 509893 h 509893"/>
              <a:gd name="connsiteX323" fmla="*/ 806210 w 1372688"/>
              <a:gd name="connsiteY323" fmla="*/ 509893 h 509893"/>
              <a:gd name="connsiteX324" fmla="*/ 806200 w 1372688"/>
              <a:gd name="connsiteY324" fmla="*/ 509893 h 509893"/>
              <a:gd name="connsiteX325" fmla="*/ 803551 w 1372688"/>
              <a:gd name="connsiteY325" fmla="*/ 509893 h 509893"/>
              <a:gd name="connsiteX326" fmla="*/ 803550 w 1372688"/>
              <a:gd name="connsiteY326" fmla="*/ 509893 h 509893"/>
              <a:gd name="connsiteX327" fmla="*/ 799616 w 1372688"/>
              <a:gd name="connsiteY327" fmla="*/ 509893 h 509893"/>
              <a:gd name="connsiteX328" fmla="*/ 799613 w 1372688"/>
              <a:gd name="connsiteY328" fmla="*/ 509893 h 509893"/>
              <a:gd name="connsiteX329" fmla="*/ 789216 w 1372688"/>
              <a:gd name="connsiteY329" fmla="*/ 509893 h 509893"/>
              <a:gd name="connsiteX330" fmla="*/ 789214 w 1372688"/>
              <a:gd name="connsiteY330" fmla="*/ 509893 h 509893"/>
              <a:gd name="connsiteX331" fmla="*/ 787598 w 1372688"/>
              <a:gd name="connsiteY331" fmla="*/ 509893 h 509893"/>
              <a:gd name="connsiteX332" fmla="*/ 787597 w 1372688"/>
              <a:gd name="connsiteY332" fmla="*/ 509893 h 509893"/>
              <a:gd name="connsiteX333" fmla="*/ 782620 w 1372688"/>
              <a:gd name="connsiteY333" fmla="*/ 509893 h 509893"/>
              <a:gd name="connsiteX334" fmla="*/ 782617 w 1372688"/>
              <a:gd name="connsiteY334" fmla="*/ 509893 h 509893"/>
              <a:gd name="connsiteX335" fmla="*/ 781002 w 1372688"/>
              <a:gd name="connsiteY335" fmla="*/ 509893 h 509893"/>
              <a:gd name="connsiteX336" fmla="*/ 781001 w 1372688"/>
              <a:gd name="connsiteY336" fmla="*/ 509893 h 509893"/>
              <a:gd name="connsiteX337" fmla="*/ 770601 w 1372688"/>
              <a:gd name="connsiteY337" fmla="*/ 509893 h 509893"/>
              <a:gd name="connsiteX338" fmla="*/ 766668 w 1372688"/>
              <a:gd name="connsiteY338" fmla="*/ 509893 h 509893"/>
              <a:gd name="connsiteX339" fmla="*/ 766666 w 1372688"/>
              <a:gd name="connsiteY339" fmla="*/ 509893 h 509893"/>
              <a:gd name="connsiteX340" fmla="*/ 764017 w 1372688"/>
              <a:gd name="connsiteY340" fmla="*/ 509893 h 509893"/>
              <a:gd name="connsiteX341" fmla="*/ 764015 w 1372688"/>
              <a:gd name="connsiteY341" fmla="*/ 509893 h 509893"/>
              <a:gd name="connsiteX342" fmla="*/ 764005 w 1372688"/>
              <a:gd name="connsiteY342" fmla="*/ 509893 h 509893"/>
              <a:gd name="connsiteX343" fmla="*/ 764004 w 1372688"/>
              <a:gd name="connsiteY343" fmla="*/ 509893 h 509893"/>
              <a:gd name="connsiteX344" fmla="*/ 758678 w 1372688"/>
              <a:gd name="connsiteY344" fmla="*/ 509893 h 509893"/>
              <a:gd name="connsiteX345" fmla="*/ 758675 w 1372688"/>
              <a:gd name="connsiteY345" fmla="*/ 509893 h 509893"/>
              <a:gd name="connsiteX346" fmla="*/ 756027 w 1372688"/>
              <a:gd name="connsiteY346" fmla="*/ 509893 h 509893"/>
              <a:gd name="connsiteX347" fmla="*/ 756025 w 1372688"/>
              <a:gd name="connsiteY347" fmla="*/ 509893 h 509893"/>
              <a:gd name="connsiteX348" fmla="*/ 747000 w 1372688"/>
              <a:gd name="connsiteY348" fmla="*/ 509893 h 509893"/>
              <a:gd name="connsiteX349" fmla="*/ 740075 w 1372688"/>
              <a:gd name="connsiteY349" fmla="*/ 509893 h 509893"/>
              <a:gd name="connsiteX350" fmla="*/ 740073 w 1372688"/>
              <a:gd name="connsiteY350" fmla="*/ 509893 h 509893"/>
              <a:gd name="connsiteX351" fmla="*/ 740063 w 1372688"/>
              <a:gd name="connsiteY351" fmla="*/ 509893 h 509893"/>
              <a:gd name="connsiteX352" fmla="*/ 740062 w 1372688"/>
              <a:gd name="connsiteY352" fmla="*/ 509893 h 509893"/>
              <a:gd name="connsiteX353" fmla="*/ 737413 w 1372688"/>
              <a:gd name="connsiteY353" fmla="*/ 509893 h 509893"/>
              <a:gd name="connsiteX354" fmla="*/ 737412 w 1372688"/>
              <a:gd name="connsiteY354" fmla="*/ 509893 h 509893"/>
              <a:gd name="connsiteX355" fmla="*/ 733478 w 1372688"/>
              <a:gd name="connsiteY355" fmla="*/ 509893 h 509893"/>
              <a:gd name="connsiteX356" fmla="*/ 733477 w 1372688"/>
              <a:gd name="connsiteY356" fmla="*/ 509893 h 509893"/>
              <a:gd name="connsiteX357" fmla="*/ 723080 w 1372688"/>
              <a:gd name="connsiteY357" fmla="*/ 509893 h 509893"/>
              <a:gd name="connsiteX358" fmla="*/ 723077 w 1372688"/>
              <a:gd name="connsiteY358" fmla="*/ 509893 h 509893"/>
              <a:gd name="connsiteX359" fmla="*/ 716483 w 1372688"/>
              <a:gd name="connsiteY359" fmla="*/ 509893 h 509893"/>
              <a:gd name="connsiteX360" fmla="*/ 716480 w 1372688"/>
              <a:gd name="connsiteY360" fmla="*/ 509893 h 509893"/>
              <a:gd name="connsiteX361" fmla="*/ 706061 w 1372688"/>
              <a:gd name="connsiteY361" fmla="*/ 509893 h 509893"/>
              <a:gd name="connsiteX362" fmla="*/ 703411 w 1372688"/>
              <a:gd name="connsiteY362" fmla="*/ 509893 h 509893"/>
              <a:gd name="connsiteX363" fmla="*/ 699477 w 1372688"/>
              <a:gd name="connsiteY363" fmla="*/ 509893 h 509893"/>
              <a:gd name="connsiteX364" fmla="*/ 699475 w 1372688"/>
              <a:gd name="connsiteY364" fmla="*/ 509893 h 509893"/>
              <a:gd name="connsiteX365" fmla="*/ 699464 w 1372688"/>
              <a:gd name="connsiteY365" fmla="*/ 509893 h 509893"/>
              <a:gd name="connsiteX366" fmla="*/ 696815 w 1372688"/>
              <a:gd name="connsiteY366" fmla="*/ 509893 h 509893"/>
              <a:gd name="connsiteX367" fmla="*/ 696814 w 1372688"/>
              <a:gd name="connsiteY367" fmla="*/ 509893 h 509893"/>
              <a:gd name="connsiteX368" fmla="*/ 692540 w 1372688"/>
              <a:gd name="connsiteY368" fmla="*/ 509893 h 509893"/>
              <a:gd name="connsiteX369" fmla="*/ 692538 w 1372688"/>
              <a:gd name="connsiteY369" fmla="*/ 509893 h 509893"/>
              <a:gd name="connsiteX370" fmla="*/ 689889 w 1372688"/>
              <a:gd name="connsiteY370" fmla="*/ 509893 h 509893"/>
              <a:gd name="connsiteX371" fmla="*/ 689888 w 1372688"/>
              <a:gd name="connsiteY371" fmla="*/ 509893 h 509893"/>
              <a:gd name="connsiteX372" fmla="*/ 680862 w 1372688"/>
              <a:gd name="connsiteY372" fmla="*/ 509893 h 509893"/>
              <a:gd name="connsiteX373" fmla="*/ 680861 w 1372688"/>
              <a:gd name="connsiteY373" fmla="*/ 509893 h 509893"/>
              <a:gd name="connsiteX374" fmla="*/ 672873 w 1372688"/>
              <a:gd name="connsiteY374" fmla="*/ 509893 h 509893"/>
              <a:gd name="connsiteX375" fmla="*/ 672872 w 1372688"/>
              <a:gd name="connsiteY375" fmla="*/ 509893 h 509893"/>
              <a:gd name="connsiteX376" fmla="*/ 658538 w 1372688"/>
              <a:gd name="connsiteY376" fmla="*/ 509893 h 509893"/>
              <a:gd name="connsiteX377" fmla="*/ 658536 w 1372688"/>
              <a:gd name="connsiteY377" fmla="*/ 509893 h 509893"/>
              <a:gd name="connsiteX378" fmla="*/ 655888 w 1372688"/>
              <a:gd name="connsiteY378" fmla="*/ 509893 h 509893"/>
              <a:gd name="connsiteX379" fmla="*/ 655886 w 1372688"/>
              <a:gd name="connsiteY379" fmla="*/ 509893 h 509893"/>
              <a:gd name="connsiteX380" fmla="*/ 655875 w 1372688"/>
              <a:gd name="connsiteY380" fmla="*/ 509893 h 509893"/>
              <a:gd name="connsiteX381" fmla="*/ 651942 w 1372688"/>
              <a:gd name="connsiteY381" fmla="*/ 509893 h 509893"/>
              <a:gd name="connsiteX382" fmla="*/ 651939 w 1372688"/>
              <a:gd name="connsiteY382" fmla="*/ 509893 h 509893"/>
              <a:gd name="connsiteX383" fmla="*/ 649292 w 1372688"/>
              <a:gd name="connsiteY383" fmla="*/ 509893 h 509893"/>
              <a:gd name="connsiteX384" fmla="*/ 649289 w 1372688"/>
              <a:gd name="connsiteY384" fmla="*/ 509893 h 509893"/>
              <a:gd name="connsiteX385" fmla="*/ 639923 w 1372688"/>
              <a:gd name="connsiteY385" fmla="*/ 509893 h 509893"/>
              <a:gd name="connsiteX386" fmla="*/ 637273 w 1372688"/>
              <a:gd name="connsiteY386" fmla="*/ 509893 h 509893"/>
              <a:gd name="connsiteX387" fmla="*/ 637272 w 1372688"/>
              <a:gd name="connsiteY387" fmla="*/ 509893 h 509893"/>
              <a:gd name="connsiteX388" fmla="*/ 633339 w 1372688"/>
              <a:gd name="connsiteY388" fmla="*/ 509893 h 509893"/>
              <a:gd name="connsiteX389" fmla="*/ 633337 w 1372688"/>
              <a:gd name="connsiteY389" fmla="*/ 509893 h 509893"/>
              <a:gd name="connsiteX390" fmla="*/ 633327 w 1372688"/>
              <a:gd name="connsiteY390" fmla="*/ 509893 h 509893"/>
              <a:gd name="connsiteX391" fmla="*/ 633326 w 1372688"/>
              <a:gd name="connsiteY391" fmla="*/ 509893 h 509893"/>
              <a:gd name="connsiteX392" fmla="*/ 630677 w 1372688"/>
              <a:gd name="connsiteY392" fmla="*/ 509893 h 509893"/>
              <a:gd name="connsiteX393" fmla="*/ 630676 w 1372688"/>
              <a:gd name="connsiteY393" fmla="*/ 509893 h 509893"/>
              <a:gd name="connsiteX394" fmla="*/ 625349 w 1372688"/>
              <a:gd name="connsiteY394" fmla="*/ 509893 h 509893"/>
              <a:gd name="connsiteX395" fmla="*/ 625347 w 1372688"/>
              <a:gd name="connsiteY395" fmla="*/ 509893 h 509893"/>
              <a:gd name="connsiteX396" fmla="*/ 608353 w 1372688"/>
              <a:gd name="connsiteY396" fmla="*/ 509893 h 509893"/>
              <a:gd name="connsiteX397" fmla="*/ 608350 w 1372688"/>
              <a:gd name="connsiteY397" fmla="*/ 509893 h 509893"/>
              <a:gd name="connsiteX398" fmla="*/ 606735 w 1372688"/>
              <a:gd name="connsiteY398" fmla="*/ 509893 h 509893"/>
              <a:gd name="connsiteX399" fmla="*/ 606734 w 1372688"/>
              <a:gd name="connsiteY399" fmla="*/ 509893 h 509893"/>
              <a:gd name="connsiteX400" fmla="*/ 592402 w 1372688"/>
              <a:gd name="connsiteY400" fmla="*/ 509893 h 509893"/>
              <a:gd name="connsiteX401" fmla="*/ 592399 w 1372688"/>
              <a:gd name="connsiteY401" fmla="*/ 509893 h 509893"/>
              <a:gd name="connsiteX402" fmla="*/ 589750 w 1372688"/>
              <a:gd name="connsiteY402" fmla="*/ 509893 h 509893"/>
              <a:gd name="connsiteX403" fmla="*/ 589748 w 1372688"/>
              <a:gd name="connsiteY403" fmla="*/ 509893 h 509893"/>
              <a:gd name="connsiteX404" fmla="*/ 589738 w 1372688"/>
              <a:gd name="connsiteY404" fmla="*/ 509893 h 509893"/>
              <a:gd name="connsiteX405" fmla="*/ 589737 w 1372688"/>
              <a:gd name="connsiteY405" fmla="*/ 509893 h 509893"/>
              <a:gd name="connsiteX406" fmla="*/ 585805 w 1372688"/>
              <a:gd name="connsiteY406" fmla="*/ 509893 h 509893"/>
              <a:gd name="connsiteX407" fmla="*/ 585802 w 1372688"/>
              <a:gd name="connsiteY407" fmla="*/ 509893 h 509893"/>
              <a:gd name="connsiteX408" fmla="*/ 583154 w 1372688"/>
              <a:gd name="connsiteY408" fmla="*/ 509893 h 509893"/>
              <a:gd name="connsiteX409" fmla="*/ 583152 w 1372688"/>
              <a:gd name="connsiteY409" fmla="*/ 509893 h 509893"/>
              <a:gd name="connsiteX410" fmla="*/ 572733 w 1372688"/>
              <a:gd name="connsiteY410" fmla="*/ 509893 h 509893"/>
              <a:gd name="connsiteX411" fmla="*/ 566137 w 1372688"/>
              <a:gd name="connsiteY411" fmla="*/ 509893 h 509893"/>
              <a:gd name="connsiteX412" fmla="*/ 566136 w 1372688"/>
              <a:gd name="connsiteY412" fmla="*/ 509893 h 509893"/>
              <a:gd name="connsiteX413" fmla="*/ 559211 w 1372688"/>
              <a:gd name="connsiteY413" fmla="*/ 509893 h 509893"/>
              <a:gd name="connsiteX414" fmla="*/ 559210 w 1372688"/>
              <a:gd name="connsiteY414" fmla="*/ 509893 h 509893"/>
              <a:gd name="connsiteX415" fmla="*/ 525210 w 1372688"/>
              <a:gd name="connsiteY415" fmla="*/ 509893 h 509893"/>
              <a:gd name="connsiteX416" fmla="*/ 525208 w 1372688"/>
              <a:gd name="connsiteY416" fmla="*/ 509893 h 509893"/>
              <a:gd name="connsiteX417" fmla="*/ 525197 w 1372688"/>
              <a:gd name="connsiteY417" fmla="*/ 509893 h 509893"/>
              <a:gd name="connsiteX418" fmla="*/ 518614 w 1372688"/>
              <a:gd name="connsiteY418" fmla="*/ 509893 h 509893"/>
              <a:gd name="connsiteX419" fmla="*/ 518611 w 1372688"/>
              <a:gd name="connsiteY419" fmla="*/ 509893 h 509893"/>
              <a:gd name="connsiteX420" fmla="*/ 506595 w 1372688"/>
              <a:gd name="connsiteY420" fmla="*/ 509893 h 509893"/>
              <a:gd name="connsiteX421" fmla="*/ 506594 w 1372688"/>
              <a:gd name="connsiteY421" fmla="*/ 509893 h 509893"/>
              <a:gd name="connsiteX422" fmla="*/ 499999 w 1372688"/>
              <a:gd name="connsiteY422" fmla="*/ 509893 h 509893"/>
              <a:gd name="connsiteX423" fmla="*/ 499998 w 1372688"/>
              <a:gd name="connsiteY423" fmla="*/ 509893 h 509893"/>
              <a:gd name="connsiteX424" fmla="*/ 477675 w 1372688"/>
              <a:gd name="connsiteY424" fmla="*/ 509893 h 509893"/>
              <a:gd name="connsiteX425" fmla="*/ 477672 w 1372688"/>
              <a:gd name="connsiteY425" fmla="*/ 509893 h 509893"/>
              <a:gd name="connsiteX426" fmla="*/ 459072 w 1372688"/>
              <a:gd name="connsiteY426" fmla="*/ 509893 h 509893"/>
              <a:gd name="connsiteX427" fmla="*/ 459070 w 1372688"/>
              <a:gd name="connsiteY427" fmla="*/ 509893 h 509893"/>
              <a:gd name="connsiteX428" fmla="*/ 459060 w 1372688"/>
              <a:gd name="connsiteY428" fmla="*/ 509893 h 509893"/>
              <a:gd name="connsiteX429" fmla="*/ 459059 w 1372688"/>
              <a:gd name="connsiteY429" fmla="*/ 509893 h 509893"/>
              <a:gd name="connsiteX430" fmla="*/ 452476 w 1372688"/>
              <a:gd name="connsiteY430" fmla="*/ 509893 h 509893"/>
              <a:gd name="connsiteX431" fmla="*/ 452474 w 1372688"/>
              <a:gd name="connsiteY431" fmla="*/ 509893 h 509893"/>
              <a:gd name="connsiteX432" fmla="*/ 254948 w 1372688"/>
              <a:gd name="connsiteY432" fmla="*/ 509892 h 509893"/>
              <a:gd name="connsiteX433" fmla="*/ 5179 w 1372688"/>
              <a:gd name="connsiteY433" fmla="*/ 306327 h 509893"/>
              <a:gd name="connsiteX434" fmla="*/ 0 w 1372688"/>
              <a:gd name="connsiteY434" fmla="*/ 254948 h 509893"/>
              <a:gd name="connsiteX435" fmla="*/ 5179 w 1372688"/>
              <a:gd name="connsiteY435" fmla="*/ 203567 h 509893"/>
              <a:gd name="connsiteX436" fmla="*/ 254948 w 1372688"/>
              <a:gd name="connsiteY436" fmla="*/ 0 h 509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372688" h="509893">
                <a:moveTo>
                  <a:pt x="254948" y="0"/>
                </a:moveTo>
                <a:lnTo>
                  <a:pt x="261533" y="0"/>
                </a:lnTo>
                <a:lnTo>
                  <a:pt x="261544" y="0"/>
                </a:lnTo>
                <a:lnTo>
                  <a:pt x="278208" y="0"/>
                </a:lnTo>
                <a:lnTo>
                  <a:pt x="280146" y="0"/>
                </a:lnTo>
                <a:lnTo>
                  <a:pt x="302471" y="0"/>
                </a:lnTo>
                <a:lnTo>
                  <a:pt x="309068" y="0"/>
                </a:lnTo>
                <a:lnTo>
                  <a:pt x="321084" y="0"/>
                </a:lnTo>
                <a:lnTo>
                  <a:pt x="325732" y="0"/>
                </a:lnTo>
                <a:lnTo>
                  <a:pt x="327671" y="0"/>
                </a:lnTo>
                <a:lnTo>
                  <a:pt x="327680" y="0"/>
                </a:lnTo>
                <a:lnTo>
                  <a:pt x="344345" y="0"/>
                </a:lnTo>
                <a:lnTo>
                  <a:pt x="361682" y="0"/>
                </a:lnTo>
                <a:lnTo>
                  <a:pt x="368609" y="0"/>
                </a:lnTo>
                <a:lnTo>
                  <a:pt x="375205" y="0"/>
                </a:lnTo>
                <a:lnTo>
                  <a:pt x="385626" y="0"/>
                </a:lnTo>
                <a:lnTo>
                  <a:pt x="388276" y="0"/>
                </a:lnTo>
                <a:lnTo>
                  <a:pt x="391870" y="0"/>
                </a:lnTo>
                <a:lnTo>
                  <a:pt x="392211" y="0"/>
                </a:lnTo>
                <a:lnTo>
                  <a:pt x="392222" y="0"/>
                </a:lnTo>
                <a:lnTo>
                  <a:pt x="394872" y="0"/>
                </a:lnTo>
                <a:lnTo>
                  <a:pt x="408886" y="0"/>
                </a:lnTo>
                <a:lnTo>
                  <a:pt x="409206" y="0"/>
                </a:lnTo>
                <a:lnTo>
                  <a:pt x="410824" y="0"/>
                </a:lnTo>
                <a:lnTo>
                  <a:pt x="411536" y="0"/>
                </a:lnTo>
                <a:lnTo>
                  <a:pt x="427820" y="0"/>
                </a:lnTo>
                <a:lnTo>
                  <a:pt x="433149" y="0"/>
                </a:lnTo>
                <a:lnTo>
                  <a:pt x="435800" y="0"/>
                </a:lnTo>
                <a:lnTo>
                  <a:pt x="435810" y="0"/>
                </a:lnTo>
                <a:lnTo>
                  <a:pt x="439746" y="0"/>
                </a:lnTo>
                <a:lnTo>
                  <a:pt x="442396" y="0"/>
                </a:lnTo>
                <a:lnTo>
                  <a:pt x="451762" y="0"/>
                </a:lnTo>
                <a:lnTo>
                  <a:pt x="452475" y="0"/>
                </a:lnTo>
                <a:lnTo>
                  <a:pt x="454412" y="0"/>
                </a:lnTo>
                <a:lnTo>
                  <a:pt x="456410" y="0"/>
                </a:lnTo>
                <a:lnTo>
                  <a:pt x="458349" y="0"/>
                </a:lnTo>
                <a:lnTo>
                  <a:pt x="458358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10" y="0"/>
                </a:lnTo>
                <a:lnTo>
                  <a:pt x="475023" y="0"/>
                </a:lnTo>
                <a:lnTo>
                  <a:pt x="475345" y="0"/>
                </a:lnTo>
                <a:lnTo>
                  <a:pt x="477673" y="0"/>
                </a:lnTo>
                <a:lnTo>
                  <a:pt x="483334" y="0"/>
                </a:lnTo>
                <a:lnTo>
                  <a:pt x="492360" y="0"/>
                </a:lnTo>
                <a:lnTo>
                  <a:pt x="495012" y="0"/>
                </a:lnTo>
                <a:lnTo>
                  <a:pt x="499287" y="0"/>
                </a:lnTo>
                <a:lnTo>
                  <a:pt x="499999" y="0"/>
                </a:lnTo>
                <a:lnTo>
                  <a:pt x="501937" y="0"/>
                </a:lnTo>
                <a:lnTo>
                  <a:pt x="501947" y="0"/>
                </a:lnTo>
                <a:lnTo>
                  <a:pt x="505883" y="0"/>
                </a:lnTo>
                <a:lnTo>
                  <a:pt x="506595" y="0"/>
                </a:lnTo>
                <a:lnTo>
                  <a:pt x="508535" y="0"/>
                </a:lnTo>
                <a:lnTo>
                  <a:pt x="518612" y="0"/>
                </a:lnTo>
                <a:lnTo>
                  <a:pt x="518954" y="0"/>
                </a:lnTo>
                <a:lnTo>
                  <a:pt x="522548" y="0"/>
                </a:lnTo>
                <a:lnTo>
                  <a:pt x="525198" y="0"/>
                </a:lnTo>
                <a:lnTo>
                  <a:pt x="525208" y="0"/>
                </a:lnTo>
                <a:lnTo>
                  <a:pt x="525550" y="0"/>
                </a:lnTo>
                <a:lnTo>
                  <a:pt x="535949" y="0"/>
                </a:lnTo>
                <a:lnTo>
                  <a:pt x="539884" y="0"/>
                </a:lnTo>
                <a:lnTo>
                  <a:pt x="542214" y="0"/>
                </a:lnTo>
                <a:lnTo>
                  <a:pt x="542536" y="0"/>
                </a:lnTo>
                <a:lnTo>
                  <a:pt x="542547" y="0"/>
                </a:lnTo>
                <a:lnTo>
                  <a:pt x="549472" y="0"/>
                </a:lnTo>
                <a:lnTo>
                  <a:pt x="558498" y="0"/>
                </a:lnTo>
                <a:lnTo>
                  <a:pt x="559210" y="0"/>
                </a:lnTo>
                <a:lnTo>
                  <a:pt x="561148" y="0"/>
                </a:lnTo>
                <a:lnTo>
                  <a:pt x="566137" y="0"/>
                </a:lnTo>
                <a:lnTo>
                  <a:pt x="566478" y="0"/>
                </a:lnTo>
                <a:lnTo>
                  <a:pt x="566488" y="0"/>
                </a:lnTo>
                <a:lnTo>
                  <a:pt x="569139" y="0"/>
                </a:lnTo>
                <a:lnTo>
                  <a:pt x="572733" y="0"/>
                </a:lnTo>
                <a:lnTo>
                  <a:pt x="573074" y="0"/>
                </a:lnTo>
                <a:lnTo>
                  <a:pt x="583153" y="0"/>
                </a:lnTo>
                <a:lnTo>
                  <a:pt x="583473" y="0"/>
                </a:lnTo>
                <a:lnTo>
                  <a:pt x="585090" y="0"/>
                </a:lnTo>
                <a:lnTo>
                  <a:pt x="585803" y="0"/>
                </a:lnTo>
                <a:lnTo>
                  <a:pt x="589738" y="0"/>
                </a:lnTo>
                <a:lnTo>
                  <a:pt x="589749" y="0"/>
                </a:lnTo>
                <a:lnTo>
                  <a:pt x="590070" y="0"/>
                </a:lnTo>
                <a:lnTo>
                  <a:pt x="591688" y="0"/>
                </a:lnTo>
                <a:lnTo>
                  <a:pt x="592399" y="0"/>
                </a:lnTo>
                <a:lnTo>
                  <a:pt x="602087" y="0"/>
                </a:lnTo>
                <a:lnTo>
                  <a:pt x="606023" y="0"/>
                </a:lnTo>
                <a:lnTo>
                  <a:pt x="606735" y="0"/>
                </a:lnTo>
                <a:lnTo>
                  <a:pt x="608351" y="0"/>
                </a:lnTo>
                <a:lnTo>
                  <a:pt x="608673" y="0"/>
                </a:lnTo>
                <a:lnTo>
                  <a:pt x="608683" y="0"/>
                </a:lnTo>
                <a:lnTo>
                  <a:pt x="614012" y="0"/>
                </a:lnTo>
                <a:lnTo>
                  <a:pt x="616663" y="0"/>
                </a:lnTo>
                <a:lnTo>
                  <a:pt x="625348" y="0"/>
                </a:lnTo>
                <a:lnTo>
                  <a:pt x="625690" y="0"/>
                </a:lnTo>
                <a:lnTo>
                  <a:pt x="630677" y="0"/>
                </a:lnTo>
                <a:lnTo>
                  <a:pt x="632615" y="0"/>
                </a:lnTo>
                <a:lnTo>
                  <a:pt x="632625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7273" y="0"/>
                </a:lnTo>
                <a:lnTo>
                  <a:pt x="639213" y="0"/>
                </a:lnTo>
                <a:lnTo>
                  <a:pt x="639923" y="0"/>
                </a:lnTo>
                <a:lnTo>
                  <a:pt x="649290" y="0"/>
                </a:lnTo>
                <a:lnTo>
                  <a:pt x="649612" y="0"/>
                </a:lnTo>
                <a:lnTo>
                  <a:pt x="651940" y="0"/>
                </a:lnTo>
                <a:lnTo>
                  <a:pt x="655876" y="0"/>
                </a:lnTo>
                <a:lnTo>
                  <a:pt x="655886" y="0"/>
                </a:lnTo>
                <a:lnTo>
                  <a:pt x="656208" y="0"/>
                </a:lnTo>
                <a:lnTo>
                  <a:pt x="658537" y="0"/>
                </a:lnTo>
                <a:lnTo>
                  <a:pt x="666627" y="0"/>
                </a:lnTo>
                <a:lnTo>
                  <a:pt x="669278" y="0"/>
                </a:lnTo>
                <a:lnTo>
                  <a:pt x="672873" y="0"/>
                </a:lnTo>
                <a:lnTo>
                  <a:pt x="673214" y="0"/>
                </a:lnTo>
                <a:lnTo>
                  <a:pt x="673225" y="0"/>
                </a:lnTo>
                <a:lnTo>
                  <a:pt x="675875" y="0"/>
                </a:lnTo>
                <a:lnTo>
                  <a:pt x="680150" y="0"/>
                </a:lnTo>
                <a:lnTo>
                  <a:pt x="680862" y="0"/>
                </a:lnTo>
                <a:lnTo>
                  <a:pt x="682801" y="0"/>
                </a:lnTo>
                <a:lnTo>
                  <a:pt x="689888" y="0"/>
                </a:lnTo>
                <a:lnTo>
                  <a:pt x="691826" y="0"/>
                </a:lnTo>
                <a:lnTo>
                  <a:pt x="692539" y="0"/>
                </a:lnTo>
                <a:lnTo>
                  <a:pt x="696815" y="0"/>
                </a:lnTo>
                <a:lnTo>
                  <a:pt x="699465" y="0"/>
                </a:lnTo>
                <a:lnTo>
                  <a:pt x="699475" y="0"/>
                </a:lnTo>
                <a:lnTo>
                  <a:pt x="699817" y="0"/>
                </a:lnTo>
                <a:lnTo>
                  <a:pt x="703411" y="0"/>
                </a:lnTo>
                <a:lnTo>
                  <a:pt x="706062" y="0"/>
                </a:lnTo>
                <a:lnTo>
                  <a:pt x="714151" y="0"/>
                </a:lnTo>
                <a:lnTo>
                  <a:pt x="716481" y="0"/>
                </a:lnTo>
                <a:lnTo>
                  <a:pt x="716802" y="0"/>
                </a:lnTo>
                <a:lnTo>
                  <a:pt x="716813" y="0"/>
                </a:lnTo>
                <a:lnTo>
                  <a:pt x="720748" y="0"/>
                </a:lnTo>
                <a:lnTo>
                  <a:pt x="723077" y="0"/>
                </a:lnTo>
                <a:lnTo>
                  <a:pt x="723399" y="0"/>
                </a:lnTo>
                <a:lnTo>
                  <a:pt x="732765" y="0"/>
                </a:lnTo>
                <a:lnTo>
                  <a:pt x="733477" y="0"/>
                </a:lnTo>
                <a:lnTo>
                  <a:pt x="735415" y="0"/>
                </a:lnTo>
                <a:lnTo>
                  <a:pt x="737413" y="0"/>
                </a:lnTo>
                <a:lnTo>
                  <a:pt x="739351" y="0"/>
                </a:lnTo>
                <a:lnTo>
                  <a:pt x="739361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7000" y="0"/>
                </a:lnTo>
                <a:lnTo>
                  <a:pt x="747341" y="0"/>
                </a:lnTo>
                <a:lnTo>
                  <a:pt x="756026" y="0"/>
                </a:lnTo>
                <a:lnTo>
                  <a:pt x="758676" y="0"/>
                </a:lnTo>
                <a:lnTo>
                  <a:pt x="764005" y="0"/>
                </a:lnTo>
                <a:lnTo>
                  <a:pt x="764016" y="0"/>
                </a:lnTo>
                <a:lnTo>
                  <a:pt x="764337" y="0"/>
                </a:lnTo>
                <a:lnTo>
                  <a:pt x="765954" y="0"/>
                </a:lnTo>
                <a:lnTo>
                  <a:pt x="766666" y="0"/>
                </a:lnTo>
                <a:lnTo>
                  <a:pt x="770601" y="0"/>
                </a:lnTo>
                <a:lnTo>
                  <a:pt x="780290" y="0"/>
                </a:lnTo>
                <a:lnTo>
                  <a:pt x="781002" y="0"/>
                </a:lnTo>
                <a:lnTo>
                  <a:pt x="782618" y="0"/>
                </a:lnTo>
                <a:lnTo>
                  <a:pt x="782940" y="0"/>
                </a:lnTo>
                <a:lnTo>
                  <a:pt x="782950" y="0"/>
                </a:lnTo>
                <a:lnTo>
                  <a:pt x="786886" y="0"/>
                </a:lnTo>
                <a:lnTo>
                  <a:pt x="787598" y="0"/>
                </a:lnTo>
                <a:lnTo>
                  <a:pt x="789215" y="0"/>
                </a:lnTo>
                <a:lnTo>
                  <a:pt x="789536" y="0"/>
                </a:lnTo>
                <a:lnTo>
                  <a:pt x="799614" y="0"/>
                </a:lnTo>
                <a:lnTo>
                  <a:pt x="799956" y="0"/>
                </a:lnTo>
                <a:lnTo>
                  <a:pt x="803551" y="0"/>
                </a:lnTo>
                <a:lnTo>
                  <a:pt x="806201" y="0"/>
                </a:lnTo>
                <a:lnTo>
                  <a:pt x="806211" y="0"/>
                </a:lnTo>
                <a:lnTo>
                  <a:pt x="806553" y="0"/>
                </a:lnTo>
                <a:lnTo>
                  <a:pt x="811540" y="0"/>
                </a:lnTo>
                <a:lnTo>
                  <a:pt x="813479" y="0"/>
                </a:lnTo>
                <a:lnTo>
                  <a:pt x="814190" y="0"/>
                </a:lnTo>
                <a:lnTo>
                  <a:pt x="823217" y="0"/>
                </a:lnTo>
                <a:lnTo>
                  <a:pt x="830143" y="0"/>
                </a:lnTo>
                <a:lnTo>
                  <a:pt x="830153" y="0"/>
                </a:lnTo>
                <a:lnTo>
                  <a:pt x="830475" y="0"/>
                </a:lnTo>
                <a:lnTo>
                  <a:pt x="832804" y="0"/>
                </a:lnTo>
                <a:lnTo>
                  <a:pt x="836740" y="0"/>
                </a:lnTo>
                <a:lnTo>
                  <a:pt x="847140" y="0"/>
                </a:lnTo>
                <a:lnTo>
                  <a:pt x="847480" y="0"/>
                </a:lnTo>
                <a:lnTo>
                  <a:pt x="847491" y="0"/>
                </a:lnTo>
                <a:lnTo>
                  <a:pt x="850141" y="0"/>
                </a:lnTo>
                <a:lnTo>
                  <a:pt x="853736" y="0"/>
                </a:lnTo>
                <a:lnTo>
                  <a:pt x="854077" y="0"/>
                </a:lnTo>
                <a:lnTo>
                  <a:pt x="864155" y="0"/>
                </a:lnTo>
                <a:lnTo>
                  <a:pt x="866093" y="0"/>
                </a:lnTo>
                <a:lnTo>
                  <a:pt x="866806" y="0"/>
                </a:lnTo>
                <a:lnTo>
                  <a:pt x="870741" y="0"/>
                </a:lnTo>
                <a:lnTo>
                  <a:pt x="870752" y="0"/>
                </a:lnTo>
                <a:lnTo>
                  <a:pt x="872689" y="0"/>
                </a:lnTo>
                <a:lnTo>
                  <a:pt x="873402" y="0"/>
                </a:lnTo>
                <a:lnTo>
                  <a:pt x="877678" y="0"/>
                </a:lnTo>
                <a:lnTo>
                  <a:pt x="880329" y="0"/>
                </a:lnTo>
                <a:lnTo>
                  <a:pt x="889354" y="0"/>
                </a:lnTo>
                <a:lnTo>
                  <a:pt x="895015" y="0"/>
                </a:lnTo>
                <a:lnTo>
                  <a:pt x="897344" y="0"/>
                </a:lnTo>
                <a:lnTo>
                  <a:pt x="897665" y="0"/>
                </a:lnTo>
                <a:lnTo>
                  <a:pt x="911680" y="0"/>
                </a:lnTo>
                <a:lnTo>
                  <a:pt x="913618" y="0"/>
                </a:lnTo>
                <a:lnTo>
                  <a:pt x="913628" y="0"/>
                </a:lnTo>
                <a:lnTo>
                  <a:pt x="914330" y="0"/>
                </a:lnTo>
                <a:lnTo>
                  <a:pt x="914341" y="0"/>
                </a:lnTo>
                <a:lnTo>
                  <a:pt x="916278" y="0"/>
                </a:lnTo>
                <a:lnTo>
                  <a:pt x="918276" y="0"/>
                </a:lnTo>
                <a:lnTo>
                  <a:pt x="920214" y="0"/>
                </a:lnTo>
                <a:lnTo>
                  <a:pt x="920926" y="0"/>
                </a:lnTo>
                <a:lnTo>
                  <a:pt x="930292" y="0"/>
                </a:lnTo>
                <a:lnTo>
                  <a:pt x="932943" y="0"/>
                </a:lnTo>
                <a:lnTo>
                  <a:pt x="936879" y="0"/>
                </a:lnTo>
                <a:lnTo>
                  <a:pt x="936889" y="0"/>
                </a:lnTo>
                <a:lnTo>
                  <a:pt x="939539" y="0"/>
                </a:lnTo>
                <a:lnTo>
                  <a:pt x="944868" y="0"/>
                </a:lnTo>
                <a:lnTo>
                  <a:pt x="961153" y="0"/>
                </a:lnTo>
                <a:lnTo>
                  <a:pt x="961865" y="0"/>
                </a:lnTo>
                <a:lnTo>
                  <a:pt x="963482" y="0"/>
                </a:lnTo>
                <a:lnTo>
                  <a:pt x="963803" y="0"/>
                </a:lnTo>
                <a:lnTo>
                  <a:pt x="977818" y="0"/>
                </a:lnTo>
                <a:lnTo>
                  <a:pt x="980468" y="0"/>
                </a:lnTo>
                <a:lnTo>
                  <a:pt x="980477" y="0"/>
                </a:lnTo>
                <a:lnTo>
                  <a:pt x="980819" y="0"/>
                </a:lnTo>
                <a:lnTo>
                  <a:pt x="984414" y="0"/>
                </a:lnTo>
                <a:lnTo>
                  <a:pt x="987064" y="0"/>
                </a:lnTo>
                <a:lnTo>
                  <a:pt x="997484" y="0"/>
                </a:lnTo>
                <a:lnTo>
                  <a:pt x="1004080" y="0"/>
                </a:lnTo>
                <a:lnTo>
                  <a:pt x="1011007" y="0"/>
                </a:lnTo>
                <a:lnTo>
                  <a:pt x="1028343" y="0"/>
                </a:lnTo>
                <a:lnTo>
                  <a:pt x="1045008" y="0"/>
                </a:lnTo>
                <a:lnTo>
                  <a:pt x="1045019" y="0"/>
                </a:lnTo>
                <a:lnTo>
                  <a:pt x="1046956" y="0"/>
                </a:lnTo>
                <a:lnTo>
                  <a:pt x="1051604" y="0"/>
                </a:lnTo>
                <a:lnTo>
                  <a:pt x="1063621" y="0"/>
                </a:lnTo>
                <a:lnTo>
                  <a:pt x="1070217" y="0"/>
                </a:lnTo>
                <a:lnTo>
                  <a:pt x="1092543" y="0"/>
                </a:lnTo>
                <a:lnTo>
                  <a:pt x="1094481" y="0"/>
                </a:lnTo>
                <a:lnTo>
                  <a:pt x="1111146" y="0"/>
                </a:lnTo>
                <a:lnTo>
                  <a:pt x="1111155" y="0"/>
                </a:lnTo>
                <a:lnTo>
                  <a:pt x="1117742" y="0"/>
                </a:lnTo>
                <a:cubicBezTo>
                  <a:pt x="1258545" y="0"/>
                  <a:pt x="1372688" y="114144"/>
                  <a:pt x="1372688" y="254948"/>
                </a:cubicBezTo>
                <a:lnTo>
                  <a:pt x="1372687" y="254948"/>
                </a:lnTo>
                <a:cubicBezTo>
                  <a:pt x="1372687" y="395750"/>
                  <a:pt x="1258544" y="509893"/>
                  <a:pt x="1117742" y="509893"/>
                </a:cubicBezTo>
                <a:lnTo>
                  <a:pt x="1111158" y="509893"/>
                </a:lnTo>
                <a:lnTo>
                  <a:pt x="1111154" y="509893"/>
                </a:lnTo>
                <a:lnTo>
                  <a:pt x="1111145" y="509893"/>
                </a:lnTo>
                <a:lnTo>
                  <a:pt x="1092543" y="509893"/>
                </a:lnTo>
                <a:lnTo>
                  <a:pt x="1092542" y="509893"/>
                </a:lnTo>
                <a:lnTo>
                  <a:pt x="1070219" y="509893"/>
                </a:lnTo>
                <a:lnTo>
                  <a:pt x="1070217" y="509893"/>
                </a:lnTo>
                <a:lnTo>
                  <a:pt x="1063623" y="509893"/>
                </a:lnTo>
                <a:lnTo>
                  <a:pt x="1063620" y="509893"/>
                </a:lnTo>
                <a:lnTo>
                  <a:pt x="1051604" y="509893"/>
                </a:lnTo>
                <a:lnTo>
                  <a:pt x="1051603" y="509893"/>
                </a:lnTo>
                <a:lnTo>
                  <a:pt x="1045020" y="509893"/>
                </a:lnTo>
                <a:lnTo>
                  <a:pt x="1045018" y="509893"/>
                </a:lnTo>
                <a:lnTo>
                  <a:pt x="1045008" y="509893"/>
                </a:lnTo>
                <a:lnTo>
                  <a:pt x="1045007" y="509893"/>
                </a:lnTo>
                <a:lnTo>
                  <a:pt x="1011006" y="509893"/>
                </a:lnTo>
                <a:lnTo>
                  <a:pt x="1004082" y="509893"/>
                </a:lnTo>
                <a:lnTo>
                  <a:pt x="1004079" y="509893"/>
                </a:lnTo>
                <a:lnTo>
                  <a:pt x="997485" y="509893"/>
                </a:lnTo>
                <a:lnTo>
                  <a:pt x="997483" y="509893"/>
                </a:lnTo>
                <a:lnTo>
                  <a:pt x="987064" y="509893"/>
                </a:lnTo>
                <a:lnTo>
                  <a:pt x="984414" y="509893"/>
                </a:lnTo>
                <a:lnTo>
                  <a:pt x="984413" y="509893"/>
                </a:lnTo>
                <a:lnTo>
                  <a:pt x="980480" y="509893"/>
                </a:lnTo>
                <a:lnTo>
                  <a:pt x="980476" y="509893"/>
                </a:lnTo>
                <a:lnTo>
                  <a:pt x="980467" y="509893"/>
                </a:lnTo>
                <a:lnTo>
                  <a:pt x="977818" y="509893"/>
                </a:lnTo>
                <a:lnTo>
                  <a:pt x="977816" y="509893"/>
                </a:lnTo>
                <a:lnTo>
                  <a:pt x="963483" y="509893"/>
                </a:lnTo>
                <a:lnTo>
                  <a:pt x="963481" y="509893"/>
                </a:lnTo>
                <a:lnTo>
                  <a:pt x="961865" y="509893"/>
                </a:lnTo>
                <a:lnTo>
                  <a:pt x="961864" y="509893"/>
                </a:lnTo>
                <a:lnTo>
                  <a:pt x="944868" y="509893"/>
                </a:lnTo>
                <a:lnTo>
                  <a:pt x="939541" y="509893"/>
                </a:lnTo>
                <a:lnTo>
                  <a:pt x="939539" y="509893"/>
                </a:lnTo>
                <a:lnTo>
                  <a:pt x="936891" y="509893"/>
                </a:lnTo>
                <a:lnTo>
                  <a:pt x="936888" y="509893"/>
                </a:lnTo>
                <a:lnTo>
                  <a:pt x="936878" y="509893"/>
                </a:lnTo>
                <a:lnTo>
                  <a:pt x="932945" y="509893"/>
                </a:lnTo>
                <a:lnTo>
                  <a:pt x="932942" y="509893"/>
                </a:lnTo>
                <a:lnTo>
                  <a:pt x="930294" y="509893"/>
                </a:lnTo>
                <a:lnTo>
                  <a:pt x="930291" y="509893"/>
                </a:lnTo>
                <a:lnTo>
                  <a:pt x="920926" y="509893"/>
                </a:lnTo>
                <a:lnTo>
                  <a:pt x="920925" y="509893"/>
                </a:lnTo>
                <a:lnTo>
                  <a:pt x="918276" y="509893"/>
                </a:lnTo>
                <a:lnTo>
                  <a:pt x="918275" y="509893"/>
                </a:lnTo>
                <a:lnTo>
                  <a:pt x="914342" y="509893"/>
                </a:lnTo>
                <a:lnTo>
                  <a:pt x="914340" y="509893"/>
                </a:lnTo>
                <a:lnTo>
                  <a:pt x="914330" y="509893"/>
                </a:lnTo>
                <a:lnTo>
                  <a:pt x="914329" y="509893"/>
                </a:lnTo>
                <a:lnTo>
                  <a:pt x="911680" y="509893"/>
                </a:lnTo>
                <a:lnTo>
                  <a:pt x="911679" y="509893"/>
                </a:lnTo>
                <a:lnTo>
                  <a:pt x="897346" y="509893"/>
                </a:lnTo>
                <a:lnTo>
                  <a:pt x="897344" y="509893"/>
                </a:lnTo>
                <a:lnTo>
                  <a:pt x="889356" y="509893"/>
                </a:lnTo>
                <a:lnTo>
                  <a:pt x="889353" y="509893"/>
                </a:lnTo>
                <a:lnTo>
                  <a:pt x="880328" y="509893"/>
                </a:lnTo>
                <a:lnTo>
                  <a:pt x="877678" y="509893"/>
                </a:lnTo>
                <a:lnTo>
                  <a:pt x="873404" y="509893"/>
                </a:lnTo>
                <a:lnTo>
                  <a:pt x="873401" y="509893"/>
                </a:lnTo>
                <a:lnTo>
                  <a:pt x="870753" y="509893"/>
                </a:lnTo>
                <a:lnTo>
                  <a:pt x="870751" y="509893"/>
                </a:lnTo>
                <a:lnTo>
                  <a:pt x="870741" y="509893"/>
                </a:lnTo>
                <a:lnTo>
                  <a:pt x="870740" y="509893"/>
                </a:lnTo>
                <a:lnTo>
                  <a:pt x="866807" y="509893"/>
                </a:lnTo>
                <a:lnTo>
                  <a:pt x="866805" y="509893"/>
                </a:lnTo>
                <a:lnTo>
                  <a:pt x="864156" y="509893"/>
                </a:lnTo>
                <a:lnTo>
                  <a:pt x="864155" y="509893"/>
                </a:lnTo>
                <a:lnTo>
                  <a:pt x="853736" y="509893"/>
                </a:lnTo>
                <a:lnTo>
                  <a:pt x="853735" y="509893"/>
                </a:lnTo>
                <a:lnTo>
                  <a:pt x="847140" y="509893"/>
                </a:lnTo>
                <a:lnTo>
                  <a:pt x="847138" y="509893"/>
                </a:lnTo>
                <a:lnTo>
                  <a:pt x="836739" y="509893"/>
                </a:lnTo>
                <a:lnTo>
                  <a:pt x="832805" y="509893"/>
                </a:lnTo>
                <a:lnTo>
                  <a:pt x="832803" y="509893"/>
                </a:lnTo>
                <a:lnTo>
                  <a:pt x="830155" y="509893"/>
                </a:lnTo>
                <a:lnTo>
                  <a:pt x="830153" y="509893"/>
                </a:lnTo>
                <a:lnTo>
                  <a:pt x="830142" y="509893"/>
                </a:lnTo>
                <a:lnTo>
                  <a:pt x="823218" y="509893"/>
                </a:lnTo>
                <a:lnTo>
                  <a:pt x="823216" y="509893"/>
                </a:lnTo>
                <a:lnTo>
                  <a:pt x="814190" y="509893"/>
                </a:lnTo>
                <a:lnTo>
                  <a:pt x="811540" y="509893"/>
                </a:lnTo>
                <a:lnTo>
                  <a:pt x="811539" y="509893"/>
                </a:lnTo>
                <a:lnTo>
                  <a:pt x="806213" y="509893"/>
                </a:lnTo>
                <a:lnTo>
                  <a:pt x="806210" y="509893"/>
                </a:lnTo>
                <a:lnTo>
                  <a:pt x="806200" y="509893"/>
                </a:lnTo>
                <a:lnTo>
                  <a:pt x="803551" y="509893"/>
                </a:lnTo>
                <a:lnTo>
                  <a:pt x="803550" y="509893"/>
                </a:lnTo>
                <a:lnTo>
                  <a:pt x="799616" y="509893"/>
                </a:lnTo>
                <a:lnTo>
                  <a:pt x="799613" y="509893"/>
                </a:lnTo>
                <a:lnTo>
                  <a:pt x="789216" y="509893"/>
                </a:lnTo>
                <a:lnTo>
                  <a:pt x="789214" y="509893"/>
                </a:lnTo>
                <a:lnTo>
                  <a:pt x="787598" y="509893"/>
                </a:lnTo>
                <a:lnTo>
                  <a:pt x="787597" y="509893"/>
                </a:lnTo>
                <a:lnTo>
                  <a:pt x="782620" y="509893"/>
                </a:lnTo>
                <a:lnTo>
                  <a:pt x="782617" y="509893"/>
                </a:lnTo>
                <a:lnTo>
                  <a:pt x="781002" y="509893"/>
                </a:lnTo>
                <a:lnTo>
                  <a:pt x="781001" y="509893"/>
                </a:lnTo>
                <a:lnTo>
                  <a:pt x="770601" y="509893"/>
                </a:lnTo>
                <a:lnTo>
                  <a:pt x="766668" y="509893"/>
                </a:lnTo>
                <a:lnTo>
                  <a:pt x="766666" y="509893"/>
                </a:lnTo>
                <a:lnTo>
                  <a:pt x="764017" y="509893"/>
                </a:lnTo>
                <a:lnTo>
                  <a:pt x="764015" y="509893"/>
                </a:lnTo>
                <a:lnTo>
                  <a:pt x="764005" y="509893"/>
                </a:lnTo>
                <a:lnTo>
                  <a:pt x="764004" y="509893"/>
                </a:lnTo>
                <a:lnTo>
                  <a:pt x="758678" y="509893"/>
                </a:lnTo>
                <a:lnTo>
                  <a:pt x="758675" y="509893"/>
                </a:lnTo>
                <a:lnTo>
                  <a:pt x="756027" y="509893"/>
                </a:lnTo>
                <a:lnTo>
                  <a:pt x="756025" y="509893"/>
                </a:lnTo>
                <a:lnTo>
                  <a:pt x="747000" y="509893"/>
                </a:lnTo>
                <a:lnTo>
                  <a:pt x="740075" y="509893"/>
                </a:lnTo>
                <a:lnTo>
                  <a:pt x="740073" y="509893"/>
                </a:lnTo>
                <a:lnTo>
                  <a:pt x="740063" y="509893"/>
                </a:lnTo>
                <a:lnTo>
                  <a:pt x="740062" y="509893"/>
                </a:lnTo>
                <a:lnTo>
                  <a:pt x="737413" y="509893"/>
                </a:lnTo>
                <a:lnTo>
                  <a:pt x="737412" y="509893"/>
                </a:lnTo>
                <a:lnTo>
                  <a:pt x="733478" y="509893"/>
                </a:lnTo>
                <a:lnTo>
                  <a:pt x="733477" y="509893"/>
                </a:lnTo>
                <a:lnTo>
                  <a:pt x="723080" y="509893"/>
                </a:lnTo>
                <a:lnTo>
                  <a:pt x="723077" y="509893"/>
                </a:lnTo>
                <a:lnTo>
                  <a:pt x="716483" y="509893"/>
                </a:lnTo>
                <a:lnTo>
                  <a:pt x="716480" y="509893"/>
                </a:lnTo>
                <a:lnTo>
                  <a:pt x="706061" y="509893"/>
                </a:lnTo>
                <a:lnTo>
                  <a:pt x="703411" y="509893"/>
                </a:lnTo>
                <a:lnTo>
                  <a:pt x="699477" y="509893"/>
                </a:lnTo>
                <a:lnTo>
                  <a:pt x="699475" y="509893"/>
                </a:lnTo>
                <a:lnTo>
                  <a:pt x="699464" y="509893"/>
                </a:lnTo>
                <a:lnTo>
                  <a:pt x="696815" y="509893"/>
                </a:lnTo>
                <a:lnTo>
                  <a:pt x="696814" y="509893"/>
                </a:lnTo>
                <a:lnTo>
                  <a:pt x="692540" y="509893"/>
                </a:lnTo>
                <a:lnTo>
                  <a:pt x="692538" y="509893"/>
                </a:lnTo>
                <a:lnTo>
                  <a:pt x="689889" y="509893"/>
                </a:lnTo>
                <a:lnTo>
                  <a:pt x="689888" y="509893"/>
                </a:lnTo>
                <a:lnTo>
                  <a:pt x="680862" y="509893"/>
                </a:lnTo>
                <a:lnTo>
                  <a:pt x="680861" y="509893"/>
                </a:lnTo>
                <a:lnTo>
                  <a:pt x="672873" y="509893"/>
                </a:lnTo>
                <a:lnTo>
                  <a:pt x="672872" y="509893"/>
                </a:lnTo>
                <a:lnTo>
                  <a:pt x="658538" y="509893"/>
                </a:lnTo>
                <a:lnTo>
                  <a:pt x="658536" y="509893"/>
                </a:lnTo>
                <a:lnTo>
                  <a:pt x="655888" y="509893"/>
                </a:lnTo>
                <a:lnTo>
                  <a:pt x="655886" y="509893"/>
                </a:lnTo>
                <a:lnTo>
                  <a:pt x="655875" y="509893"/>
                </a:lnTo>
                <a:lnTo>
                  <a:pt x="651942" y="509893"/>
                </a:lnTo>
                <a:lnTo>
                  <a:pt x="651939" y="509893"/>
                </a:lnTo>
                <a:lnTo>
                  <a:pt x="649292" y="509893"/>
                </a:lnTo>
                <a:lnTo>
                  <a:pt x="649289" y="509893"/>
                </a:lnTo>
                <a:lnTo>
                  <a:pt x="639923" y="509893"/>
                </a:lnTo>
                <a:lnTo>
                  <a:pt x="637273" y="509893"/>
                </a:lnTo>
                <a:lnTo>
                  <a:pt x="637272" y="509893"/>
                </a:lnTo>
                <a:lnTo>
                  <a:pt x="633339" y="509893"/>
                </a:lnTo>
                <a:lnTo>
                  <a:pt x="633337" y="509893"/>
                </a:lnTo>
                <a:lnTo>
                  <a:pt x="633327" y="509893"/>
                </a:lnTo>
                <a:lnTo>
                  <a:pt x="633326" y="509893"/>
                </a:lnTo>
                <a:lnTo>
                  <a:pt x="630677" y="509893"/>
                </a:lnTo>
                <a:lnTo>
                  <a:pt x="630676" y="509893"/>
                </a:lnTo>
                <a:lnTo>
                  <a:pt x="625349" y="509893"/>
                </a:lnTo>
                <a:lnTo>
                  <a:pt x="625347" y="509893"/>
                </a:lnTo>
                <a:lnTo>
                  <a:pt x="608353" y="509893"/>
                </a:lnTo>
                <a:lnTo>
                  <a:pt x="608350" y="509893"/>
                </a:lnTo>
                <a:lnTo>
                  <a:pt x="606735" y="509893"/>
                </a:lnTo>
                <a:lnTo>
                  <a:pt x="606734" y="509893"/>
                </a:lnTo>
                <a:lnTo>
                  <a:pt x="592402" y="509893"/>
                </a:lnTo>
                <a:lnTo>
                  <a:pt x="592399" y="509893"/>
                </a:lnTo>
                <a:lnTo>
                  <a:pt x="589750" y="509893"/>
                </a:lnTo>
                <a:lnTo>
                  <a:pt x="589748" y="509893"/>
                </a:lnTo>
                <a:lnTo>
                  <a:pt x="589738" y="509893"/>
                </a:lnTo>
                <a:lnTo>
                  <a:pt x="589737" y="509893"/>
                </a:lnTo>
                <a:lnTo>
                  <a:pt x="585805" y="509893"/>
                </a:lnTo>
                <a:lnTo>
                  <a:pt x="585802" y="509893"/>
                </a:lnTo>
                <a:lnTo>
                  <a:pt x="583154" y="509893"/>
                </a:lnTo>
                <a:lnTo>
                  <a:pt x="583152" y="509893"/>
                </a:lnTo>
                <a:lnTo>
                  <a:pt x="572733" y="509893"/>
                </a:lnTo>
                <a:lnTo>
                  <a:pt x="566137" y="509893"/>
                </a:lnTo>
                <a:lnTo>
                  <a:pt x="566136" y="509893"/>
                </a:lnTo>
                <a:lnTo>
                  <a:pt x="559211" y="509893"/>
                </a:lnTo>
                <a:lnTo>
                  <a:pt x="559210" y="509893"/>
                </a:lnTo>
                <a:lnTo>
                  <a:pt x="525210" y="509893"/>
                </a:lnTo>
                <a:lnTo>
                  <a:pt x="525208" y="509893"/>
                </a:lnTo>
                <a:lnTo>
                  <a:pt x="525197" y="509893"/>
                </a:lnTo>
                <a:lnTo>
                  <a:pt x="518614" y="509893"/>
                </a:lnTo>
                <a:lnTo>
                  <a:pt x="518611" y="509893"/>
                </a:lnTo>
                <a:lnTo>
                  <a:pt x="506595" y="509893"/>
                </a:lnTo>
                <a:lnTo>
                  <a:pt x="506594" y="509893"/>
                </a:lnTo>
                <a:lnTo>
                  <a:pt x="499999" y="509893"/>
                </a:lnTo>
                <a:lnTo>
                  <a:pt x="499998" y="509893"/>
                </a:lnTo>
                <a:lnTo>
                  <a:pt x="477675" y="509893"/>
                </a:lnTo>
                <a:lnTo>
                  <a:pt x="477672" y="509893"/>
                </a:lnTo>
                <a:lnTo>
                  <a:pt x="459072" y="509893"/>
                </a:lnTo>
                <a:lnTo>
                  <a:pt x="459070" y="509893"/>
                </a:lnTo>
                <a:lnTo>
                  <a:pt x="459060" y="509893"/>
                </a:lnTo>
                <a:lnTo>
                  <a:pt x="459059" y="509893"/>
                </a:lnTo>
                <a:lnTo>
                  <a:pt x="452476" y="509893"/>
                </a:lnTo>
                <a:lnTo>
                  <a:pt x="452474" y="509893"/>
                </a:lnTo>
                <a:lnTo>
                  <a:pt x="254948" y="509892"/>
                </a:lnTo>
                <a:cubicBezTo>
                  <a:pt x="131743" y="509892"/>
                  <a:pt x="28953" y="422502"/>
                  <a:pt x="5179" y="306327"/>
                </a:cubicBezTo>
                <a:lnTo>
                  <a:pt x="0" y="254948"/>
                </a:lnTo>
                <a:lnTo>
                  <a:pt x="5179" y="203567"/>
                </a:lnTo>
                <a:cubicBezTo>
                  <a:pt x="28953" y="87392"/>
                  <a:pt x="131743" y="0"/>
                  <a:pt x="254948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69" name="Рисунок 6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89386" y="3969399"/>
            <a:ext cx="797688" cy="290683"/>
          </a:xfrm>
          <a:prstGeom prst="rect">
            <a:avLst/>
          </a:prstGeom>
        </p:spPr>
      </p:pic>
      <p:pic>
        <p:nvPicPr>
          <p:cNvPr id="70" name="Рисунок 6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10113" y="3918059"/>
            <a:ext cx="909663" cy="436899"/>
          </a:xfrm>
          <a:prstGeom prst="rect">
            <a:avLst/>
          </a:prstGeom>
        </p:spPr>
      </p:pic>
      <p:sp>
        <p:nvSpPr>
          <p:cNvPr id="71" name="Полилиния 70"/>
          <p:cNvSpPr/>
          <p:nvPr/>
        </p:nvSpPr>
        <p:spPr>
          <a:xfrm>
            <a:off x="3821224" y="3915350"/>
            <a:ext cx="1087443" cy="439608"/>
          </a:xfrm>
          <a:custGeom>
            <a:avLst/>
            <a:gdLst>
              <a:gd name="connsiteX0" fmla="*/ 254947 w 1337274"/>
              <a:gd name="connsiteY0" fmla="*/ 0 h 509892"/>
              <a:gd name="connsiteX1" fmla="*/ 255223 w 1337274"/>
              <a:gd name="connsiteY1" fmla="*/ 0 h 509892"/>
              <a:gd name="connsiteX2" fmla="*/ 257162 w 1337274"/>
              <a:gd name="connsiteY2" fmla="*/ 0 h 509892"/>
              <a:gd name="connsiteX3" fmla="*/ 257172 w 1337274"/>
              <a:gd name="connsiteY3" fmla="*/ 0 h 509892"/>
              <a:gd name="connsiteX4" fmla="*/ 261533 w 1337274"/>
              <a:gd name="connsiteY4" fmla="*/ 0 h 509892"/>
              <a:gd name="connsiteX5" fmla="*/ 261544 w 1337274"/>
              <a:gd name="connsiteY5" fmla="*/ 0 h 509892"/>
              <a:gd name="connsiteX6" fmla="*/ 273836 w 1337274"/>
              <a:gd name="connsiteY6" fmla="*/ 0 h 509892"/>
              <a:gd name="connsiteX7" fmla="*/ 278208 w 1337274"/>
              <a:gd name="connsiteY7" fmla="*/ 0 h 509892"/>
              <a:gd name="connsiteX8" fmla="*/ 280145 w 1337274"/>
              <a:gd name="connsiteY8" fmla="*/ 0 h 509892"/>
              <a:gd name="connsiteX9" fmla="*/ 291174 w 1337274"/>
              <a:gd name="connsiteY9" fmla="*/ 0 h 509892"/>
              <a:gd name="connsiteX10" fmla="*/ 298100 w 1337274"/>
              <a:gd name="connsiteY10" fmla="*/ 0 h 509892"/>
              <a:gd name="connsiteX11" fmla="*/ 302471 w 1337274"/>
              <a:gd name="connsiteY11" fmla="*/ 0 h 509892"/>
              <a:gd name="connsiteX12" fmla="*/ 304697 w 1337274"/>
              <a:gd name="connsiteY12" fmla="*/ 0 h 509892"/>
              <a:gd name="connsiteX13" fmla="*/ 309068 w 1337274"/>
              <a:gd name="connsiteY13" fmla="*/ 0 h 509892"/>
              <a:gd name="connsiteX14" fmla="*/ 317767 w 1337274"/>
              <a:gd name="connsiteY14" fmla="*/ 0 h 509892"/>
              <a:gd name="connsiteX15" fmla="*/ 321084 w 1337274"/>
              <a:gd name="connsiteY15" fmla="*/ 0 h 509892"/>
              <a:gd name="connsiteX16" fmla="*/ 321361 w 1337274"/>
              <a:gd name="connsiteY16" fmla="*/ 0 h 509892"/>
              <a:gd name="connsiteX17" fmla="*/ 324363 w 1337274"/>
              <a:gd name="connsiteY17" fmla="*/ 0 h 509892"/>
              <a:gd name="connsiteX18" fmla="*/ 325732 w 1337274"/>
              <a:gd name="connsiteY18" fmla="*/ 0 h 509892"/>
              <a:gd name="connsiteX19" fmla="*/ 327670 w 1337274"/>
              <a:gd name="connsiteY19" fmla="*/ 0 h 509892"/>
              <a:gd name="connsiteX20" fmla="*/ 327680 w 1337274"/>
              <a:gd name="connsiteY20" fmla="*/ 0 h 509892"/>
              <a:gd name="connsiteX21" fmla="*/ 338698 w 1337274"/>
              <a:gd name="connsiteY21" fmla="*/ 0 h 509892"/>
              <a:gd name="connsiteX22" fmla="*/ 341028 w 1337274"/>
              <a:gd name="connsiteY22" fmla="*/ 0 h 509892"/>
              <a:gd name="connsiteX23" fmla="*/ 344345 w 1337274"/>
              <a:gd name="connsiteY23" fmla="*/ 0 h 509892"/>
              <a:gd name="connsiteX24" fmla="*/ 357311 w 1337274"/>
              <a:gd name="connsiteY24" fmla="*/ 0 h 509892"/>
              <a:gd name="connsiteX25" fmla="*/ 361682 w 1337274"/>
              <a:gd name="connsiteY25" fmla="*/ 0 h 509892"/>
              <a:gd name="connsiteX26" fmla="*/ 365291 w 1337274"/>
              <a:gd name="connsiteY26" fmla="*/ 0 h 509892"/>
              <a:gd name="connsiteX27" fmla="*/ 365302 w 1337274"/>
              <a:gd name="connsiteY27" fmla="*/ 0 h 509892"/>
              <a:gd name="connsiteX28" fmla="*/ 368609 w 1337274"/>
              <a:gd name="connsiteY28" fmla="*/ 0 h 509892"/>
              <a:gd name="connsiteX29" fmla="*/ 371887 w 1337274"/>
              <a:gd name="connsiteY29" fmla="*/ 0 h 509892"/>
              <a:gd name="connsiteX30" fmla="*/ 375205 w 1337274"/>
              <a:gd name="connsiteY30" fmla="*/ 0 h 509892"/>
              <a:gd name="connsiteX31" fmla="*/ 381966 w 1337274"/>
              <a:gd name="connsiteY31" fmla="*/ 0 h 509892"/>
              <a:gd name="connsiteX32" fmla="*/ 383903 w 1337274"/>
              <a:gd name="connsiteY32" fmla="*/ 0 h 509892"/>
              <a:gd name="connsiteX33" fmla="*/ 388275 w 1337274"/>
              <a:gd name="connsiteY33" fmla="*/ 0 h 509892"/>
              <a:gd name="connsiteX34" fmla="*/ 388551 w 1337274"/>
              <a:gd name="connsiteY34" fmla="*/ 0 h 509892"/>
              <a:gd name="connsiteX35" fmla="*/ 388562 w 1337274"/>
              <a:gd name="connsiteY35" fmla="*/ 0 h 509892"/>
              <a:gd name="connsiteX36" fmla="*/ 390501 w 1337274"/>
              <a:gd name="connsiteY36" fmla="*/ 0 h 509892"/>
              <a:gd name="connsiteX37" fmla="*/ 391870 w 1337274"/>
              <a:gd name="connsiteY37" fmla="*/ 0 h 509892"/>
              <a:gd name="connsiteX38" fmla="*/ 394872 w 1337274"/>
              <a:gd name="connsiteY38" fmla="*/ 0 h 509892"/>
              <a:gd name="connsiteX39" fmla="*/ 404836 w 1337274"/>
              <a:gd name="connsiteY39" fmla="*/ 0 h 509892"/>
              <a:gd name="connsiteX40" fmla="*/ 407164 w 1337274"/>
              <a:gd name="connsiteY40" fmla="*/ 0 h 509892"/>
              <a:gd name="connsiteX41" fmla="*/ 409206 w 1337274"/>
              <a:gd name="connsiteY41" fmla="*/ 0 h 509892"/>
              <a:gd name="connsiteX42" fmla="*/ 411536 w 1337274"/>
              <a:gd name="connsiteY42" fmla="*/ 0 h 509892"/>
              <a:gd name="connsiteX43" fmla="*/ 412826 w 1337274"/>
              <a:gd name="connsiteY43" fmla="*/ 0 h 509892"/>
              <a:gd name="connsiteX44" fmla="*/ 420720 w 1337274"/>
              <a:gd name="connsiteY44" fmla="*/ 0 h 509892"/>
              <a:gd name="connsiteX45" fmla="*/ 420996 w 1337274"/>
              <a:gd name="connsiteY45" fmla="*/ 0 h 509892"/>
              <a:gd name="connsiteX46" fmla="*/ 422935 w 1337274"/>
              <a:gd name="connsiteY46" fmla="*/ 0 h 509892"/>
              <a:gd name="connsiteX47" fmla="*/ 422945 w 1337274"/>
              <a:gd name="connsiteY47" fmla="*/ 0 h 509892"/>
              <a:gd name="connsiteX48" fmla="*/ 424503 w 1337274"/>
              <a:gd name="connsiteY48" fmla="*/ 0 h 509892"/>
              <a:gd name="connsiteX49" fmla="*/ 427306 w 1337274"/>
              <a:gd name="connsiteY49" fmla="*/ 0 h 509892"/>
              <a:gd name="connsiteX50" fmla="*/ 427317 w 1337274"/>
              <a:gd name="connsiteY50" fmla="*/ 0 h 509892"/>
              <a:gd name="connsiteX51" fmla="*/ 427820 w 1337274"/>
              <a:gd name="connsiteY51" fmla="*/ 0 h 509892"/>
              <a:gd name="connsiteX52" fmla="*/ 429490 w 1337274"/>
              <a:gd name="connsiteY52" fmla="*/ 0 h 509892"/>
              <a:gd name="connsiteX53" fmla="*/ 431428 w 1337274"/>
              <a:gd name="connsiteY53" fmla="*/ 0 h 509892"/>
              <a:gd name="connsiteX54" fmla="*/ 431438 w 1337274"/>
              <a:gd name="connsiteY54" fmla="*/ 0 h 509892"/>
              <a:gd name="connsiteX55" fmla="*/ 435799 w 1337274"/>
              <a:gd name="connsiteY55" fmla="*/ 0 h 509892"/>
              <a:gd name="connsiteX56" fmla="*/ 435810 w 1337274"/>
              <a:gd name="connsiteY56" fmla="*/ 0 h 509892"/>
              <a:gd name="connsiteX57" fmla="*/ 436086 w 1337274"/>
              <a:gd name="connsiteY57" fmla="*/ 0 h 509892"/>
              <a:gd name="connsiteX58" fmla="*/ 438026 w 1337274"/>
              <a:gd name="connsiteY58" fmla="*/ 0 h 509892"/>
              <a:gd name="connsiteX59" fmla="*/ 439609 w 1337274"/>
              <a:gd name="connsiteY59" fmla="*/ 0 h 509892"/>
              <a:gd name="connsiteX60" fmla="*/ 442396 w 1337274"/>
              <a:gd name="connsiteY60" fmla="*/ 0 h 509892"/>
              <a:gd name="connsiteX61" fmla="*/ 443981 w 1337274"/>
              <a:gd name="connsiteY61" fmla="*/ 0 h 509892"/>
              <a:gd name="connsiteX62" fmla="*/ 445918 w 1337274"/>
              <a:gd name="connsiteY62" fmla="*/ 0 h 509892"/>
              <a:gd name="connsiteX63" fmla="*/ 448103 w 1337274"/>
              <a:gd name="connsiteY63" fmla="*/ 0 h 509892"/>
              <a:gd name="connsiteX64" fmla="*/ 452475 w 1337274"/>
              <a:gd name="connsiteY64" fmla="*/ 0 h 509892"/>
              <a:gd name="connsiteX65" fmla="*/ 454412 w 1337274"/>
              <a:gd name="connsiteY65" fmla="*/ 0 h 509892"/>
              <a:gd name="connsiteX66" fmla="*/ 454689 w 1337274"/>
              <a:gd name="connsiteY66" fmla="*/ 0 h 509892"/>
              <a:gd name="connsiteX67" fmla="*/ 454699 w 1337274"/>
              <a:gd name="connsiteY67" fmla="*/ 0 h 509892"/>
              <a:gd name="connsiteX68" fmla="*/ 456947 w 1337274"/>
              <a:gd name="connsiteY68" fmla="*/ 0 h 509892"/>
              <a:gd name="connsiteX69" fmla="*/ 459060 w 1337274"/>
              <a:gd name="connsiteY69" fmla="*/ 0 h 509892"/>
              <a:gd name="connsiteX70" fmla="*/ 459071 w 1337274"/>
              <a:gd name="connsiteY70" fmla="*/ 0 h 509892"/>
              <a:gd name="connsiteX71" fmla="*/ 461009 w 1337274"/>
              <a:gd name="connsiteY71" fmla="*/ 0 h 509892"/>
              <a:gd name="connsiteX72" fmla="*/ 463873 w 1337274"/>
              <a:gd name="connsiteY72" fmla="*/ 0 h 509892"/>
              <a:gd name="connsiteX73" fmla="*/ 465440 w 1337274"/>
              <a:gd name="connsiteY73" fmla="*/ 0 h 509892"/>
              <a:gd name="connsiteX74" fmla="*/ 468244 w 1337274"/>
              <a:gd name="connsiteY74" fmla="*/ 0 h 509892"/>
              <a:gd name="connsiteX75" fmla="*/ 470470 w 1337274"/>
              <a:gd name="connsiteY75" fmla="*/ 0 h 509892"/>
              <a:gd name="connsiteX76" fmla="*/ 472027 w 1337274"/>
              <a:gd name="connsiteY76" fmla="*/ 0 h 509892"/>
              <a:gd name="connsiteX77" fmla="*/ 472038 w 1337274"/>
              <a:gd name="connsiteY77" fmla="*/ 0 h 509892"/>
              <a:gd name="connsiteX78" fmla="*/ 474841 w 1337274"/>
              <a:gd name="connsiteY78" fmla="*/ 0 h 509892"/>
              <a:gd name="connsiteX79" fmla="*/ 475345 w 1337274"/>
              <a:gd name="connsiteY79" fmla="*/ 0 h 509892"/>
              <a:gd name="connsiteX80" fmla="*/ 477673 w 1337274"/>
              <a:gd name="connsiteY80" fmla="*/ 0 h 509892"/>
              <a:gd name="connsiteX81" fmla="*/ 478963 w 1337274"/>
              <a:gd name="connsiteY81" fmla="*/ 0 h 509892"/>
              <a:gd name="connsiteX82" fmla="*/ 483334 w 1337274"/>
              <a:gd name="connsiteY82" fmla="*/ 0 h 509892"/>
              <a:gd name="connsiteX83" fmla="*/ 483540 w 1337274"/>
              <a:gd name="connsiteY83" fmla="*/ 0 h 509892"/>
              <a:gd name="connsiteX84" fmla="*/ 486857 w 1337274"/>
              <a:gd name="connsiteY84" fmla="*/ 0 h 509892"/>
              <a:gd name="connsiteX85" fmla="*/ 487134 w 1337274"/>
              <a:gd name="connsiteY85" fmla="*/ 0 h 509892"/>
              <a:gd name="connsiteX86" fmla="*/ 488701 w 1337274"/>
              <a:gd name="connsiteY86" fmla="*/ 0 h 509892"/>
              <a:gd name="connsiteX87" fmla="*/ 490136 w 1337274"/>
              <a:gd name="connsiteY87" fmla="*/ 0 h 509892"/>
              <a:gd name="connsiteX88" fmla="*/ 490639 w 1337274"/>
              <a:gd name="connsiteY88" fmla="*/ 0 h 509892"/>
              <a:gd name="connsiteX89" fmla="*/ 491505 w 1337274"/>
              <a:gd name="connsiteY89" fmla="*/ 0 h 509892"/>
              <a:gd name="connsiteX90" fmla="*/ 493443 w 1337274"/>
              <a:gd name="connsiteY90" fmla="*/ 0 h 509892"/>
              <a:gd name="connsiteX91" fmla="*/ 493453 w 1337274"/>
              <a:gd name="connsiteY91" fmla="*/ 0 h 509892"/>
              <a:gd name="connsiteX92" fmla="*/ 495012 w 1337274"/>
              <a:gd name="connsiteY92" fmla="*/ 0 h 509892"/>
              <a:gd name="connsiteX93" fmla="*/ 495628 w 1337274"/>
              <a:gd name="connsiteY93" fmla="*/ 0 h 509892"/>
              <a:gd name="connsiteX94" fmla="*/ 498630 w 1337274"/>
              <a:gd name="connsiteY94" fmla="*/ 0 h 509892"/>
              <a:gd name="connsiteX95" fmla="*/ 499999 w 1337274"/>
              <a:gd name="connsiteY95" fmla="*/ 0 h 509892"/>
              <a:gd name="connsiteX96" fmla="*/ 501937 w 1337274"/>
              <a:gd name="connsiteY96" fmla="*/ 0 h 509892"/>
              <a:gd name="connsiteX97" fmla="*/ 501947 w 1337274"/>
              <a:gd name="connsiteY97" fmla="*/ 0 h 509892"/>
              <a:gd name="connsiteX98" fmla="*/ 502224 w 1337274"/>
              <a:gd name="connsiteY98" fmla="*/ 0 h 509892"/>
              <a:gd name="connsiteX99" fmla="*/ 504471 w 1337274"/>
              <a:gd name="connsiteY99" fmla="*/ 0 h 509892"/>
              <a:gd name="connsiteX100" fmla="*/ 506595 w 1337274"/>
              <a:gd name="connsiteY100" fmla="*/ 0 h 509892"/>
              <a:gd name="connsiteX101" fmla="*/ 506801 w 1337274"/>
              <a:gd name="connsiteY101" fmla="*/ 0 h 509892"/>
              <a:gd name="connsiteX102" fmla="*/ 508534 w 1337274"/>
              <a:gd name="connsiteY102" fmla="*/ 0 h 509892"/>
              <a:gd name="connsiteX103" fmla="*/ 510118 w 1337274"/>
              <a:gd name="connsiteY103" fmla="*/ 0 h 509892"/>
              <a:gd name="connsiteX104" fmla="*/ 512964 w 1337274"/>
              <a:gd name="connsiteY104" fmla="*/ 0 h 509892"/>
              <a:gd name="connsiteX105" fmla="*/ 515294 w 1337274"/>
              <a:gd name="connsiteY105" fmla="*/ 0 h 509892"/>
              <a:gd name="connsiteX106" fmla="*/ 518611 w 1337274"/>
              <a:gd name="connsiteY106" fmla="*/ 0 h 509892"/>
              <a:gd name="connsiteX107" fmla="*/ 519562 w 1337274"/>
              <a:gd name="connsiteY107" fmla="*/ 0 h 509892"/>
              <a:gd name="connsiteX108" fmla="*/ 521890 w 1337274"/>
              <a:gd name="connsiteY108" fmla="*/ 0 h 509892"/>
              <a:gd name="connsiteX109" fmla="*/ 523084 w 1337274"/>
              <a:gd name="connsiteY109" fmla="*/ 0 h 509892"/>
              <a:gd name="connsiteX110" fmla="*/ 525198 w 1337274"/>
              <a:gd name="connsiteY110" fmla="*/ 0 h 509892"/>
              <a:gd name="connsiteX111" fmla="*/ 525208 w 1337274"/>
              <a:gd name="connsiteY111" fmla="*/ 0 h 509892"/>
              <a:gd name="connsiteX112" fmla="*/ 527455 w 1337274"/>
              <a:gd name="connsiteY112" fmla="*/ 0 h 509892"/>
              <a:gd name="connsiteX113" fmla="*/ 531064 w 1337274"/>
              <a:gd name="connsiteY113" fmla="*/ 0 h 509892"/>
              <a:gd name="connsiteX114" fmla="*/ 531075 w 1337274"/>
              <a:gd name="connsiteY114" fmla="*/ 0 h 509892"/>
              <a:gd name="connsiteX115" fmla="*/ 531578 w 1337274"/>
              <a:gd name="connsiteY115" fmla="*/ 0 h 509892"/>
              <a:gd name="connsiteX116" fmla="*/ 534382 w 1337274"/>
              <a:gd name="connsiteY116" fmla="*/ 0 h 509892"/>
              <a:gd name="connsiteX117" fmla="*/ 535949 w 1337274"/>
              <a:gd name="connsiteY117" fmla="*/ 0 h 509892"/>
              <a:gd name="connsiteX118" fmla="*/ 536226 w 1337274"/>
              <a:gd name="connsiteY118" fmla="*/ 0 h 509892"/>
              <a:gd name="connsiteX119" fmla="*/ 537660 w 1337274"/>
              <a:gd name="connsiteY119" fmla="*/ 0 h 509892"/>
              <a:gd name="connsiteX120" fmla="*/ 538165 w 1337274"/>
              <a:gd name="connsiteY120" fmla="*/ 0 h 509892"/>
              <a:gd name="connsiteX121" fmla="*/ 538174 w 1337274"/>
              <a:gd name="connsiteY121" fmla="*/ 0 h 509892"/>
              <a:gd name="connsiteX122" fmla="*/ 540978 w 1337274"/>
              <a:gd name="connsiteY122" fmla="*/ 0 h 509892"/>
              <a:gd name="connsiteX123" fmla="*/ 542535 w 1337274"/>
              <a:gd name="connsiteY123" fmla="*/ 0 h 509892"/>
              <a:gd name="connsiteX124" fmla="*/ 542546 w 1337274"/>
              <a:gd name="connsiteY124" fmla="*/ 0 h 509892"/>
              <a:gd name="connsiteX125" fmla="*/ 546154 w 1337274"/>
              <a:gd name="connsiteY125" fmla="*/ 0 h 509892"/>
              <a:gd name="connsiteX126" fmla="*/ 547739 w 1337274"/>
              <a:gd name="connsiteY126" fmla="*/ 0 h 509892"/>
              <a:gd name="connsiteX127" fmla="*/ 549472 w 1337274"/>
              <a:gd name="connsiteY127" fmla="*/ 0 h 509892"/>
              <a:gd name="connsiteX128" fmla="*/ 549676 w 1337274"/>
              <a:gd name="connsiteY128" fmla="*/ 0 h 509892"/>
              <a:gd name="connsiteX129" fmla="*/ 554048 w 1337274"/>
              <a:gd name="connsiteY129" fmla="*/ 0 h 509892"/>
              <a:gd name="connsiteX130" fmla="*/ 554324 w 1337274"/>
              <a:gd name="connsiteY130" fmla="*/ 0 h 509892"/>
              <a:gd name="connsiteX131" fmla="*/ 554335 w 1337274"/>
              <a:gd name="connsiteY131" fmla="*/ 0 h 509892"/>
              <a:gd name="connsiteX132" fmla="*/ 554839 w 1337274"/>
              <a:gd name="connsiteY132" fmla="*/ 0 h 509892"/>
              <a:gd name="connsiteX133" fmla="*/ 556274 w 1337274"/>
              <a:gd name="connsiteY133" fmla="*/ 0 h 509892"/>
              <a:gd name="connsiteX134" fmla="*/ 557643 w 1337274"/>
              <a:gd name="connsiteY134" fmla="*/ 0 h 509892"/>
              <a:gd name="connsiteX135" fmla="*/ 559210 w 1337274"/>
              <a:gd name="connsiteY135" fmla="*/ 0 h 509892"/>
              <a:gd name="connsiteX136" fmla="*/ 560645 w 1337274"/>
              <a:gd name="connsiteY136" fmla="*/ 0 h 509892"/>
              <a:gd name="connsiteX137" fmla="*/ 561148 w 1337274"/>
              <a:gd name="connsiteY137" fmla="*/ 0 h 509892"/>
              <a:gd name="connsiteX138" fmla="*/ 562818 w 1337274"/>
              <a:gd name="connsiteY138" fmla="*/ 0 h 509892"/>
              <a:gd name="connsiteX139" fmla="*/ 562829 w 1337274"/>
              <a:gd name="connsiteY139" fmla="*/ 0 h 509892"/>
              <a:gd name="connsiteX140" fmla="*/ 564768 w 1337274"/>
              <a:gd name="connsiteY140" fmla="*/ 0 h 509892"/>
              <a:gd name="connsiteX141" fmla="*/ 566136 w 1337274"/>
              <a:gd name="connsiteY141" fmla="*/ 0 h 509892"/>
              <a:gd name="connsiteX142" fmla="*/ 569138 w 1337274"/>
              <a:gd name="connsiteY142" fmla="*/ 0 h 509892"/>
              <a:gd name="connsiteX143" fmla="*/ 569414 w 1337274"/>
              <a:gd name="connsiteY143" fmla="*/ 0 h 509892"/>
              <a:gd name="connsiteX144" fmla="*/ 570609 w 1337274"/>
              <a:gd name="connsiteY144" fmla="*/ 0 h 509892"/>
              <a:gd name="connsiteX145" fmla="*/ 572733 w 1337274"/>
              <a:gd name="connsiteY145" fmla="*/ 0 h 509892"/>
              <a:gd name="connsiteX146" fmla="*/ 572937 w 1337274"/>
              <a:gd name="connsiteY146" fmla="*/ 0 h 509892"/>
              <a:gd name="connsiteX147" fmla="*/ 574979 w 1337274"/>
              <a:gd name="connsiteY147" fmla="*/ 0 h 509892"/>
              <a:gd name="connsiteX148" fmla="*/ 577309 w 1337274"/>
              <a:gd name="connsiteY148" fmla="*/ 0 h 509892"/>
              <a:gd name="connsiteX149" fmla="*/ 578599 w 1337274"/>
              <a:gd name="connsiteY149" fmla="*/ 0 h 509892"/>
              <a:gd name="connsiteX150" fmla="*/ 579103 w 1337274"/>
              <a:gd name="connsiteY150" fmla="*/ 0 h 509892"/>
              <a:gd name="connsiteX151" fmla="*/ 581431 w 1337274"/>
              <a:gd name="connsiteY151" fmla="*/ 0 h 509892"/>
              <a:gd name="connsiteX152" fmla="*/ 583473 w 1337274"/>
              <a:gd name="connsiteY152" fmla="*/ 0 h 509892"/>
              <a:gd name="connsiteX153" fmla="*/ 585699 w 1337274"/>
              <a:gd name="connsiteY153" fmla="*/ 0 h 509892"/>
              <a:gd name="connsiteX154" fmla="*/ 585803 w 1337274"/>
              <a:gd name="connsiteY154" fmla="*/ 0 h 509892"/>
              <a:gd name="connsiteX155" fmla="*/ 588028 w 1337274"/>
              <a:gd name="connsiteY155" fmla="*/ 0 h 509892"/>
              <a:gd name="connsiteX156" fmla="*/ 590070 w 1337274"/>
              <a:gd name="connsiteY156" fmla="*/ 0 h 509892"/>
              <a:gd name="connsiteX157" fmla="*/ 590276 w 1337274"/>
              <a:gd name="connsiteY157" fmla="*/ 0 h 509892"/>
              <a:gd name="connsiteX158" fmla="*/ 592399 w 1337274"/>
              <a:gd name="connsiteY158" fmla="*/ 0 h 509892"/>
              <a:gd name="connsiteX159" fmla="*/ 593593 w 1337274"/>
              <a:gd name="connsiteY159" fmla="*/ 0 h 509892"/>
              <a:gd name="connsiteX160" fmla="*/ 595263 w 1337274"/>
              <a:gd name="connsiteY160" fmla="*/ 0 h 509892"/>
              <a:gd name="connsiteX161" fmla="*/ 597201 w 1337274"/>
              <a:gd name="connsiteY161" fmla="*/ 0 h 509892"/>
              <a:gd name="connsiteX162" fmla="*/ 597211 w 1337274"/>
              <a:gd name="connsiteY162" fmla="*/ 0 h 509892"/>
              <a:gd name="connsiteX163" fmla="*/ 598770 w 1337274"/>
              <a:gd name="connsiteY163" fmla="*/ 0 h 509892"/>
              <a:gd name="connsiteX164" fmla="*/ 601572 w 1337274"/>
              <a:gd name="connsiteY164" fmla="*/ 0 h 509892"/>
              <a:gd name="connsiteX165" fmla="*/ 601583 w 1337274"/>
              <a:gd name="connsiteY165" fmla="*/ 0 h 509892"/>
              <a:gd name="connsiteX166" fmla="*/ 601859 w 1337274"/>
              <a:gd name="connsiteY166" fmla="*/ 0 h 509892"/>
              <a:gd name="connsiteX167" fmla="*/ 602087 w 1337274"/>
              <a:gd name="connsiteY167" fmla="*/ 0 h 509892"/>
              <a:gd name="connsiteX168" fmla="*/ 602364 w 1337274"/>
              <a:gd name="connsiteY168" fmla="*/ 0 h 509892"/>
              <a:gd name="connsiteX169" fmla="*/ 603799 w 1337274"/>
              <a:gd name="connsiteY169" fmla="*/ 0 h 509892"/>
              <a:gd name="connsiteX170" fmla="*/ 605366 w 1337274"/>
              <a:gd name="connsiteY170" fmla="*/ 0 h 509892"/>
              <a:gd name="connsiteX171" fmla="*/ 606735 w 1337274"/>
              <a:gd name="connsiteY171" fmla="*/ 0 h 509892"/>
              <a:gd name="connsiteX172" fmla="*/ 608169 w 1337274"/>
              <a:gd name="connsiteY172" fmla="*/ 0 h 509892"/>
              <a:gd name="connsiteX173" fmla="*/ 608673 w 1337274"/>
              <a:gd name="connsiteY173" fmla="*/ 0 h 509892"/>
              <a:gd name="connsiteX174" fmla="*/ 608683 w 1337274"/>
              <a:gd name="connsiteY174" fmla="*/ 0 h 509892"/>
              <a:gd name="connsiteX175" fmla="*/ 610353 w 1337274"/>
              <a:gd name="connsiteY175" fmla="*/ 0 h 509892"/>
              <a:gd name="connsiteX176" fmla="*/ 612293 w 1337274"/>
              <a:gd name="connsiteY176" fmla="*/ 0 h 509892"/>
              <a:gd name="connsiteX177" fmla="*/ 613876 w 1337274"/>
              <a:gd name="connsiteY177" fmla="*/ 0 h 509892"/>
              <a:gd name="connsiteX178" fmla="*/ 616662 w 1337274"/>
              <a:gd name="connsiteY178" fmla="*/ 0 h 509892"/>
              <a:gd name="connsiteX179" fmla="*/ 618248 w 1337274"/>
              <a:gd name="connsiteY179" fmla="*/ 0 h 509892"/>
              <a:gd name="connsiteX180" fmla="*/ 620185 w 1337274"/>
              <a:gd name="connsiteY180" fmla="*/ 0 h 509892"/>
              <a:gd name="connsiteX181" fmla="*/ 620462 w 1337274"/>
              <a:gd name="connsiteY181" fmla="*/ 0 h 509892"/>
              <a:gd name="connsiteX182" fmla="*/ 620472 w 1337274"/>
              <a:gd name="connsiteY182" fmla="*/ 0 h 509892"/>
              <a:gd name="connsiteX183" fmla="*/ 622030 w 1337274"/>
              <a:gd name="connsiteY183" fmla="*/ 0 h 509892"/>
              <a:gd name="connsiteX184" fmla="*/ 624833 w 1337274"/>
              <a:gd name="connsiteY184" fmla="*/ 0 h 509892"/>
              <a:gd name="connsiteX185" fmla="*/ 624844 w 1337274"/>
              <a:gd name="connsiteY185" fmla="*/ 0 h 509892"/>
              <a:gd name="connsiteX186" fmla="*/ 625347 w 1337274"/>
              <a:gd name="connsiteY186" fmla="*/ 0 h 509892"/>
              <a:gd name="connsiteX187" fmla="*/ 626782 w 1337274"/>
              <a:gd name="connsiteY187" fmla="*/ 0 h 509892"/>
              <a:gd name="connsiteX188" fmla="*/ 628956 w 1337274"/>
              <a:gd name="connsiteY188" fmla="*/ 0 h 509892"/>
              <a:gd name="connsiteX189" fmla="*/ 628966 w 1337274"/>
              <a:gd name="connsiteY189" fmla="*/ 0 h 509892"/>
              <a:gd name="connsiteX190" fmla="*/ 631213 w 1337274"/>
              <a:gd name="connsiteY190" fmla="*/ 0 h 509892"/>
              <a:gd name="connsiteX191" fmla="*/ 633327 w 1337274"/>
              <a:gd name="connsiteY191" fmla="*/ 0 h 509892"/>
              <a:gd name="connsiteX192" fmla="*/ 633338 w 1337274"/>
              <a:gd name="connsiteY192" fmla="*/ 0 h 509892"/>
              <a:gd name="connsiteX193" fmla="*/ 635276 w 1337274"/>
              <a:gd name="connsiteY193" fmla="*/ 0 h 509892"/>
              <a:gd name="connsiteX194" fmla="*/ 635553 w 1337274"/>
              <a:gd name="connsiteY194" fmla="*/ 0 h 509892"/>
              <a:gd name="connsiteX195" fmla="*/ 637800 w 1337274"/>
              <a:gd name="connsiteY195" fmla="*/ 0 h 509892"/>
              <a:gd name="connsiteX196" fmla="*/ 637811 w 1337274"/>
              <a:gd name="connsiteY196" fmla="*/ 0 h 509892"/>
              <a:gd name="connsiteX197" fmla="*/ 639923 w 1337274"/>
              <a:gd name="connsiteY197" fmla="*/ 0 h 509892"/>
              <a:gd name="connsiteX198" fmla="*/ 641118 w 1337274"/>
              <a:gd name="connsiteY198" fmla="*/ 0 h 509892"/>
              <a:gd name="connsiteX199" fmla="*/ 643446 w 1337274"/>
              <a:gd name="connsiteY199" fmla="*/ 0 h 509892"/>
              <a:gd name="connsiteX200" fmla="*/ 644736 w 1337274"/>
              <a:gd name="connsiteY200" fmla="*/ 0 h 509892"/>
              <a:gd name="connsiteX201" fmla="*/ 646293 w 1337274"/>
              <a:gd name="connsiteY201" fmla="*/ 0 h 509892"/>
              <a:gd name="connsiteX202" fmla="*/ 646304 w 1337274"/>
              <a:gd name="connsiteY202" fmla="*/ 0 h 509892"/>
              <a:gd name="connsiteX203" fmla="*/ 649107 w 1337274"/>
              <a:gd name="connsiteY203" fmla="*/ 0 h 509892"/>
              <a:gd name="connsiteX204" fmla="*/ 649612 w 1337274"/>
              <a:gd name="connsiteY204" fmla="*/ 0 h 509892"/>
              <a:gd name="connsiteX205" fmla="*/ 651940 w 1337274"/>
              <a:gd name="connsiteY205" fmla="*/ 0 h 509892"/>
              <a:gd name="connsiteX206" fmla="*/ 652890 w 1337274"/>
              <a:gd name="connsiteY206" fmla="*/ 0 h 509892"/>
              <a:gd name="connsiteX207" fmla="*/ 654474 w 1337274"/>
              <a:gd name="connsiteY207" fmla="*/ 0 h 509892"/>
              <a:gd name="connsiteX208" fmla="*/ 656208 w 1337274"/>
              <a:gd name="connsiteY208" fmla="*/ 0 h 509892"/>
              <a:gd name="connsiteX209" fmla="*/ 656412 w 1337274"/>
              <a:gd name="connsiteY209" fmla="*/ 0 h 509892"/>
              <a:gd name="connsiteX210" fmla="*/ 658537 w 1337274"/>
              <a:gd name="connsiteY210" fmla="*/ 0 h 509892"/>
              <a:gd name="connsiteX211" fmla="*/ 660785 w 1337274"/>
              <a:gd name="connsiteY211" fmla="*/ 0 h 509892"/>
              <a:gd name="connsiteX212" fmla="*/ 661401 w 1337274"/>
              <a:gd name="connsiteY212" fmla="*/ 0 h 509892"/>
              <a:gd name="connsiteX213" fmla="*/ 662968 w 1337274"/>
              <a:gd name="connsiteY213" fmla="*/ 0 h 509892"/>
              <a:gd name="connsiteX214" fmla="*/ 664403 w 1337274"/>
              <a:gd name="connsiteY214" fmla="*/ 0 h 509892"/>
              <a:gd name="connsiteX215" fmla="*/ 664906 w 1337274"/>
              <a:gd name="connsiteY215" fmla="*/ 0 h 509892"/>
              <a:gd name="connsiteX216" fmla="*/ 665772 w 1337274"/>
              <a:gd name="connsiteY216" fmla="*/ 0 h 509892"/>
              <a:gd name="connsiteX217" fmla="*/ 667710 w 1337274"/>
              <a:gd name="connsiteY217" fmla="*/ 0 h 509892"/>
              <a:gd name="connsiteX218" fmla="*/ 667720 w 1337274"/>
              <a:gd name="connsiteY218" fmla="*/ 0 h 509892"/>
              <a:gd name="connsiteX219" fmla="*/ 667997 w 1337274"/>
              <a:gd name="connsiteY219" fmla="*/ 0 h 509892"/>
              <a:gd name="connsiteX220" fmla="*/ 669278 w 1337274"/>
              <a:gd name="connsiteY220" fmla="*/ 0 h 509892"/>
              <a:gd name="connsiteX221" fmla="*/ 669554 w 1337274"/>
              <a:gd name="connsiteY221" fmla="*/ 0 h 509892"/>
              <a:gd name="connsiteX222" fmla="*/ 669565 w 1337274"/>
              <a:gd name="connsiteY222" fmla="*/ 0 h 509892"/>
              <a:gd name="connsiteX223" fmla="*/ 671502 w 1337274"/>
              <a:gd name="connsiteY223" fmla="*/ 0 h 509892"/>
              <a:gd name="connsiteX224" fmla="*/ 672368 w 1337274"/>
              <a:gd name="connsiteY224" fmla="*/ 0 h 509892"/>
              <a:gd name="connsiteX225" fmla="*/ 672872 w 1337274"/>
              <a:gd name="connsiteY225" fmla="*/ 0 h 509892"/>
              <a:gd name="connsiteX226" fmla="*/ 674307 w 1337274"/>
              <a:gd name="connsiteY226" fmla="*/ 0 h 509892"/>
              <a:gd name="connsiteX227" fmla="*/ 675874 w 1337274"/>
              <a:gd name="connsiteY227" fmla="*/ 0 h 509892"/>
              <a:gd name="connsiteX228" fmla="*/ 676491 w 1337274"/>
              <a:gd name="connsiteY228" fmla="*/ 0 h 509892"/>
              <a:gd name="connsiteX229" fmla="*/ 678737 w 1337274"/>
              <a:gd name="connsiteY229" fmla="*/ 0 h 509892"/>
              <a:gd name="connsiteX230" fmla="*/ 680862 w 1337274"/>
              <a:gd name="connsiteY230" fmla="*/ 0 h 509892"/>
              <a:gd name="connsiteX231" fmla="*/ 681067 w 1337274"/>
              <a:gd name="connsiteY231" fmla="*/ 0 h 509892"/>
              <a:gd name="connsiteX232" fmla="*/ 682801 w 1337274"/>
              <a:gd name="connsiteY232" fmla="*/ 0 h 509892"/>
              <a:gd name="connsiteX233" fmla="*/ 684384 w 1337274"/>
              <a:gd name="connsiteY233" fmla="*/ 0 h 509892"/>
              <a:gd name="connsiteX234" fmla="*/ 685335 w 1337274"/>
              <a:gd name="connsiteY234" fmla="*/ 0 h 509892"/>
              <a:gd name="connsiteX235" fmla="*/ 687663 w 1337274"/>
              <a:gd name="connsiteY235" fmla="*/ 0 h 509892"/>
              <a:gd name="connsiteX236" fmla="*/ 688167 w 1337274"/>
              <a:gd name="connsiteY236" fmla="*/ 0 h 509892"/>
              <a:gd name="connsiteX237" fmla="*/ 690971 w 1337274"/>
              <a:gd name="connsiteY237" fmla="*/ 0 h 509892"/>
              <a:gd name="connsiteX238" fmla="*/ 690981 w 1337274"/>
              <a:gd name="connsiteY238" fmla="*/ 0 h 509892"/>
              <a:gd name="connsiteX239" fmla="*/ 692539 w 1337274"/>
              <a:gd name="connsiteY239" fmla="*/ 0 h 509892"/>
              <a:gd name="connsiteX240" fmla="*/ 693828 w 1337274"/>
              <a:gd name="connsiteY240" fmla="*/ 0 h 509892"/>
              <a:gd name="connsiteX241" fmla="*/ 696157 w 1337274"/>
              <a:gd name="connsiteY241" fmla="*/ 0 h 509892"/>
              <a:gd name="connsiteX242" fmla="*/ 697351 w 1337274"/>
              <a:gd name="connsiteY242" fmla="*/ 0 h 509892"/>
              <a:gd name="connsiteX243" fmla="*/ 699465 w 1337274"/>
              <a:gd name="connsiteY243" fmla="*/ 0 h 509892"/>
              <a:gd name="connsiteX244" fmla="*/ 699474 w 1337274"/>
              <a:gd name="connsiteY244" fmla="*/ 0 h 509892"/>
              <a:gd name="connsiteX245" fmla="*/ 701722 w 1337274"/>
              <a:gd name="connsiteY245" fmla="*/ 0 h 509892"/>
              <a:gd name="connsiteX246" fmla="*/ 701999 w 1337274"/>
              <a:gd name="connsiteY246" fmla="*/ 0 h 509892"/>
              <a:gd name="connsiteX247" fmla="*/ 703938 w 1337274"/>
              <a:gd name="connsiteY247" fmla="*/ 0 h 509892"/>
              <a:gd name="connsiteX248" fmla="*/ 703947 w 1337274"/>
              <a:gd name="connsiteY248" fmla="*/ 0 h 509892"/>
              <a:gd name="connsiteX249" fmla="*/ 706062 w 1337274"/>
              <a:gd name="connsiteY249" fmla="*/ 0 h 509892"/>
              <a:gd name="connsiteX250" fmla="*/ 708308 w 1337274"/>
              <a:gd name="connsiteY250" fmla="*/ 0 h 509892"/>
              <a:gd name="connsiteX251" fmla="*/ 708319 w 1337274"/>
              <a:gd name="connsiteY251" fmla="*/ 0 h 509892"/>
              <a:gd name="connsiteX252" fmla="*/ 710493 w 1337274"/>
              <a:gd name="connsiteY252" fmla="*/ 0 h 509892"/>
              <a:gd name="connsiteX253" fmla="*/ 711927 w 1337274"/>
              <a:gd name="connsiteY253" fmla="*/ 0 h 509892"/>
              <a:gd name="connsiteX254" fmla="*/ 712431 w 1337274"/>
              <a:gd name="connsiteY254" fmla="*/ 0 h 509892"/>
              <a:gd name="connsiteX255" fmla="*/ 712441 w 1337274"/>
              <a:gd name="connsiteY255" fmla="*/ 0 h 509892"/>
              <a:gd name="connsiteX256" fmla="*/ 715245 w 1337274"/>
              <a:gd name="connsiteY256" fmla="*/ 0 h 509892"/>
              <a:gd name="connsiteX257" fmla="*/ 716802 w 1337274"/>
              <a:gd name="connsiteY257" fmla="*/ 0 h 509892"/>
              <a:gd name="connsiteX258" fmla="*/ 716813 w 1337274"/>
              <a:gd name="connsiteY258" fmla="*/ 0 h 509892"/>
              <a:gd name="connsiteX259" fmla="*/ 717089 w 1337274"/>
              <a:gd name="connsiteY259" fmla="*/ 0 h 509892"/>
              <a:gd name="connsiteX260" fmla="*/ 719027 w 1337274"/>
              <a:gd name="connsiteY260" fmla="*/ 0 h 509892"/>
              <a:gd name="connsiteX261" fmla="*/ 720612 w 1337274"/>
              <a:gd name="connsiteY261" fmla="*/ 0 h 509892"/>
              <a:gd name="connsiteX262" fmla="*/ 723398 w 1337274"/>
              <a:gd name="connsiteY262" fmla="*/ 0 h 509892"/>
              <a:gd name="connsiteX263" fmla="*/ 724983 w 1337274"/>
              <a:gd name="connsiteY263" fmla="*/ 0 h 509892"/>
              <a:gd name="connsiteX264" fmla="*/ 726921 w 1337274"/>
              <a:gd name="connsiteY264" fmla="*/ 0 h 509892"/>
              <a:gd name="connsiteX265" fmla="*/ 728591 w 1337274"/>
              <a:gd name="connsiteY265" fmla="*/ 0 h 509892"/>
              <a:gd name="connsiteX266" fmla="*/ 728602 w 1337274"/>
              <a:gd name="connsiteY266" fmla="*/ 0 h 509892"/>
              <a:gd name="connsiteX267" fmla="*/ 729106 w 1337274"/>
              <a:gd name="connsiteY267" fmla="*/ 0 h 509892"/>
              <a:gd name="connsiteX268" fmla="*/ 730541 w 1337274"/>
              <a:gd name="connsiteY268" fmla="*/ 0 h 509892"/>
              <a:gd name="connsiteX269" fmla="*/ 731909 w 1337274"/>
              <a:gd name="connsiteY269" fmla="*/ 0 h 509892"/>
              <a:gd name="connsiteX270" fmla="*/ 733476 w 1337274"/>
              <a:gd name="connsiteY270" fmla="*/ 0 h 509892"/>
              <a:gd name="connsiteX271" fmla="*/ 734911 w 1337274"/>
              <a:gd name="connsiteY271" fmla="*/ 0 h 509892"/>
              <a:gd name="connsiteX272" fmla="*/ 735187 w 1337274"/>
              <a:gd name="connsiteY272" fmla="*/ 0 h 509892"/>
              <a:gd name="connsiteX273" fmla="*/ 735415 w 1337274"/>
              <a:gd name="connsiteY273" fmla="*/ 0 h 509892"/>
              <a:gd name="connsiteX274" fmla="*/ 735692 w 1337274"/>
              <a:gd name="connsiteY274" fmla="*/ 0 h 509892"/>
              <a:gd name="connsiteX275" fmla="*/ 735702 w 1337274"/>
              <a:gd name="connsiteY275" fmla="*/ 0 h 509892"/>
              <a:gd name="connsiteX276" fmla="*/ 738506 w 1337274"/>
              <a:gd name="connsiteY276" fmla="*/ 0 h 509892"/>
              <a:gd name="connsiteX277" fmla="*/ 740063 w 1337274"/>
              <a:gd name="connsiteY277" fmla="*/ 0 h 509892"/>
              <a:gd name="connsiteX278" fmla="*/ 740074 w 1337274"/>
              <a:gd name="connsiteY278" fmla="*/ 0 h 509892"/>
              <a:gd name="connsiteX279" fmla="*/ 742011 w 1337274"/>
              <a:gd name="connsiteY279" fmla="*/ 0 h 509892"/>
              <a:gd name="connsiteX280" fmla="*/ 743681 w 1337274"/>
              <a:gd name="connsiteY280" fmla="*/ 0 h 509892"/>
              <a:gd name="connsiteX281" fmla="*/ 744876 w 1337274"/>
              <a:gd name="connsiteY281" fmla="*/ 0 h 509892"/>
              <a:gd name="connsiteX282" fmla="*/ 746999 w 1337274"/>
              <a:gd name="connsiteY282" fmla="*/ 0 h 509892"/>
              <a:gd name="connsiteX283" fmla="*/ 747204 w 1337274"/>
              <a:gd name="connsiteY283" fmla="*/ 0 h 509892"/>
              <a:gd name="connsiteX284" fmla="*/ 749246 w 1337274"/>
              <a:gd name="connsiteY284" fmla="*/ 0 h 509892"/>
              <a:gd name="connsiteX285" fmla="*/ 751472 w 1337274"/>
              <a:gd name="connsiteY285" fmla="*/ 0 h 509892"/>
              <a:gd name="connsiteX286" fmla="*/ 751576 w 1337274"/>
              <a:gd name="connsiteY286" fmla="*/ 0 h 509892"/>
              <a:gd name="connsiteX287" fmla="*/ 753801 w 1337274"/>
              <a:gd name="connsiteY287" fmla="*/ 0 h 509892"/>
              <a:gd name="connsiteX288" fmla="*/ 755843 w 1337274"/>
              <a:gd name="connsiteY288" fmla="*/ 0 h 509892"/>
              <a:gd name="connsiteX289" fmla="*/ 758172 w 1337274"/>
              <a:gd name="connsiteY289" fmla="*/ 0 h 509892"/>
              <a:gd name="connsiteX290" fmla="*/ 758676 w 1337274"/>
              <a:gd name="connsiteY290" fmla="*/ 0 h 509892"/>
              <a:gd name="connsiteX291" fmla="*/ 759966 w 1337274"/>
              <a:gd name="connsiteY291" fmla="*/ 0 h 509892"/>
              <a:gd name="connsiteX292" fmla="*/ 762295 w 1337274"/>
              <a:gd name="connsiteY292" fmla="*/ 0 h 509892"/>
              <a:gd name="connsiteX293" fmla="*/ 764337 w 1337274"/>
              <a:gd name="connsiteY293" fmla="*/ 0 h 509892"/>
              <a:gd name="connsiteX294" fmla="*/ 764543 w 1337274"/>
              <a:gd name="connsiteY294" fmla="*/ 0 h 509892"/>
              <a:gd name="connsiteX295" fmla="*/ 766666 w 1337274"/>
              <a:gd name="connsiteY295" fmla="*/ 0 h 509892"/>
              <a:gd name="connsiteX296" fmla="*/ 767860 w 1337274"/>
              <a:gd name="connsiteY296" fmla="*/ 0 h 509892"/>
              <a:gd name="connsiteX297" fmla="*/ 768137 w 1337274"/>
              <a:gd name="connsiteY297" fmla="*/ 0 h 509892"/>
              <a:gd name="connsiteX298" fmla="*/ 771139 w 1337274"/>
              <a:gd name="connsiteY298" fmla="*/ 0 h 509892"/>
              <a:gd name="connsiteX299" fmla="*/ 772508 w 1337274"/>
              <a:gd name="connsiteY299" fmla="*/ 0 h 509892"/>
              <a:gd name="connsiteX300" fmla="*/ 774446 w 1337274"/>
              <a:gd name="connsiteY300" fmla="*/ 0 h 509892"/>
              <a:gd name="connsiteX301" fmla="*/ 774456 w 1337274"/>
              <a:gd name="connsiteY301" fmla="*/ 0 h 509892"/>
              <a:gd name="connsiteX302" fmla="*/ 776126 w 1337274"/>
              <a:gd name="connsiteY302" fmla="*/ 0 h 509892"/>
              <a:gd name="connsiteX303" fmla="*/ 776631 w 1337274"/>
              <a:gd name="connsiteY303" fmla="*/ 0 h 509892"/>
              <a:gd name="connsiteX304" fmla="*/ 778066 w 1337274"/>
              <a:gd name="connsiteY304" fmla="*/ 0 h 509892"/>
              <a:gd name="connsiteX305" fmla="*/ 779633 w 1337274"/>
              <a:gd name="connsiteY305" fmla="*/ 0 h 509892"/>
              <a:gd name="connsiteX306" fmla="*/ 781001 w 1337274"/>
              <a:gd name="connsiteY306" fmla="*/ 0 h 509892"/>
              <a:gd name="connsiteX307" fmla="*/ 782435 w 1337274"/>
              <a:gd name="connsiteY307" fmla="*/ 0 h 509892"/>
              <a:gd name="connsiteX308" fmla="*/ 782940 w 1337274"/>
              <a:gd name="connsiteY308" fmla="*/ 0 h 509892"/>
              <a:gd name="connsiteX309" fmla="*/ 782950 w 1337274"/>
              <a:gd name="connsiteY309" fmla="*/ 0 h 509892"/>
              <a:gd name="connsiteX310" fmla="*/ 783227 w 1337274"/>
              <a:gd name="connsiteY310" fmla="*/ 0 h 509892"/>
              <a:gd name="connsiteX311" fmla="*/ 787598 w 1337274"/>
              <a:gd name="connsiteY311" fmla="*/ 0 h 509892"/>
              <a:gd name="connsiteX312" fmla="*/ 787803 w 1337274"/>
              <a:gd name="connsiteY312" fmla="*/ 0 h 509892"/>
              <a:gd name="connsiteX313" fmla="*/ 789536 w 1337274"/>
              <a:gd name="connsiteY313" fmla="*/ 0 h 509892"/>
              <a:gd name="connsiteX314" fmla="*/ 791120 w 1337274"/>
              <a:gd name="connsiteY314" fmla="*/ 0 h 509892"/>
              <a:gd name="connsiteX315" fmla="*/ 794729 w 1337274"/>
              <a:gd name="connsiteY315" fmla="*/ 0 h 509892"/>
              <a:gd name="connsiteX316" fmla="*/ 794739 w 1337274"/>
              <a:gd name="connsiteY316" fmla="*/ 0 h 509892"/>
              <a:gd name="connsiteX317" fmla="*/ 796297 w 1337274"/>
              <a:gd name="connsiteY317" fmla="*/ 0 h 509892"/>
              <a:gd name="connsiteX318" fmla="*/ 799100 w 1337274"/>
              <a:gd name="connsiteY318" fmla="*/ 0 h 509892"/>
              <a:gd name="connsiteX319" fmla="*/ 799111 w 1337274"/>
              <a:gd name="connsiteY319" fmla="*/ 0 h 509892"/>
              <a:gd name="connsiteX320" fmla="*/ 799614 w 1337274"/>
              <a:gd name="connsiteY320" fmla="*/ 0 h 509892"/>
              <a:gd name="connsiteX321" fmla="*/ 801049 w 1337274"/>
              <a:gd name="connsiteY321" fmla="*/ 0 h 509892"/>
              <a:gd name="connsiteX322" fmla="*/ 801326 w 1337274"/>
              <a:gd name="connsiteY322" fmla="*/ 0 h 509892"/>
              <a:gd name="connsiteX323" fmla="*/ 802893 w 1337274"/>
              <a:gd name="connsiteY323" fmla="*/ 0 h 509892"/>
              <a:gd name="connsiteX324" fmla="*/ 805696 w 1337274"/>
              <a:gd name="connsiteY324" fmla="*/ 0 h 509892"/>
              <a:gd name="connsiteX325" fmla="*/ 806201 w 1337274"/>
              <a:gd name="connsiteY325" fmla="*/ 0 h 509892"/>
              <a:gd name="connsiteX326" fmla="*/ 806210 w 1337274"/>
              <a:gd name="connsiteY326" fmla="*/ 0 h 509892"/>
              <a:gd name="connsiteX327" fmla="*/ 809820 w 1337274"/>
              <a:gd name="connsiteY327" fmla="*/ 0 h 509892"/>
              <a:gd name="connsiteX328" fmla="*/ 812066 w 1337274"/>
              <a:gd name="connsiteY328" fmla="*/ 0 h 509892"/>
              <a:gd name="connsiteX329" fmla="*/ 812077 w 1337274"/>
              <a:gd name="connsiteY329" fmla="*/ 0 h 509892"/>
              <a:gd name="connsiteX330" fmla="*/ 814190 w 1337274"/>
              <a:gd name="connsiteY330" fmla="*/ 0 h 509892"/>
              <a:gd name="connsiteX331" fmla="*/ 815385 w 1337274"/>
              <a:gd name="connsiteY331" fmla="*/ 0 h 509892"/>
              <a:gd name="connsiteX332" fmla="*/ 817713 w 1337274"/>
              <a:gd name="connsiteY332" fmla="*/ 0 h 509892"/>
              <a:gd name="connsiteX333" fmla="*/ 818663 w 1337274"/>
              <a:gd name="connsiteY333" fmla="*/ 0 h 509892"/>
              <a:gd name="connsiteX334" fmla="*/ 821981 w 1337274"/>
              <a:gd name="connsiteY334" fmla="*/ 0 h 509892"/>
              <a:gd name="connsiteX335" fmla="*/ 824310 w 1337274"/>
              <a:gd name="connsiteY335" fmla="*/ 0 h 509892"/>
              <a:gd name="connsiteX336" fmla="*/ 827156 w 1337274"/>
              <a:gd name="connsiteY336" fmla="*/ 0 h 509892"/>
              <a:gd name="connsiteX337" fmla="*/ 828741 w 1337274"/>
              <a:gd name="connsiteY337" fmla="*/ 0 h 509892"/>
              <a:gd name="connsiteX338" fmla="*/ 830475 w 1337274"/>
              <a:gd name="connsiteY338" fmla="*/ 0 h 509892"/>
              <a:gd name="connsiteX339" fmla="*/ 830679 w 1337274"/>
              <a:gd name="connsiteY339" fmla="*/ 0 h 509892"/>
              <a:gd name="connsiteX340" fmla="*/ 832804 w 1337274"/>
              <a:gd name="connsiteY340" fmla="*/ 0 h 509892"/>
              <a:gd name="connsiteX341" fmla="*/ 835051 w 1337274"/>
              <a:gd name="connsiteY341" fmla="*/ 0 h 509892"/>
              <a:gd name="connsiteX342" fmla="*/ 835327 w 1337274"/>
              <a:gd name="connsiteY342" fmla="*/ 0 h 509892"/>
              <a:gd name="connsiteX343" fmla="*/ 835338 w 1337274"/>
              <a:gd name="connsiteY343" fmla="*/ 0 h 509892"/>
              <a:gd name="connsiteX344" fmla="*/ 837275 w 1337274"/>
              <a:gd name="connsiteY344" fmla="*/ 0 h 509892"/>
              <a:gd name="connsiteX345" fmla="*/ 838645 w 1337274"/>
              <a:gd name="connsiteY345" fmla="*/ 0 h 509892"/>
              <a:gd name="connsiteX346" fmla="*/ 841647 w 1337274"/>
              <a:gd name="connsiteY346" fmla="*/ 0 h 509892"/>
              <a:gd name="connsiteX347" fmla="*/ 842264 w 1337274"/>
              <a:gd name="connsiteY347" fmla="*/ 0 h 509892"/>
              <a:gd name="connsiteX348" fmla="*/ 843821 w 1337274"/>
              <a:gd name="connsiteY348" fmla="*/ 0 h 509892"/>
              <a:gd name="connsiteX349" fmla="*/ 843832 w 1337274"/>
              <a:gd name="connsiteY349" fmla="*/ 0 h 509892"/>
              <a:gd name="connsiteX350" fmla="*/ 845769 w 1337274"/>
              <a:gd name="connsiteY350" fmla="*/ 0 h 509892"/>
              <a:gd name="connsiteX351" fmla="*/ 846635 w 1337274"/>
              <a:gd name="connsiteY351" fmla="*/ 0 h 509892"/>
              <a:gd name="connsiteX352" fmla="*/ 847139 w 1337274"/>
              <a:gd name="connsiteY352" fmla="*/ 0 h 509892"/>
              <a:gd name="connsiteX353" fmla="*/ 848574 w 1337274"/>
              <a:gd name="connsiteY353" fmla="*/ 0 h 509892"/>
              <a:gd name="connsiteX354" fmla="*/ 850141 w 1337274"/>
              <a:gd name="connsiteY354" fmla="*/ 0 h 509892"/>
              <a:gd name="connsiteX355" fmla="*/ 850417 w 1337274"/>
              <a:gd name="connsiteY355" fmla="*/ 0 h 509892"/>
              <a:gd name="connsiteX356" fmla="*/ 853735 w 1337274"/>
              <a:gd name="connsiteY356" fmla="*/ 0 h 509892"/>
              <a:gd name="connsiteX357" fmla="*/ 853940 w 1337274"/>
              <a:gd name="connsiteY357" fmla="*/ 0 h 509892"/>
              <a:gd name="connsiteX358" fmla="*/ 858312 w 1337274"/>
              <a:gd name="connsiteY358" fmla="*/ 0 h 509892"/>
              <a:gd name="connsiteX359" fmla="*/ 859601 w 1337274"/>
              <a:gd name="connsiteY359" fmla="*/ 0 h 509892"/>
              <a:gd name="connsiteX360" fmla="*/ 861930 w 1337274"/>
              <a:gd name="connsiteY360" fmla="*/ 0 h 509892"/>
              <a:gd name="connsiteX361" fmla="*/ 862434 w 1337274"/>
              <a:gd name="connsiteY361" fmla="*/ 0 h 509892"/>
              <a:gd name="connsiteX362" fmla="*/ 865238 w 1337274"/>
              <a:gd name="connsiteY362" fmla="*/ 0 h 509892"/>
              <a:gd name="connsiteX363" fmla="*/ 865247 w 1337274"/>
              <a:gd name="connsiteY363" fmla="*/ 0 h 509892"/>
              <a:gd name="connsiteX364" fmla="*/ 866806 w 1337274"/>
              <a:gd name="connsiteY364" fmla="*/ 0 h 509892"/>
              <a:gd name="connsiteX365" fmla="*/ 869030 w 1337274"/>
              <a:gd name="connsiteY365" fmla="*/ 0 h 509892"/>
              <a:gd name="connsiteX366" fmla="*/ 871835 w 1337274"/>
              <a:gd name="connsiteY366" fmla="*/ 0 h 509892"/>
              <a:gd name="connsiteX367" fmla="*/ 873402 w 1337274"/>
              <a:gd name="connsiteY367" fmla="*/ 0 h 509892"/>
              <a:gd name="connsiteX368" fmla="*/ 876266 w 1337274"/>
              <a:gd name="connsiteY368" fmla="*/ 0 h 509892"/>
              <a:gd name="connsiteX369" fmla="*/ 878204 w 1337274"/>
              <a:gd name="connsiteY369" fmla="*/ 0 h 509892"/>
              <a:gd name="connsiteX370" fmla="*/ 878214 w 1337274"/>
              <a:gd name="connsiteY370" fmla="*/ 0 h 509892"/>
              <a:gd name="connsiteX371" fmla="*/ 880329 w 1337274"/>
              <a:gd name="connsiteY371" fmla="*/ 0 h 509892"/>
              <a:gd name="connsiteX372" fmla="*/ 882575 w 1337274"/>
              <a:gd name="connsiteY372" fmla="*/ 0 h 509892"/>
              <a:gd name="connsiteX373" fmla="*/ 882586 w 1337274"/>
              <a:gd name="connsiteY373" fmla="*/ 0 h 509892"/>
              <a:gd name="connsiteX374" fmla="*/ 882862 w 1337274"/>
              <a:gd name="connsiteY374" fmla="*/ 0 h 509892"/>
              <a:gd name="connsiteX375" fmla="*/ 884800 w 1337274"/>
              <a:gd name="connsiteY375" fmla="*/ 0 h 509892"/>
              <a:gd name="connsiteX376" fmla="*/ 889171 w 1337274"/>
              <a:gd name="connsiteY376" fmla="*/ 0 h 509892"/>
              <a:gd name="connsiteX377" fmla="*/ 891356 w 1337274"/>
              <a:gd name="connsiteY377" fmla="*/ 0 h 509892"/>
              <a:gd name="connsiteX378" fmla="*/ 893294 w 1337274"/>
              <a:gd name="connsiteY378" fmla="*/ 0 h 509892"/>
              <a:gd name="connsiteX379" fmla="*/ 894879 w 1337274"/>
              <a:gd name="connsiteY379" fmla="*/ 0 h 509892"/>
              <a:gd name="connsiteX380" fmla="*/ 897665 w 1337274"/>
              <a:gd name="connsiteY380" fmla="*/ 0 h 509892"/>
              <a:gd name="connsiteX381" fmla="*/ 899249 w 1337274"/>
              <a:gd name="connsiteY381" fmla="*/ 0 h 509892"/>
              <a:gd name="connsiteX382" fmla="*/ 901188 w 1337274"/>
              <a:gd name="connsiteY382" fmla="*/ 0 h 509892"/>
              <a:gd name="connsiteX383" fmla="*/ 901465 w 1337274"/>
              <a:gd name="connsiteY383" fmla="*/ 0 h 509892"/>
              <a:gd name="connsiteX384" fmla="*/ 901475 w 1337274"/>
              <a:gd name="connsiteY384" fmla="*/ 0 h 509892"/>
              <a:gd name="connsiteX385" fmla="*/ 905836 w 1337274"/>
              <a:gd name="connsiteY385" fmla="*/ 0 h 509892"/>
              <a:gd name="connsiteX386" fmla="*/ 905847 w 1337274"/>
              <a:gd name="connsiteY386" fmla="*/ 0 h 509892"/>
              <a:gd name="connsiteX387" fmla="*/ 907784 w 1337274"/>
              <a:gd name="connsiteY387" fmla="*/ 0 h 509892"/>
              <a:gd name="connsiteX388" fmla="*/ 909454 w 1337274"/>
              <a:gd name="connsiteY388" fmla="*/ 0 h 509892"/>
              <a:gd name="connsiteX389" fmla="*/ 909959 w 1337274"/>
              <a:gd name="connsiteY389" fmla="*/ 0 h 509892"/>
              <a:gd name="connsiteX390" fmla="*/ 909968 w 1337274"/>
              <a:gd name="connsiteY390" fmla="*/ 0 h 509892"/>
              <a:gd name="connsiteX391" fmla="*/ 912772 w 1337274"/>
              <a:gd name="connsiteY391" fmla="*/ 0 h 509892"/>
              <a:gd name="connsiteX392" fmla="*/ 914330 w 1337274"/>
              <a:gd name="connsiteY392" fmla="*/ 0 h 509892"/>
              <a:gd name="connsiteX393" fmla="*/ 914341 w 1337274"/>
              <a:gd name="connsiteY393" fmla="*/ 0 h 509892"/>
              <a:gd name="connsiteX394" fmla="*/ 916278 w 1337274"/>
              <a:gd name="connsiteY394" fmla="*/ 0 h 509892"/>
              <a:gd name="connsiteX395" fmla="*/ 916555 w 1337274"/>
              <a:gd name="connsiteY395" fmla="*/ 0 h 509892"/>
              <a:gd name="connsiteX396" fmla="*/ 924449 w 1337274"/>
              <a:gd name="connsiteY396" fmla="*/ 0 h 509892"/>
              <a:gd name="connsiteX397" fmla="*/ 925739 w 1337274"/>
              <a:gd name="connsiteY397" fmla="*/ 0 h 509892"/>
              <a:gd name="connsiteX398" fmla="*/ 928068 w 1337274"/>
              <a:gd name="connsiteY398" fmla="*/ 0 h 509892"/>
              <a:gd name="connsiteX399" fmla="*/ 930110 w 1337274"/>
              <a:gd name="connsiteY399" fmla="*/ 0 h 509892"/>
              <a:gd name="connsiteX400" fmla="*/ 932439 w 1337274"/>
              <a:gd name="connsiteY400" fmla="*/ 0 h 509892"/>
              <a:gd name="connsiteX401" fmla="*/ 942404 w 1337274"/>
              <a:gd name="connsiteY401" fmla="*/ 0 h 509892"/>
              <a:gd name="connsiteX402" fmla="*/ 945406 w 1337274"/>
              <a:gd name="connsiteY402" fmla="*/ 0 h 509892"/>
              <a:gd name="connsiteX403" fmla="*/ 946774 w 1337274"/>
              <a:gd name="connsiteY403" fmla="*/ 0 h 509892"/>
              <a:gd name="connsiteX404" fmla="*/ 948713 w 1337274"/>
              <a:gd name="connsiteY404" fmla="*/ 0 h 509892"/>
              <a:gd name="connsiteX405" fmla="*/ 948723 w 1337274"/>
              <a:gd name="connsiteY405" fmla="*/ 0 h 509892"/>
              <a:gd name="connsiteX406" fmla="*/ 949000 w 1337274"/>
              <a:gd name="connsiteY406" fmla="*/ 0 h 509892"/>
              <a:gd name="connsiteX407" fmla="*/ 953371 w 1337274"/>
              <a:gd name="connsiteY407" fmla="*/ 0 h 509892"/>
              <a:gd name="connsiteX408" fmla="*/ 955309 w 1337274"/>
              <a:gd name="connsiteY408" fmla="*/ 0 h 509892"/>
              <a:gd name="connsiteX409" fmla="*/ 962070 w 1337274"/>
              <a:gd name="connsiteY409" fmla="*/ 0 h 509892"/>
              <a:gd name="connsiteX410" fmla="*/ 965387 w 1337274"/>
              <a:gd name="connsiteY410" fmla="*/ 0 h 509892"/>
              <a:gd name="connsiteX411" fmla="*/ 968666 w 1337274"/>
              <a:gd name="connsiteY411" fmla="*/ 0 h 509892"/>
              <a:gd name="connsiteX412" fmla="*/ 971974 w 1337274"/>
              <a:gd name="connsiteY412" fmla="*/ 0 h 509892"/>
              <a:gd name="connsiteX413" fmla="*/ 971983 w 1337274"/>
              <a:gd name="connsiteY413" fmla="*/ 0 h 509892"/>
              <a:gd name="connsiteX414" fmla="*/ 975593 w 1337274"/>
              <a:gd name="connsiteY414" fmla="*/ 0 h 509892"/>
              <a:gd name="connsiteX415" fmla="*/ 979963 w 1337274"/>
              <a:gd name="connsiteY415" fmla="*/ 0 h 509892"/>
              <a:gd name="connsiteX416" fmla="*/ 992929 w 1337274"/>
              <a:gd name="connsiteY416" fmla="*/ 0 h 509892"/>
              <a:gd name="connsiteX417" fmla="*/ 996248 w 1337274"/>
              <a:gd name="connsiteY417" fmla="*/ 0 h 509892"/>
              <a:gd name="connsiteX418" fmla="*/ 998577 w 1337274"/>
              <a:gd name="connsiteY418" fmla="*/ 0 h 509892"/>
              <a:gd name="connsiteX419" fmla="*/ 1009594 w 1337274"/>
              <a:gd name="connsiteY419" fmla="*/ 0 h 509892"/>
              <a:gd name="connsiteX420" fmla="*/ 1009605 w 1337274"/>
              <a:gd name="connsiteY420" fmla="*/ 0 h 509892"/>
              <a:gd name="connsiteX421" fmla="*/ 1011542 w 1337274"/>
              <a:gd name="connsiteY421" fmla="*/ 0 h 509892"/>
              <a:gd name="connsiteX422" fmla="*/ 1012912 w 1337274"/>
              <a:gd name="connsiteY422" fmla="*/ 0 h 509892"/>
              <a:gd name="connsiteX423" fmla="*/ 1015914 w 1337274"/>
              <a:gd name="connsiteY423" fmla="*/ 0 h 509892"/>
              <a:gd name="connsiteX424" fmla="*/ 1016190 w 1337274"/>
              <a:gd name="connsiteY424" fmla="*/ 0 h 509892"/>
              <a:gd name="connsiteX425" fmla="*/ 1019508 w 1337274"/>
              <a:gd name="connsiteY425" fmla="*/ 0 h 509892"/>
              <a:gd name="connsiteX426" fmla="*/ 1028207 w 1337274"/>
              <a:gd name="connsiteY426" fmla="*/ 0 h 509892"/>
              <a:gd name="connsiteX427" fmla="*/ 1032579 w 1337274"/>
              <a:gd name="connsiteY427" fmla="*/ 0 h 509892"/>
              <a:gd name="connsiteX428" fmla="*/ 1034803 w 1337274"/>
              <a:gd name="connsiteY428" fmla="*/ 0 h 509892"/>
              <a:gd name="connsiteX429" fmla="*/ 1039175 w 1337274"/>
              <a:gd name="connsiteY429" fmla="*/ 0 h 509892"/>
              <a:gd name="connsiteX430" fmla="*/ 1046102 w 1337274"/>
              <a:gd name="connsiteY430" fmla="*/ 0 h 509892"/>
              <a:gd name="connsiteX431" fmla="*/ 1057129 w 1337274"/>
              <a:gd name="connsiteY431" fmla="*/ 0 h 509892"/>
              <a:gd name="connsiteX432" fmla="*/ 1059067 w 1337274"/>
              <a:gd name="connsiteY432" fmla="*/ 0 h 509892"/>
              <a:gd name="connsiteX433" fmla="*/ 1063438 w 1337274"/>
              <a:gd name="connsiteY433" fmla="*/ 0 h 509892"/>
              <a:gd name="connsiteX434" fmla="*/ 1075732 w 1337274"/>
              <a:gd name="connsiteY434" fmla="*/ 0 h 509892"/>
              <a:gd name="connsiteX435" fmla="*/ 1075741 w 1337274"/>
              <a:gd name="connsiteY435" fmla="*/ 0 h 509892"/>
              <a:gd name="connsiteX436" fmla="*/ 1080103 w 1337274"/>
              <a:gd name="connsiteY436" fmla="*/ 0 h 509892"/>
              <a:gd name="connsiteX437" fmla="*/ 1080114 w 1337274"/>
              <a:gd name="connsiteY437" fmla="*/ 0 h 509892"/>
              <a:gd name="connsiteX438" fmla="*/ 1082051 w 1337274"/>
              <a:gd name="connsiteY438" fmla="*/ 0 h 509892"/>
              <a:gd name="connsiteX439" fmla="*/ 1082328 w 1337274"/>
              <a:gd name="connsiteY439" fmla="*/ 0 h 509892"/>
              <a:gd name="connsiteX440" fmla="*/ 1337274 w 1337274"/>
              <a:gd name="connsiteY440" fmla="*/ 254947 h 509892"/>
              <a:gd name="connsiteX441" fmla="*/ 1337273 w 1337274"/>
              <a:gd name="connsiteY441" fmla="*/ 254947 h 509892"/>
              <a:gd name="connsiteX442" fmla="*/ 1082328 w 1337274"/>
              <a:gd name="connsiteY442" fmla="*/ 509892 h 509892"/>
              <a:gd name="connsiteX443" fmla="*/ 1080115 w 1337274"/>
              <a:gd name="connsiteY443" fmla="*/ 509892 h 509892"/>
              <a:gd name="connsiteX444" fmla="*/ 1080112 w 1337274"/>
              <a:gd name="connsiteY444" fmla="*/ 509892 h 509892"/>
              <a:gd name="connsiteX445" fmla="*/ 1080103 w 1337274"/>
              <a:gd name="connsiteY445" fmla="*/ 509892 h 509892"/>
              <a:gd name="connsiteX446" fmla="*/ 1080102 w 1337274"/>
              <a:gd name="connsiteY446" fmla="*/ 509892 h 509892"/>
              <a:gd name="connsiteX447" fmla="*/ 1075744 w 1337274"/>
              <a:gd name="connsiteY447" fmla="*/ 509892 h 509892"/>
              <a:gd name="connsiteX448" fmla="*/ 1075740 w 1337274"/>
              <a:gd name="connsiteY448" fmla="*/ 509892 h 509892"/>
              <a:gd name="connsiteX449" fmla="*/ 1075731 w 1337274"/>
              <a:gd name="connsiteY449" fmla="*/ 509892 h 509892"/>
              <a:gd name="connsiteX450" fmla="*/ 1057129 w 1337274"/>
              <a:gd name="connsiteY450" fmla="*/ 509892 h 509892"/>
              <a:gd name="connsiteX451" fmla="*/ 1057128 w 1337274"/>
              <a:gd name="connsiteY451" fmla="*/ 509892 h 509892"/>
              <a:gd name="connsiteX452" fmla="*/ 1046101 w 1337274"/>
              <a:gd name="connsiteY452" fmla="*/ 509892 h 509892"/>
              <a:gd name="connsiteX453" fmla="*/ 1039177 w 1337274"/>
              <a:gd name="connsiteY453" fmla="*/ 509892 h 509892"/>
              <a:gd name="connsiteX454" fmla="*/ 1039174 w 1337274"/>
              <a:gd name="connsiteY454" fmla="*/ 509892 h 509892"/>
              <a:gd name="connsiteX455" fmla="*/ 1034805 w 1337274"/>
              <a:gd name="connsiteY455" fmla="*/ 509892 h 509892"/>
              <a:gd name="connsiteX456" fmla="*/ 1034803 w 1337274"/>
              <a:gd name="connsiteY456" fmla="*/ 509892 h 509892"/>
              <a:gd name="connsiteX457" fmla="*/ 1032580 w 1337274"/>
              <a:gd name="connsiteY457" fmla="*/ 509892 h 509892"/>
              <a:gd name="connsiteX458" fmla="*/ 1032578 w 1337274"/>
              <a:gd name="connsiteY458" fmla="*/ 509892 h 509892"/>
              <a:gd name="connsiteX459" fmla="*/ 1028209 w 1337274"/>
              <a:gd name="connsiteY459" fmla="*/ 509892 h 509892"/>
              <a:gd name="connsiteX460" fmla="*/ 1028206 w 1337274"/>
              <a:gd name="connsiteY460" fmla="*/ 509892 h 509892"/>
              <a:gd name="connsiteX461" fmla="*/ 1019508 w 1337274"/>
              <a:gd name="connsiteY461" fmla="*/ 509892 h 509892"/>
              <a:gd name="connsiteX462" fmla="*/ 1019507 w 1337274"/>
              <a:gd name="connsiteY462" fmla="*/ 509892 h 509892"/>
              <a:gd name="connsiteX463" fmla="*/ 1016190 w 1337274"/>
              <a:gd name="connsiteY463" fmla="*/ 509892 h 509892"/>
              <a:gd name="connsiteX464" fmla="*/ 1016189 w 1337274"/>
              <a:gd name="connsiteY464" fmla="*/ 509892 h 509892"/>
              <a:gd name="connsiteX465" fmla="*/ 1012912 w 1337274"/>
              <a:gd name="connsiteY465" fmla="*/ 509892 h 509892"/>
              <a:gd name="connsiteX466" fmla="*/ 1012911 w 1337274"/>
              <a:gd name="connsiteY466" fmla="*/ 509892 h 509892"/>
              <a:gd name="connsiteX467" fmla="*/ 1009606 w 1337274"/>
              <a:gd name="connsiteY467" fmla="*/ 509892 h 509892"/>
              <a:gd name="connsiteX468" fmla="*/ 1009604 w 1337274"/>
              <a:gd name="connsiteY468" fmla="*/ 509892 h 509892"/>
              <a:gd name="connsiteX469" fmla="*/ 1009594 w 1337274"/>
              <a:gd name="connsiteY469" fmla="*/ 509892 h 509892"/>
              <a:gd name="connsiteX470" fmla="*/ 1009593 w 1337274"/>
              <a:gd name="connsiteY470" fmla="*/ 509892 h 509892"/>
              <a:gd name="connsiteX471" fmla="*/ 998578 w 1337274"/>
              <a:gd name="connsiteY471" fmla="*/ 509892 h 509892"/>
              <a:gd name="connsiteX472" fmla="*/ 998576 w 1337274"/>
              <a:gd name="connsiteY472" fmla="*/ 509892 h 509892"/>
              <a:gd name="connsiteX473" fmla="*/ 979963 w 1337274"/>
              <a:gd name="connsiteY473" fmla="*/ 509892 h 509892"/>
              <a:gd name="connsiteX474" fmla="*/ 975592 w 1337274"/>
              <a:gd name="connsiteY474" fmla="*/ 509892 h 509892"/>
              <a:gd name="connsiteX475" fmla="*/ 971986 w 1337274"/>
              <a:gd name="connsiteY475" fmla="*/ 509892 h 509892"/>
              <a:gd name="connsiteX476" fmla="*/ 971982 w 1337274"/>
              <a:gd name="connsiteY476" fmla="*/ 509892 h 509892"/>
              <a:gd name="connsiteX477" fmla="*/ 971973 w 1337274"/>
              <a:gd name="connsiteY477" fmla="*/ 509892 h 509892"/>
              <a:gd name="connsiteX478" fmla="*/ 968668 w 1337274"/>
              <a:gd name="connsiteY478" fmla="*/ 509892 h 509892"/>
              <a:gd name="connsiteX479" fmla="*/ 968665 w 1337274"/>
              <a:gd name="connsiteY479" fmla="*/ 509892 h 509892"/>
              <a:gd name="connsiteX480" fmla="*/ 965388 w 1337274"/>
              <a:gd name="connsiteY480" fmla="*/ 509892 h 509892"/>
              <a:gd name="connsiteX481" fmla="*/ 965386 w 1337274"/>
              <a:gd name="connsiteY481" fmla="*/ 509892 h 509892"/>
              <a:gd name="connsiteX482" fmla="*/ 962071 w 1337274"/>
              <a:gd name="connsiteY482" fmla="*/ 509892 h 509892"/>
              <a:gd name="connsiteX483" fmla="*/ 962069 w 1337274"/>
              <a:gd name="connsiteY483" fmla="*/ 509892 h 509892"/>
              <a:gd name="connsiteX484" fmla="*/ 953371 w 1337274"/>
              <a:gd name="connsiteY484" fmla="*/ 509892 h 509892"/>
              <a:gd name="connsiteX485" fmla="*/ 953370 w 1337274"/>
              <a:gd name="connsiteY485" fmla="*/ 509892 h 509892"/>
              <a:gd name="connsiteX486" fmla="*/ 949000 w 1337274"/>
              <a:gd name="connsiteY486" fmla="*/ 509892 h 509892"/>
              <a:gd name="connsiteX487" fmla="*/ 948999 w 1337274"/>
              <a:gd name="connsiteY487" fmla="*/ 509892 h 509892"/>
              <a:gd name="connsiteX488" fmla="*/ 946774 w 1337274"/>
              <a:gd name="connsiteY488" fmla="*/ 509892 h 509892"/>
              <a:gd name="connsiteX489" fmla="*/ 946773 w 1337274"/>
              <a:gd name="connsiteY489" fmla="*/ 509892 h 509892"/>
              <a:gd name="connsiteX490" fmla="*/ 942404 w 1337274"/>
              <a:gd name="connsiteY490" fmla="*/ 509892 h 509892"/>
              <a:gd name="connsiteX491" fmla="*/ 942402 w 1337274"/>
              <a:gd name="connsiteY491" fmla="*/ 509892 h 509892"/>
              <a:gd name="connsiteX492" fmla="*/ 932441 w 1337274"/>
              <a:gd name="connsiteY492" fmla="*/ 509892 h 509892"/>
              <a:gd name="connsiteX493" fmla="*/ 932439 w 1337274"/>
              <a:gd name="connsiteY493" fmla="*/ 509892 h 509892"/>
              <a:gd name="connsiteX494" fmla="*/ 928069 w 1337274"/>
              <a:gd name="connsiteY494" fmla="*/ 509892 h 509892"/>
              <a:gd name="connsiteX495" fmla="*/ 928067 w 1337274"/>
              <a:gd name="connsiteY495" fmla="*/ 509892 h 509892"/>
              <a:gd name="connsiteX496" fmla="*/ 924451 w 1337274"/>
              <a:gd name="connsiteY496" fmla="*/ 509892 h 509892"/>
              <a:gd name="connsiteX497" fmla="*/ 924448 w 1337274"/>
              <a:gd name="connsiteY497" fmla="*/ 509892 h 509892"/>
              <a:gd name="connsiteX498" fmla="*/ 916555 w 1337274"/>
              <a:gd name="connsiteY498" fmla="*/ 509892 h 509892"/>
              <a:gd name="connsiteX499" fmla="*/ 914342 w 1337274"/>
              <a:gd name="connsiteY499" fmla="*/ 509892 h 509892"/>
              <a:gd name="connsiteX500" fmla="*/ 914339 w 1337274"/>
              <a:gd name="connsiteY500" fmla="*/ 509892 h 509892"/>
              <a:gd name="connsiteX501" fmla="*/ 914330 w 1337274"/>
              <a:gd name="connsiteY501" fmla="*/ 509892 h 509892"/>
              <a:gd name="connsiteX502" fmla="*/ 914329 w 1337274"/>
              <a:gd name="connsiteY502" fmla="*/ 509892 h 509892"/>
              <a:gd name="connsiteX503" fmla="*/ 912772 w 1337274"/>
              <a:gd name="connsiteY503" fmla="*/ 509892 h 509892"/>
              <a:gd name="connsiteX504" fmla="*/ 909971 w 1337274"/>
              <a:gd name="connsiteY504" fmla="*/ 509892 h 509892"/>
              <a:gd name="connsiteX505" fmla="*/ 909967 w 1337274"/>
              <a:gd name="connsiteY505" fmla="*/ 509892 h 509892"/>
              <a:gd name="connsiteX506" fmla="*/ 909958 w 1337274"/>
              <a:gd name="connsiteY506" fmla="*/ 509892 h 509892"/>
              <a:gd name="connsiteX507" fmla="*/ 909454 w 1337274"/>
              <a:gd name="connsiteY507" fmla="*/ 509892 h 509892"/>
              <a:gd name="connsiteX508" fmla="*/ 905848 w 1337274"/>
              <a:gd name="connsiteY508" fmla="*/ 509892 h 509892"/>
              <a:gd name="connsiteX509" fmla="*/ 905846 w 1337274"/>
              <a:gd name="connsiteY509" fmla="*/ 509892 h 509892"/>
              <a:gd name="connsiteX510" fmla="*/ 905836 w 1337274"/>
              <a:gd name="connsiteY510" fmla="*/ 509892 h 509892"/>
              <a:gd name="connsiteX511" fmla="*/ 905835 w 1337274"/>
              <a:gd name="connsiteY511" fmla="*/ 509892 h 509892"/>
              <a:gd name="connsiteX512" fmla="*/ 901477 w 1337274"/>
              <a:gd name="connsiteY512" fmla="*/ 509892 h 509892"/>
              <a:gd name="connsiteX513" fmla="*/ 901474 w 1337274"/>
              <a:gd name="connsiteY513" fmla="*/ 509892 h 509892"/>
              <a:gd name="connsiteX514" fmla="*/ 901464 w 1337274"/>
              <a:gd name="connsiteY514" fmla="*/ 509892 h 509892"/>
              <a:gd name="connsiteX515" fmla="*/ 899251 w 1337274"/>
              <a:gd name="connsiteY515" fmla="*/ 509892 h 509892"/>
              <a:gd name="connsiteX516" fmla="*/ 899249 w 1337274"/>
              <a:gd name="connsiteY516" fmla="*/ 509892 h 509892"/>
              <a:gd name="connsiteX517" fmla="*/ 894880 w 1337274"/>
              <a:gd name="connsiteY517" fmla="*/ 509892 h 509892"/>
              <a:gd name="connsiteX518" fmla="*/ 894877 w 1337274"/>
              <a:gd name="connsiteY518" fmla="*/ 509892 h 509892"/>
              <a:gd name="connsiteX519" fmla="*/ 891356 w 1337274"/>
              <a:gd name="connsiteY519" fmla="*/ 509892 h 509892"/>
              <a:gd name="connsiteX520" fmla="*/ 891355 w 1337274"/>
              <a:gd name="connsiteY520" fmla="*/ 509892 h 509892"/>
              <a:gd name="connsiteX521" fmla="*/ 882862 w 1337274"/>
              <a:gd name="connsiteY521" fmla="*/ 509892 h 509892"/>
              <a:gd name="connsiteX522" fmla="*/ 882861 w 1337274"/>
              <a:gd name="connsiteY522" fmla="*/ 509892 h 509892"/>
              <a:gd name="connsiteX523" fmla="*/ 880328 w 1337274"/>
              <a:gd name="connsiteY523" fmla="*/ 509892 h 509892"/>
              <a:gd name="connsiteX524" fmla="*/ 876266 w 1337274"/>
              <a:gd name="connsiteY524" fmla="*/ 509892 h 509892"/>
              <a:gd name="connsiteX525" fmla="*/ 876265 w 1337274"/>
              <a:gd name="connsiteY525" fmla="*/ 509892 h 509892"/>
              <a:gd name="connsiteX526" fmla="*/ 873404 w 1337274"/>
              <a:gd name="connsiteY526" fmla="*/ 509892 h 509892"/>
              <a:gd name="connsiteX527" fmla="*/ 873401 w 1337274"/>
              <a:gd name="connsiteY527" fmla="*/ 509892 h 509892"/>
              <a:gd name="connsiteX528" fmla="*/ 871834 w 1337274"/>
              <a:gd name="connsiteY528" fmla="*/ 509892 h 509892"/>
              <a:gd name="connsiteX529" fmla="*/ 869032 w 1337274"/>
              <a:gd name="connsiteY529" fmla="*/ 509892 h 509892"/>
              <a:gd name="connsiteX530" fmla="*/ 869030 w 1337274"/>
              <a:gd name="connsiteY530" fmla="*/ 509892 h 509892"/>
              <a:gd name="connsiteX531" fmla="*/ 866807 w 1337274"/>
              <a:gd name="connsiteY531" fmla="*/ 509892 h 509892"/>
              <a:gd name="connsiteX532" fmla="*/ 866805 w 1337274"/>
              <a:gd name="connsiteY532" fmla="*/ 509892 h 509892"/>
              <a:gd name="connsiteX533" fmla="*/ 865250 w 1337274"/>
              <a:gd name="connsiteY533" fmla="*/ 509892 h 509892"/>
              <a:gd name="connsiteX534" fmla="*/ 865247 w 1337274"/>
              <a:gd name="connsiteY534" fmla="*/ 509892 h 509892"/>
              <a:gd name="connsiteX535" fmla="*/ 865237 w 1337274"/>
              <a:gd name="connsiteY535" fmla="*/ 509892 h 509892"/>
              <a:gd name="connsiteX536" fmla="*/ 862436 w 1337274"/>
              <a:gd name="connsiteY536" fmla="*/ 509892 h 509892"/>
              <a:gd name="connsiteX537" fmla="*/ 862433 w 1337274"/>
              <a:gd name="connsiteY537" fmla="*/ 509892 h 509892"/>
              <a:gd name="connsiteX538" fmla="*/ 861932 w 1337274"/>
              <a:gd name="connsiteY538" fmla="*/ 509892 h 509892"/>
              <a:gd name="connsiteX539" fmla="*/ 861930 w 1337274"/>
              <a:gd name="connsiteY539" fmla="*/ 509892 h 509892"/>
              <a:gd name="connsiteX540" fmla="*/ 858313 w 1337274"/>
              <a:gd name="connsiteY540" fmla="*/ 509892 h 509892"/>
              <a:gd name="connsiteX541" fmla="*/ 858311 w 1337274"/>
              <a:gd name="connsiteY541" fmla="*/ 509892 h 509892"/>
              <a:gd name="connsiteX542" fmla="*/ 853942 w 1337274"/>
              <a:gd name="connsiteY542" fmla="*/ 509892 h 509892"/>
              <a:gd name="connsiteX543" fmla="*/ 853939 w 1337274"/>
              <a:gd name="connsiteY543" fmla="*/ 509892 h 509892"/>
              <a:gd name="connsiteX544" fmla="*/ 853735 w 1337274"/>
              <a:gd name="connsiteY544" fmla="*/ 509892 h 509892"/>
              <a:gd name="connsiteX545" fmla="*/ 853734 w 1337274"/>
              <a:gd name="connsiteY545" fmla="*/ 509892 h 509892"/>
              <a:gd name="connsiteX546" fmla="*/ 850417 w 1337274"/>
              <a:gd name="connsiteY546" fmla="*/ 509892 h 509892"/>
              <a:gd name="connsiteX547" fmla="*/ 850416 w 1337274"/>
              <a:gd name="connsiteY547" fmla="*/ 509892 h 509892"/>
              <a:gd name="connsiteX548" fmla="*/ 847139 w 1337274"/>
              <a:gd name="connsiteY548" fmla="*/ 509892 h 509892"/>
              <a:gd name="connsiteX549" fmla="*/ 847138 w 1337274"/>
              <a:gd name="connsiteY549" fmla="*/ 509892 h 509892"/>
              <a:gd name="connsiteX550" fmla="*/ 846635 w 1337274"/>
              <a:gd name="connsiteY550" fmla="*/ 509892 h 509892"/>
              <a:gd name="connsiteX551" fmla="*/ 846634 w 1337274"/>
              <a:gd name="connsiteY551" fmla="*/ 509892 h 509892"/>
              <a:gd name="connsiteX552" fmla="*/ 843833 w 1337274"/>
              <a:gd name="connsiteY552" fmla="*/ 509892 h 509892"/>
              <a:gd name="connsiteX553" fmla="*/ 843831 w 1337274"/>
              <a:gd name="connsiteY553" fmla="*/ 509892 h 509892"/>
              <a:gd name="connsiteX554" fmla="*/ 843821 w 1337274"/>
              <a:gd name="connsiteY554" fmla="*/ 509892 h 509892"/>
              <a:gd name="connsiteX555" fmla="*/ 843820 w 1337274"/>
              <a:gd name="connsiteY555" fmla="*/ 509892 h 509892"/>
              <a:gd name="connsiteX556" fmla="*/ 842264 w 1337274"/>
              <a:gd name="connsiteY556" fmla="*/ 509892 h 509892"/>
              <a:gd name="connsiteX557" fmla="*/ 838645 w 1337274"/>
              <a:gd name="connsiteY557" fmla="*/ 509892 h 509892"/>
              <a:gd name="connsiteX558" fmla="*/ 838644 w 1337274"/>
              <a:gd name="connsiteY558" fmla="*/ 509892 h 509892"/>
              <a:gd name="connsiteX559" fmla="*/ 835339 w 1337274"/>
              <a:gd name="connsiteY559" fmla="*/ 509892 h 509892"/>
              <a:gd name="connsiteX560" fmla="*/ 835337 w 1337274"/>
              <a:gd name="connsiteY560" fmla="*/ 509892 h 509892"/>
              <a:gd name="connsiteX561" fmla="*/ 835327 w 1337274"/>
              <a:gd name="connsiteY561" fmla="*/ 509892 h 509892"/>
              <a:gd name="connsiteX562" fmla="*/ 835326 w 1337274"/>
              <a:gd name="connsiteY562" fmla="*/ 509892 h 509892"/>
              <a:gd name="connsiteX563" fmla="*/ 832805 w 1337274"/>
              <a:gd name="connsiteY563" fmla="*/ 509892 h 509892"/>
              <a:gd name="connsiteX564" fmla="*/ 832803 w 1337274"/>
              <a:gd name="connsiteY564" fmla="*/ 509892 h 509892"/>
              <a:gd name="connsiteX565" fmla="*/ 828742 w 1337274"/>
              <a:gd name="connsiteY565" fmla="*/ 509892 h 509892"/>
              <a:gd name="connsiteX566" fmla="*/ 828741 w 1337274"/>
              <a:gd name="connsiteY566" fmla="*/ 509892 h 509892"/>
              <a:gd name="connsiteX567" fmla="*/ 824311 w 1337274"/>
              <a:gd name="connsiteY567" fmla="*/ 509892 h 509892"/>
              <a:gd name="connsiteX568" fmla="*/ 824309 w 1337274"/>
              <a:gd name="connsiteY568" fmla="*/ 509892 h 509892"/>
              <a:gd name="connsiteX569" fmla="*/ 817715 w 1337274"/>
              <a:gd name="connsiteY569" fmla="*/ 509892 h 509892"/>
              <a:gd name="connsiteX570" fmla="*/ 817712 w 1337274"/>
              <a:gd name="connsiteY570" fmla="*/ 509892 h 509892"/>
              <a:gd name="connsiteX571" fmla="*/ 814190 w 1337274"/>
              <a:gd name="connsiteY571" fmla="*/ 509892 h 509892"/>
              <a:gd name="connsiteX572" fmla="*/ 809819 w 1337274"/>
              <a:gd name="connsiteY572" fmla="*/ 509892 h 509892"/>
              <a:gd name="connsiteX573" fmla="*/ 806213 w 1337274"/>
              <a:gd name="connsiteY573" fmla="*/ 509892 h 509892"/>
              <a:gd name="connsiteX574" fmla="*/ 806209 w 1337274"/>
              <a:gd name="connsiteY574" fmla="*/ 509892 h 509892"/>
              <a:gd name="connsiteX575" fmla="*/ 806200 w 1337274"/>
              <a:gd name="connsiteY575" fmla="*/ 509892 h 509892"/>
              <a:gd name="connsiteX576" fmla="*/ 805696 w 1337274"/>
              <a:gd name="connsiteY576" fmla="*/ 509892 h 509892"/>
              <a:gd name="connsiteX577" fmla="*/ 802895 w 1337274"/>
              <a:gd name="connsiteY577" fmla="*/ 509892 h 509892"/>
              <a:gd name="connsiteX578" fmla="*/ 802892 w 1337274"/>
              <a:gd name="connsiteY578" fmla="*/ 509892 h 509892"/>
              <a:gd name="connsiteX579" fmla="*/ 801325 w 1337274"/>
              <a:gd name="connsiteY579" fmla="*/ 509892 h 509892"/>
              <a:gd name="connsiteX580" fmla="*/ 799615 w 1337274"/>
              <a:gd name="connsiteY580" fmla="*/ 509892 h 509892"/>
              <a:gd name="connsiteX581" fmla="*/ 799613 w 1337274"/>
              <a:gd name="connsiteY581" fmla="*/ 509892 h 509892"/>
              <a:gd name="connsiteX582" fmla="*/ 799112 w 1337274"/>
              <a:gd name="connsiteY582" fmla="*/ 509892 h 509892"/>
              <a:gd name="connsiteX583" fmla="*/ 799110 w 1337274"/>
              <a:gd name="connsiteY583" fmla="*/ 509892 h 509892"/>
              <a:gd name="connsiteX584" fmla="*/ 799100 w 1337274"/>
              <a:gd name="connsiteY584" fmla="*/ 509892 h 509892"/>
              <a:gd name="connsiteX585" fmla="*/ 799099 w 1337274"/>
              <a:gd name="connsiteY585" fmla="*/ 509892 h 509892"/>
              <a:gd name="connsiteX586" fmla="*/ 796298 w 1337274"/>
              <a:gd name="connsiteY586" fmla="*/ 509892 h 509892"/>
              <a:gd name="connsiteX587" fmla="*/ 796296 w 1337274"/>
              <a:gd name="connsiteY587" fmla="*/ 509892 h 509892"/>
              <a:gd name="connsiteX588" fmla="*/ 794741 w 1337274"/>
              <a:gd name="connsiteY588" fmla="*/ 509892 h 509892"/>
              <a:gd name="connsiteX589" fmla="*/ 794739 w 1337274"/>
              <a:gd name="connsiteY589" fmla="*/ 509892 h 509892"/>
              <a:gd name="connsiteX590" fmla="*/ 794728 w 1337274"/>
              <a:gd name="connsiteY590" fmla="*/ 509892 h 509892"/>
              <a:gd name="connsiteX591" fmla="*/ 791122 w 1337274"/>
              <a:gd name="connsiteY591" fmla="*/ 509892 h 509892"/>
              <a:gd name="connsiteX592" fmla="*/ 791119 w 1337274"/>
              <a:gd name="connsiteY592" fmla="*/ 509892 h 509892"/>
              <a:gd name="connsiteX593" fmla="*/ 787804 w 1337274"/>
              <a:gd name="connsiteY593" fmla="*/ 509892 h 509892"/>
              <a:gd name="connsiteX594" fmla="*/ 787802 w 1337274"/>
              <a:gd name="connsiteY594" fmla="*/ 509892 h 509892"/>
              <a:gd name="connsiteX595" fmla="*/ 787598 w 1337274"/>
              <a:gd name="connsiteY595" fmla="*/ 509892 h 509892"/>
              <a:gd name="connsiteX596" fmla="*/ 787597 w 1337274"/>
              <a:gd name="connsiteY596" fmla="*/ 509892 h 509892"/>
              <a:gd name="connsiteX597" fmla="*/ 783227 w 1337274"/>
              <a:gd name="connsiteY597" fmla="*/ 509892 h 509892"/>
              <a:gd name="connsiteX598" fmla="*/ 783226 w 1337274"/>
              <a:gd name="connsiteY598" fmla="*/ 509892 h 509892"/>
              <a:gd name="connsiteX599" fmla="*/ 781001 w 1337274"/>
              <a:gd name="connsiteY599" fmla="*/ 509892 h 509892"/>
              <a:gd name="connsiteX600" fmla="*/ 781000 w 1337274"/>
              <a:gd name="connsiteY600" fmla="*/ 509892 h 509892"/>
              <a:gd name="connsiteX601" fmla="*/ 776631 w 1337274"/>
              <a:gd name="connsiteY601" fmla="*/ 509892 h 509892"/>
              <a:gd name="connsiteX602" fmla="*/ 776629 w 1337274"/>
              <a:gd name="connsiteY602" fmla="*/ 509892 h 509892"/>
              <a:gd name="connsiteX603" fmla="*/ 776126 w 1337274"/>
              <a:gd name="connsiteY603" fmla="*/ 509892 h 509892"/>
              <a:gd name="connsiteX604" fmla="*/ 776125 w 1337274"/>
              <a:gd name="connsiteY604" fmla="*/ 509892 h 509892"/>
              <a:gd name="connsiteX605" fmla="*/ 772508 w 1337274"/>
              <a:gd name="connsiteY605" fmla="*/ 509892 h 509892"/>
              <a:gd name="connsiteX606" fmla="*/ 772507 w 1337274"/>
              <a:gd name="connsiteY606" fmla="*/ 509892 h 509892"/>
              <a:gd name="connsiteX607" fmla="*/ 768137 w 1337274"/>
              <a:gd name="connsiteY607" fmla="*/ 509892 h 509892"/>
              <a:gd name="connsiteX608" fmla="*/ 768136 w 1337274"/>
              <a:gd name="connsiteY608" fmla="*/ 509892 h 509892"/>
              <a:gd name="connsiteX609" fmla="*/ 766668 w 1337274"/>
              <a:gd name="connsiteY609" fmla="*/ 509892 h 509892"/>
              <a:gd name="connsiteX610" fmla="*/ 766666 w 1337274"/>
              <a:gd name="connsiteY610" fmla="*/ 509892 h 509892"/>
              <a:gd name="connsiteX611" fmla="*/ 762296 w 1337274"/>
              <a:gd name="connsiteY611" fmla="*/ 509892 h 509892"/>
              <a:gd name="connsiteX612" fmla="*/ 762294 w 1337274"/>
              <a:gd name="connsiteY612" fmla="*/ 509892 h 509892"/>
              <a:gd name="connsiteX613" fmla="*/ 758678 w 1337274"/>
              <a:gd name="connsiteY613" fmla="*/ 509892 h 509892"/>
              <a:gd name="connsiteX614" fmla="*/ 758675 w 1337274"/>
              <a:gd name="connsiteY614" fmla="*/ 509892 h 509892"/>
              <a:gd name="connsiteX615" fmla="*/ 758174 w 1337274"/>
              <a:gd name="connsiteY615" fmla="*/ 509892 h 509892"/>
              <a:gd name="connsiteX616" fmla="*/ 758172 w 1337274"/>
              <a:gd name="connsiteY616" fmla="*/ 509892 h 509892"/>
              <a:gd name="connsiteX617" fmla="*/ 753802 w 1337274"/>
              <a:gd name="connsiteY617" fmla="*/ 509892 h 509892"/>
              <a:gd name="connsiteX618" fmla="*/ 753800 w 1337274"/>
              <a:gd name="connsiteY618" fmla="*/ 509892 h 509892"/>
              <a:gd name="connsiteX619" fmla="*/ 751578 w 1337274"/>
              <a:gd name="connsiteY619" fmla="*/ 509892 h 509892"/>
              <a:gd name="connsiteX620" fmla="*/ 751575 w 1337274"/>
              <a:gd name="connsiteY620" fmla="*/ 509892 h 509892"/>
              <a:gd name="connsiteX621" fmla="*/ 747206 w 1337274"/>
              <a:gd name="connsiteY621" fmla="*/ 509892 h 509892"/>
              <a:gd name="connsiteX622" fmla="*/ 747203 w 1337274"/>
              <a:gd name="connsiteY622" fmla="*/ 509892 h 509892"/>
              <a:gd name="connsiteX623" fmla="*/ 746999 w 1337274"/>
              <a:gd name="connsiteY623" fmla="*/ 509892 h 509892"/>
              <a:gd name="connsiteX624" fmla="*/ 743681 w 1337274"/>
              <a:gd name="connsiteY624" fmla="*/ 509892 h 509892"/>
              <a:gd name="connsiteX625" fmla="*/ 740075 w 1337274"/>
              <a:gd name="connsiteY625" fmla="*/ 509892 h 509892"/>
              <a:gd name="connsiteX626" fmla="*/ 740073 w 1337274"/>
              <a:gd name="connsiteY626" fmla="*/ 509892 h 509892"/>
              <a:gd name="connsiteX627" fmla="*/ 740063 w 1337274"/>
              <a:gd name="connsiteY627" fmla="*/ 509892 h 509892"/>
              <a:gd name="connsiteX628" fmla="*/ 740062 w 1337274"/>
              <a:gd name="connsiteY628" fmla="*/ 509892 h 509892"/>
              <a:gd name="connsiteX629" fmla="*/ 738506 w 1337274"/>
              <a:gd name="connsiteY629" fmla="*/ 509892 h 509892"/>
              <a:gd name="connsiteX630" fmla="*/ 735704 w 1337274"/>
              <a:gd name="connsiteY630" fmla="*/ 509892 h 509892"/>
              <a:gd name="connsiteX631" fmla="*/ 735701 w 1337274"/>
              <a:gd name="connsiteY631" fmla="*/ 509892 h 509892"/>
              <a:gd name="connsiteX632" fmla="*/ 735691 w 1337274"/>
              <a:gd name="connsiteY632" fmla="*/ 509892 h 509892"/>
              <a:gd name="connsiteX633" fmla="*/ 735187 w 1337274"/>
              <a:gd name="connsiteY633" fmla="*/ 509892 h 509892"/>
              <a:gd name="connsiteX634" fmla="*/ 733478 w 1337274"/>
              <a:gd name="connsiteY634" fmla="*/ 509892 h 509892"/>
              <a:gd name="connsiteX635" fmla="*/ 733476 w 1337274"/>
              <a:gd name="connsiteY635" fmla="*/ 509892 h 509892"/>
              <a:gd name="connsiteX636" fmla="*/ 731909 w 1337274"/>
              <a:gd name="connsiteY636" fmla="*/ 509892 h 509892"/>
              <a:gd name="connsiteX637" fmla="*/ 731908 w 1337274"/>
              <a:gd name="connsiteY637" fmla="*/ 509892 h 509892"/>
              <a:gd name="connsiteX638" fmla="*/ 729107 w 1337274"/>
              <a:gd name="connsiteY638" fmla="*/ 509892 h 509892"/>
              <a:gd name="connsiteX639" fmla="*/ 729104 w 1337274"/>
              <a:gd name="connsiteY639" fmla="*/ 509892 h 509892"/>
              <a:gd name="connsiteX640" fmla="*/ 728603 w 1337274"/>
              <a:gd name="connsiteY640" fmla="*/ 509892 h 509892"/>
              <a:gd name="connsiteX641" fmla="*/ 728601 w 1337274"/>
              <a:gd name="connsiteY641" fmla="*/ 509892 h 509892"/>
              <a:gd name="connsiteX642" fmla="*/ 728591 w 1337274"/>
              <a:gd name="connsiteY642" fmla="*/ 509892 h 509892"/>
              <a:gd name="connsiteX643" fmla="*/ 728590 w 1337274"/>
              <a:gd name="connsiteY643" fmla="*/ 509892 h 509892"/>
              <a:gd name="connsiteX644" fmla="*/ 724984 w 1337274"/>
              <a:gd name="connsiteY644" fmla="*/ 509892 h 509892"/>
              <a:gd name="connsiteX645" fmla="*/ 724983 w 1337274"/>
              <a:gd name="connsiteY645" fmla="*/ 509892 h 509892"/>
              <a:gd name="connsiteX646" fmla="*/ 720613 w 1337274"/>
              <a:gd name="connsiteY646" fmla="*/ 509892 h 509892"/>
              <a:gd name="connsiteX647" fmla="*/ 720611 w 1337274"/>
              <a:gd name="connsiteY647" fmla="*/ 509892 h 509892"/>
              <a:gd name="connsiteX648" fmla="*/ 717089 w 1337274"/>
              <a:gd name="connsiteY648" fmla="*/ 509892 h 509892"/>
              <a:gd name="connsiteX649" fmla="*/ 717088 w 1337274"/>
              <a:gd name="connsiteY649" fmla="*/ 509892 h 509892"/>
              <a:gd name="connsiteX650" fmla="*/ 710493 w 1337274"/>
              <a:gd name="connsiteY650" fmla="*/ 509892 h 509892"/>
              <a:gd name="connsiteX651" fmla="*/ 710492 w 1337274"/>
              <a:gd name="connsiteY651" fmla="*/ 509892 h 509892"/>
              <a:gd name="connsiteX652" fmla="*/ 706061 w 1337274"/>
              <a:gd name="connsiteY652" fmla="*/ 509892 h 509892"/>
              <a:gd name="connsiteX653" fmla="*/ 701999 w 1337274"/>
              <a:gd name="connsiteY653" fmla="*/ 509892 h 509892"/>
              <a:gd name="connsiteX654" fmla="*/ 701998 w 1337274"/>
              <a:gd name="connsiteY654" fmla="*/ 509892 h 509892"/>
              <a:gd name="connsiteX655" fmla="*/ 699477 w 1337274"/>
              <a:gd name="connsiteY655" fmla="*/ 509892 h 509892"/>
              <a:gd name="connsiteX656" fmla="*/ 699474 w 1337274"/>
              <a:gd name="connsiteY656" fmla="*/ 509892 h 509892"/>
              <a:gd name="connsiteX657" fmla="*/ 699464 w 1337274"/>
              <a:gd name="connsiteY657" fmla="*/ 509892 h 509892"/>
              <a:gd name="connsiteX658" fmla="*/ 696159 w 1337274"/>
              <a:gd name="connsiteY658" fmla="*/ 509892 h 509892"/>
              <a:gd name="connsiteX659" fmla="*/ 696157 w 1337274"/>
              <a:gd name="connsiteY659" fmla="*/ 509892 h 509892"/>
              <a:gd name="connsiteX660" fmla="*/ 692540 w 1337274"/>
              <a:gd name="connsiteY660" fmla="*/ 509892 h 509892"/>
              <a:gd name="connsiteX661" fmla="*/ 692538 w 1337274"/>
              <a:gd name="connsiteY661" fmla="*/ 509892 h 509892"/>
              <a:gd name="connsiteX662" fmla="*/ 690983 w 1337274"/>
              <a:gd name="connsiteY662" fmla="*/ 509892 h 509892"/>
              <a:gd name="connsiteX663" fmla="*/ 690981 w 1337274"/>
              <a:gd name="connsiteY663" fmla="*/ 509892 h 509892"/>
              <a:gd name="connsiteX664" fmla="*/ 690970 w 1337274"/>
              <a:gd name="connsiteY664" fmla="*/ 509892 h 509892"/>
              <a:gd name="connsiteX665" fmla="*/ 688169 w 1337274"/>
              <a:gd name="connsiteY665" fmla="*/ 509892 h 509892"/>
              <a:gd name="connsiteX666" fmla="*/ 688166 w 1337274"/>
              <a:gd name="connsiteY666" fmla="*/ 509892 h 509892"/>
              <a:gd name="connsiteX667" fmla="*/ 687666 w 1337274"/>
              <a:gd name="connsiteY667" fmla="*/ 509892 h 509892"/>
              <a:gd name="connsiteX668" fmla="*/ 687663 w 1337274"/>
              <a:gd name="connsiteY668" fmla="*/ 509892 h 509892"/>
              <a:gd name="connsiteX669" fmla="*/ 684387 w 1337274"/>
              <a:gd name="connsiteY669" fmla="*/ 509892 h 509892"/>
              <a:gd name="connsiteX670" fmla="*/ 684383 w 1337274"/>
              <a:gd name="connsiteY670" fmla="*/ 509892 h 509892"/>
              <a:gd name="connsiteX671" fmla="*/ 681069 w 1337274"/>
              <a:gd name="connsiteY671" fmla="*/ 509892 h 509892"/>
              <a:gd name="connsiteX672" fmla="*/ 681066 w 1337274"/>
              <a:gd name="connsiteY672" fmla="*/ 509892 h 509892"/>
              <a:gd name="connsiteX673" fmla="*/ 680862 w 1337274"/>
              <a:gd name="connsiteY673" fmla="*/ 509892 h 509892"/>
              <a:gd name="connsiteX674" fmla="*/ 680861 w 1337274"/>
              <a:gd name="connsiteY674" fmla="*/ 509892 h 509892"/>
              <a:gd name="connsiteX675" fmla="*/ 676491 w 1337274"/>
              <a:gd name="connsiteY675" fmla="*/ 509892 h 509892"/>
              <a:gd name="connsiteX676" fmla="*/ 672872 w 1337274"/>
              <a:gd name="connsiteY676" fmla="*/ 509892 h 509892"/>
              <a:gd name="connsiteX677" fmla="*/ 672871 w 1337274"/>
              <a:gd name="connsiteY677" fmla="*/ 509892 h 509892"/>
              <a:gd name="connsiteX678" fmla="*/ 672368 w 1337274"/>
              <a:gd name="connsiteY678" fmla="*/ 509892 h 509892"/>
              <a:gd name="connsiteX679" fmla="*/ 672367 w 1337274"/>
              <a:gd name="connsiteY679" fmla="*/ 509892 h 509892"/>
              <a:gd name="connsiteX680" fmla="*/ 669566 w 1337274"/>
              <a:gd name="connsiteY680" fmla="*/ 509892 h 509892"/>
              <a:gd name="connsiteX681" fmla="*/ 669564 w 1337274"/>
              <a:gd name="connsiteY681" fmla="*/ 509892 h 509892"/>
              <a:gd name="connsiteX682" fmla="*/ 669554 w 1337274"/>
              <a:gd name="connsiteY682" fmla="*/ 509892 h 509892"/>
              <a:gd name="connsiteX683" fmla="*/ 669553 w 1337274"/>
              <a:gd name="connsiteY683" fmla="*/ 509892 h 509892"/>
              <a:gd name="connsiteX684" fmla="*/ 667997 w 1337274"/>
              <a:gd name="connsiteY684" fmla="*/ 509892 h 509892"/>
              <a:gd name="connsiteX685" fmla="*/ 665772 w 1337274"/>
              <a:gd name="connsiteY685" fmla="*/ 509892 h 509892"/>
              <a:gd name="connsiteX686" fmla="*/ 665771 w 1337274"/>
              <a:gd name="connsiteY686" fmla="*/ 509892 h 509892"/>
              <a:gd name="connsiteX687" fmla="*/ 662969 w 1337274"/>
              <a:gd name="connsiteY687" fmla="*/ 509892 h 509892"/>
              <a:gd name="connsiteX688" fmla="*/ 662968 w 1337274"/>
              <a:gd name="connsiteY688" fmla="*/ 509892 h 509892"/>
              <a:gd name="connsiteX689" fmla="*/ 661401 w 1337274"/>
              <a:gd name="connsiteY689" fmla="*/ 509892 h 509892"/>
              <a:gd name="connsiteX690" fmla="*/ 661400 w 1337274"/>
              <a:gd name="connsiteY690" fmla="*/ 509892 h 509892"/>
              <a:gd name="connsiteX691" fmla="*/ 658538 w 1337274"/>
              <a:gd name="connsiteY691" fmla="*/ 509892 h 509892"/>
              <a:gd name="connsiteX692" fmla="*/ 658536 w 1337274"/>
              <a:gd name="connsiteY692" fmla="*/ 509892 h 509892"/>
              <a:gd name="connsiteX693" fmla="*/ 654475 w 1337274"/>
              <a:gd name="connsiteY693" fmla="*/ 509892 h 509892"/>
              <a:gd name="connsiteX694" fmla="*/ 654474 w 1337274"/>
              <a:gd name="connsiteY694" fmla="*/ 509892 h 509892"/>
              <a:gd name="connsiteX695" fmla="*/ 651942 w 1337274"/>
              <a:gd name="connsiteY695" fmla="*/ 509892 h 509892"/>
              <a:gd name="connsiteX696" fmla="*/ 651939 w 1337274"/>
              <a:gd name="connsiteY696" fmla="*/ 509892 h 509892"/>
              <a:gd name="connsiteX697" fmla="*/ 643448 w 1337274"/>
              <a:gd name="connsiteY697" fmla="*/ 509892 h 509892"/>
              <a:gd name="connsiteX698" fmla="*/ 643445 w 1337274"/>
              <a:gd name="connsiteY698" fmla="*/ 509892 h 509892"/>
              <a:gd name="connsiteX699" fmla="*/ 639923 w 1337274"/>
              <a:gd name="connsiteY699" fmla="*/ 509892 h 509892"/>
              <a:gd name="connsiteX700" fmla="*/ 635552 w 1337274"/>
              <a:gd name="connsiteY700" fmla="*/ 509892 h 509892"/>
              <a:gd name="connsiteX701" fmla="*/ 633339 w 1337274"/>
              <a:gd name="connsiteY701" fmla="*/ 509892 h 509892"/>
              <a:gd name="connsiteX702" fmla="*/ 633337 w 1337274"/>
              <a:gd name="connsiteY702" fmla="*/ 509892 h 509892"/>
              <a:gd name="connsiteX703" fmla="*/ 633327 w 1337274"/>
              <a:gd name="connsiteY703" fmla="*/ 509892 h 509892"/>
              <a:gd name="connsiteX704" fmla="*/ 633326 w 1337274"/>
              <a:gd name="connsiteY704" fmla="*/ 509892 h 509892"/>
              <a:gd name="connsiteX705" fmla="*/ 628968 w 1337274"/>
              <a:gd name="connsiteY705" fmla="*/ 509892 h 509892"/>
              <a:gd name="connsiteX706" fmla="*/ 628966 w 1337274"/>
              <a:gd name="connsiteY706" fmla="*/ 509892 h 509892"/>
              <a:gd name="connsiteX707" fmla="*/ 628955 w 1337274"/>
              <a:gd name="connsiteY707" fmla="*/ 509892 h 509892"/>
              <a:gd name="connsiteX708" fmla="*/ 625349 w 1337274"/>
              <a:gd name="connsiteY708" fmla="*/ 509892 h 509892"/>
              <a:gd name="connsiteX709" fmla="*/ 625346 w 1337274"/>
              <a:gd name="connsiteY709" fmla="*/ 509892 h 509892"/>
              <a:gd name="connsiteX710" fmla="*/ 624845 w 1337274"/>
              <a:gd name="connsiteY710" fmla="*/ 509892 h 509892"/>
              <a:gd name="connsiteX711" fmla="*/ 624843 w 1337274"/>
              <a:gd name="connsiteY711" fmla="*/ 509892 h 509892"/>
              <a:gd name="connsiteX712" fmla="*/ 624833 w 1337274"/>
              <a:gd name="connsiteY712" fmla="*/ 509892 h 509892"/>
              <a:gd name="connsiteX713" fmla="*/ 624832 w 1337274"/>
              <a:gd name="connsiteY713" fmla="*/ 509892 h 509892"/>
              <a:gd name="connsiteX714" fmla="*/ 622031 w 1337274"/>
              <a:gd name="connsiteY714" fmla="*/ 509892 h 509892"/>
              <a:gd name="connsiteX715" fmla="*/ 622029 w 1337274"/>
              <a:gd name="connsiteY715" fmla="*/ 509892 h 509892"/>
              <a:gd name="connsiteX716" fmla="*/ 620474 w 1337274"/>
              <a:gd name="connsiteY716" fmla="*/ 509892 h 509892"/>
              <a:gd name="connsiteX717" fmla="*/ 620472 w 1337274"/>
              <a:gd name="connsiteY717" fmla="*/ 509892 h 509892"/>
              <a:gd name="connsiteX718" fmla="*/ 620461 w 1337274"/>
              <a:gd name="connsiteY718" fmla="*/ 509892 h 509892"/>
              <a:gd name="connsiteX719" fmla="*/ 618249 w 1337274"/>
              <a:gd name="connsiteY719" fmla="*/ 509892 h 509892"/>
              <a:gd name="connsiteX720" fmla="*/ 618247 w 1337274"/>
              <a:gd name="connsiteY720" fmla="*/ 509892 h 509892"/>
              <a:gd name="connsiteX721" fmla="*/ 610353 w 1337274"/>
              <a:gd name="connsiteY721" fmla="*/ 509892 h 509892"/>
              <a:gd name="connsiteX722" fmla="*/ 610352 w 1337274"/>
              <a:gd name="connsiteY722" fmla="*/ 509892 h 509892"/>
              <a:gd name="connsiteX723" fmla="*/ 606735 w 1337274"/>
              <a:gd name="connsiteY723" fmla="*/ 509892 h 509892"/>
              <a:gd name="connsiteX724" fmla="*/ 606734 w 1337274"/>
              <a:gd name="connsiteY724" fmla="*/ 509892 h 509892"/>
              <a:gd name="connsiteX725" fmla="*/ 602364 w 1337274"/>
              <a:gd name="connsiteY725" fmla="*/ 509892 h 509892"/>
              <a:gd name="connsiteX726" fmla="*/ 602363 w 1337274"/>
              <a:gd name="connsiteY726" fmla="*/ 509892 h 509892"/>
              <a:gd name="connsiteX727" fmla="*/ 592401 w 1337274"/>
              <a:gd name="connsiteY727" fmla="*/ 509892 h 509892"/>
              <a:gd name="connsiteX728" fmla="*/ 592399 w 1337274"/>
              <a:gd name="connsiteY728" fmla="*/ 509892 h 509892"/>
              <a:gd name="connsiteX729" fmla="*/ 588029 w 1337274"/>
              <a:gd name="connsiteY729" fmla="*/ 509892 h 509892"/>
              <a:gd name="connsiteX730" fmla="*/ 588027 w 1337274"/>
              <a:gd name="connsiteY730" fmla="*/ 509892 h 509892"/>
              <a:gd name="connsiteX731" fmla="*/ 585805 w 1337274"/>
              <a:gd name="connsiteY731" fmla="*/ 509892 h 509892"/>
              <a:gd name="connsiteX732" fmla="*/ 585802 w 1337274"/>
              <a:gd name="connsiteY732" fmla="*/ 509892 h 509892"/>
              <a:gd name="connsiteX733" fmla="*/ 581433 w 1337274"/>
              <a:gd name="connsiteY733" fmla="*/ 509892 h 509892"/>
              <a:gd name="connsiteX734" fmla="*/ 581430 w 1337274"/>
              <a:gd name="connsiteY734" fmla="*/ 509892 h 509892"/>
              <a:gd name="connsiteX735" fmla="*/ 572733 w 1337274"/>
              <a:gd name="connsiteY735" fmla="*/ 509892 h 509892"/>
              <a:gd name="connsiteX736" fmla="*/ 569414 w 1337274"/>
              <a:gd name="connsiteY736" fmla="*/ 509892 h 509892"/>
              <a:gd name="connsiteX737" fmla="*/ 566136 w 1337274"/>
              <a:gd name="connsiteY737" fmla="*/ 509892 h 509892"/>
              <a:gd name="connsiteX738" fmla="*/ 566135 w 1337274"/>
              <a:gd name="connsiteY738" fmla="*/ 509892 h 509892"/>
              <a:gd name="connsiteX739" fmla="*/ 562830 w 1337274"/>
              <a:gd name="connsiteY739" fmla="*/ 509892 h 509892"/>
              <a:gd name="connsiteX740" fmla="*/ 562828 w 1337274"/>
              <a:gd name="connsiteY740" fmla="*/ 509892 h 509892"/>
              <a:gd name="connsiteX741" fmla="*/ 562818 w 1337274"/>
              <a:gd name="connsiteY741" fmla="*/ 509892 h 509892"/>
              <a:gd name="connsiteX742" fmla="*/ 562817 w 1337274"/>
              <a:gd name="connsiteY742" fmla="*/ 509892 h 509892"/>
              <a:gd name="connsiteX743" fmla="*/ 559211 w 1337274"/>
              <a:gd name="connsiteY743" fmla="*/ 509892 h 509892"/>
              <a:gd name="connsiteX744" fmla="*/ 559210 w 1337274"/>
              <a:gd name="connsiteY744" fmla="*/ 509892 h 509892"/>
              <a:gd name="connsiteX745" fmla="*/ 554840 w 1337274"/>
              <a:gd name="connsiteY745" fmla="*/ 509892 h 509892"/>
              <a:gd name="connsiteX746" fmla="*/ 554838 w 1337274"/>
              <a:gd name="connsiteY746" fmla="*/ 509892 h 509892"/>
              <a:gd name="connsiteX747" fmla="*/ 536226 w 1337274"/>
              <a:gd name="connsiteY747" fmla="*/ 509892 h 509892"/>
              <a:gd name="connsiteX748" fmla="*/ 536225 w 1337274"/>
              <a:gd name="connsiteY748" fmla="*/ 509892 h 509892"/>
              <a:gd name="connsiteX749" fmla="*/ 525210 w 1337274"/>
              <a:gd name="connsiteY749" fmla="*/ 509892 h 509892"/>
              <a:gd name="connsiteX750" fmla="*/ 525208 w 1337274"/>
              <a:gd name="connsiteY750" fmla="*/ 509892 h 509892"/>
              <a:gd name="connsiteX751" fmla="*/ 525197 w 1337274"/>
              <a:gd name="connsiteY751" fmla="*/ 509892 h 509892"/>
              <a:gd name="connsiteX752" fmla="*/ 521893 w 1337274"/>
              <a:gd name="connsiteY752" fmla="*/ 509892 h 509892"/>
              <a:gd name="connsiteX753" fmla="*/ 521890 w 1337274"/>
              <a:gd name="connsiteY753" fmla="*/ 509892 h 509892"/>
              <a:gd name="connsiteX754" fmla="*/ 518614 w 1337274"/>
              <a:gd name="connsiteY754" fmla="*/ 509892 h 509892"/>
              <a:gd name="connsiteX755" fmla="*/ 518610 w 1337274"/>
              <a:gd name="connsiteY755" fmla="*/ 509892 h 509892"/>
              <a:gd name="connsiteX756" fmla="*/ 515296 w 1337274"/>
              <a:gd name="connsiteY756" fmla="*/ 509892 h 509892"/>
              <a:gd name="connsiteX757" fmla="*/ 515293 w 1337274"/>
              <a:gd name="connsiteY757" fmla="*/ 509892 h 509892"/>
              <a:gd name="connsiteX758" fmla="*/ 506595 w 1337274"/>
              <a:gd name="connsiteY758" fmla="*/ 509892 h 509892"/>
              <a:gd name="connsiteX759" fmla="*/ 506594 w 1337274"/>
              <a:gd name="connsiteY759" fmla="*/ 509892 h 509892"/>
              <a:gd name="connsiteX760" fmla="*/ 502224 w 1337274"/>
              <a:gd name="connsiteY760" fmla="*/ 509892 h 509892"/>
              <a:gd name="connsiteX761" fmla="*/ 499999 w 1337274"/>
              <a:gd name="connsiteY761" fmla="*/ 509892 h 509892"/>
              <a:gd name="connsiteX762" fmla="*/ 499998 w 1337274"/>
              <a:gd name="connsiteY762" fmla="*/ 509892 h 509892"/>
              <a:gd name="connsiteX763" fmla="*/ 495628 w 1337274"/>
              <a:gd name="connsiteY763" fmla="*/ 509892 h 509892"/>
              <a:gd name="connsiteX764" fmla="*/ 495627 w 1337274"/>
              <a:gd name="connsiteY764" fmla="*/ 509892 h 509892"/>
              <a:gd name="connsiteX765" fmla="*/ 488702 w 1337274"/>
              <a:gd name="connsiteY765" fmla="*/ 509892 h 509892"/>
              <a:gd name="connsiteX766" fmla="*/ 488701 w 1337274"/>
              <a:gd name="connsiteY766" fmla="*/ 509892 h 509892"/>
              <a:gd name="connsiteX767" fmla="*/ 477675 w 1337274"/>
              <a:gd name="connsiteY767" fmla="*/ 509892 h 509892"/>
              <a:gd name="connsiteX768" fmla="*/ 477672 w 1337274"/>
              <a:gd name="connsiteY768" fmla="*/ 509892 h 509892"/>
              <a:gd name="connsiteX769" fmla="*/ 459072 w 1337274"/>
              <a:gd name="connsiteY769" fmla="*/ 509892 h 509892"/>
              <a:gd name="connsiteX770" fmla="*/ 459070 w 1337274"/>
              <a:gd name="connsiteY770" fmla="*/ 509892 h 509892"/>
              <a:gd name="connsiteX771" fmla="*/ 459060 w 1337274"/>
              <a:gd name="connsiteY771" fmla="*/ 509892 h 509892"/>
              <a:gd name="connsiteX772" fmla="*/ 459059 w 1337274"/>
              <a:gd name="connsiteY772" fmla="*/ 509892 h 509892"/>
              <a:gd name="connsiteX773" fmla="*/ 454701 w 1337274"/>
              <a:gd name="connsiteY773" fmla="*/ 509892 h 509892"/>
              <a:gd name="connsiteX774" fmla="*/ 454699 w 1337274"/>
              <a:gd name="connsiteY774" fmla="*/ 509892 h 509892"/>
              <a:gd name="connsiteX775" fmla="*/ 454688 w 1337274"/>
              <a:gd name="connsiteY775" fmla="*/ 509892 h 509892"/>
              <a:gd name="connsiteX776" fmla="*/ 452476 w 1337274"/>
              <a:gd name="connsiteY776" fmla="*/ 509892 h 509892"/>
              <a:gd name="connsiteX777" fmla="*/ 452474 w 1337274"/>
              <a:gd name="connsiteY777" fmla="*/ 509892 h 509892"/>
              <a:gd name="connsiteX778" fmla="*/ 254947 w 1337274"/>
              <a:gd name="connsiteY778" fmla="*/ 509891 h 509892"/>
              <a:gd name="connsiteX779" fmla="*/ 5179 w 1337274"/>
              <a:gd name="connsiteY779" fmla="*/ 306326 h 509892"/>
              <a:gd name="connsiteX780" fmla="*/ 0 w 1337274"/>
              <a:gd name="connsiteY780" fmla="*/ 254947 h 509892"/>
              <a:gd name="connsiteX781" fmla="*/ 5179 w 1337274"/>
              <a:gd name="connsiteY781" fmla="*/ 203566 h 509892"/>
              <a:gd name="connsiteX782" fmla="*/ 254947 w 1337274"/>
              <a:gd name="connsiteY782" fmla="*/ 0 h 50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</a:cxnLst>
            <a:rect l="l" t="t" r="r" b="b"/>
            <a:pathLst>
              <a:path w="1337274" h="509892">
                <a:moveTo>
                  <a:pt x="254947" y="0"/>
                </a:moveTo>
                <a:lnTo>
                  <a:pt x="255223" y="0"/>
                </a:lnTo>
                <a:lnTo>
                  <a:pt x="257162" y="0"/>
                </a:lnTo>
                <a:lnTo>
                  <a:pt x="257172" y="0"/>
                </a:lnTo>
                <a:lnTo>
                  <a:pt x="261533" y="0"/>
                </a:lnTo>
                <a:lnTo>
                  <a:pt x="261544" y="0"/>
                </a:lnTo>
                <a:lnTo>
                  <a:pt x="273836" y="0"/>
                </a:lnTo>
                <a:lnTo>
                  <a:pt x="278208" y="0"/>
                </a:lnTo>
                <a:lnTo>
                  <a:pt x="280145" y="0"/>
                </a:lnTo>
                <a:lnTo>
                  <a:pt x="291174" y="0"/>
                </a:lnTo>
                <a:lnTo>
                  <a:pt x="298100" y="0"/>
                </a:lnTo>
                <a:lnTo>
                  <a:pt x="302471" y="0"/>
                </a:lnTo>
                <a:lnTo>
                  <a:pt x="304697" y="0"/>
                </a:lnTo>
                <a:lnTo>
                  <a:pt x="309068" y="0"/>
                </a:lnTo>
                <a:lnTo>
                  <a:pt x="317767" y="0"/>
                </a:lnTo>
                <a:lnTo>
                  <a:pt x="321084" y="0"/>
                </a:lnTo>
                <a:lnTo>
                  <a:pt x="321361" y="0"/>
                </a:lnTo>
                <a:lnTo>
                  <a:pt x="324363" y="0"/>
                </a:lnTo>
                <a:lnTo>
                  <a:pt x="325732" y="0"/>
                </a:lnTo>
                <a:lnTo>
                  <a:pt x="327670" y="0"/>
                </a:lnTo>
                <a:lnTo>
                  <a:pt x="327680" y="0"/>
                </a:lnTo>
                <a:lnTo>
                  <a:pt x="338698" y="0"/>
                </a:lnTo>
                <a:lnTo>
                  <a:pt x="341028" y="0"/>
                </a:lnTo>
                <a:lnTo>
                  <a:pt x="344345" y="0"/>
                </a:lnTo>
                <a:lnTo>
                  <a:pt x="357311" y="0"/>
                </a:lnTo>
                <a:lnTo>
                  <a:pt x="361682" y="0"/>
                </a:lnTo>
                <a:lnTo>
                  <a:pt x="365291" y="0"/>
                </a:lnTo>
                <a:lnTo>
                  <a:pt x="365302" y="0"/>
                </a:lnTo>
                <a:lnTo>
                  <a:pt x="368609" y="0"/>
                </a:lnTo>
                <a:lnTo>
                  <a:pt x="371887" y="0"/>
                </a:lnTo>
                <a:lnTo>
                  <a:pt x="375205" y="0"/>
                </a:lnTo>
                <a:lnTo>
                  <a:pt x="381966" y="0"/>
                </a:lnTo>
                <a:lnTo>
                  <a:pt x="383903" y="0"/>
                </a:lnTo>
                <a:lnTo>
                  <a:pt x="388275" y="0"/>
                </a:lnTo>
                <a:lnTo>
                  <a:pt x="388551" y="0"/>
                </a:lnTo>
                <a:lnTo>
                  <a:pt x="388562" y="0"/>
                </a:lnTo>
                <a:lnTo>
                  <a:pt x="390501" y="0"/>
                </a:lnTo>
                <a:lnTo>
                  <a:pt x="391870" y="0"/>
                </a:lnTo>
                <a:lnTo>
                  <a:pt x="394872" y="0"/>
                </a:lnTo>
                <a:lnTo>
                  <a:pt x="404836" y="0"/>
                </a:lnTo>
                <a:lnTo>
                  <a:pt x="407164" y="0"/>
                </a:lnTo>
                <a:lnTo>
                  <a:pt x="409206" y="0"/>
                </a:lnTo>
                <a:lnTo>
                  <a:pt x="411536" y="0"/>
                </a:lnTo>
                <a:lnTo>
                  <a:pt x="412826" y="0"/>
                </a:lnTo>
                <a:lnTo>
                  <a:pt x="420720" y="0"/>
                </a:lnTo>
                <a:lnTo>
                  <a:pt x="420996" y="0"/>
                </a:lnTo>
                <a:lnTo>
                  <a:pt x="422935" y="0"/>
                </a:lnTo>
                <a:lnTo>
                  <a:pt x="422945" y="0"/>
                </a:lnTo>
                <a:lnTo>
                  <a:pt x="424503" y="0"/>
                </a:lnTo>
                <a:lnTo>
                  <a:pt x="427306" y="0"/>
                </a:lnTo>
                <a:lnTo>
                  <a:pt x="427317" y="0"/>
                </a:lnTo>
                <a:lnTo>
                  <a:pt x="427820" y="0"/>
                </a:lnTo>
                <a:lnTo>
                  <a:pt x="429490" y="0"/>
                </a:lnTo>
                <a:lnTo>
                  <a:pt x="431428" y="0"/>
                </a:lnTo>
                <a:lnTo>
                  <a:pt x="431438" y="0"/>
                </a:lnTo>
                <a:lnTo>
                  <a:pt x="435799" y="0"/>
                </a:lnTo>
                <a:lnTo>
                  <a:pt x="435810" y="0"/>
                </a:lnTo>
                <a:lnTo>
                  <a:pt x="436086" y="0"/>
                </a:lnTo>
                <a:lnTo>
                  <a:pt x="438026" y="0"/>
                </a:lnTo>
                <a:lnTo>
                  <a:pt x="439609" y="0"/>
                </a:lnTo>
                <a:lnTo>
                  <a:pt x="442396" y="0"/>
                </a:lnTo>
                <a:lnTo>
                  <a:pt x="443981" y="0"/>
                </a:lnTo>
                <a:lnTo>
                  <a:pt x="445918" y="0"/>
                </a:lnTo>
                <a:lnTo>
                  <a:pt x="448103" y="0"/>
                </a:lnTo>
                <a:lnTo>
                  <a:pt x="452475" y="0"/>
                </a:lnTo>
                <a:lnTo>
                  <a:pt x="454412" y="0"/>
                </a:lnTo>
                <a:lnTo>
                  <a:pt x="454689" y="0"/>
                </a:lnTo>
                <a:lnTo>
                  <a:pt x="454699" y="0"/>
                </a:lnTo>
                <a:lnTo>
                  <a:pt x="456947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09" y="0"/>
                </a:lnTo>
                <a:lnTo>
                  <a:pt x="463873" y="0"/>
                </a:lnTo>
                <a:lnTo>
                  <a:pt x="465440" y="0"/>
                </a:lnTo>
                <a:lnTo>
                  <a:pt x="468244" y="0"/>
                </a:lnTo>
                <a:lnTo>
                  <a:pt x="470470" y="0"/>
                </a:lnTo>
                <a:lnTo>
                  <a:pt x="472027" y="0"/>
                </a:lnTo>
                <a:lnTo>
                  <a:pt x="472038" y="0"/>
                </a:lnTo>
                <a:lnTo>
                  <a:pt x="474841" y="0"/>
                </a:lnTo>
                <a:lnTo>
                  <a:pt x="475345" y="0"/>
                </a:lnTo>
                <a:lnTo>
                  <a:pt x="477673" y="0"/>
                </a:lnTo>
                <a:lnTo>
                  <a:pt x="478963" y="0"/>
                </a:lnTo>
                <a:lnTo>
                  <a:pt x="483334" y="0"/>
                </a:lnTo>
                <a:lnTo>
                  <a:pt x="483540" y="0"/>
                </a:lnTo>
                <a:lnTo>
                  <a:pt x="486857" y="0"/>
                </a:lnTo>
                <a:lnTo>
                  <a:pt x="487134" y="0"/>
                </a:lnTo>
                <a:lnTo>
                  <a:pt x="488701" y="0"/>
                </a:lnTo>
                <a:lnTo>
                  <a:pt x="490136" y="0"/>
                </a:lnTo>
                <a:lnTo>
                  <a:pt x="490639" y="0"/>
                </a:lnTo>
                <a:lnTo>
                  <a:pt x="491505" y="0"/>
                </a:lnTo>
                <a:lnTo>
                  <a:pt x="493443" y="0"/>
                </a:lnTo>
                <a:lnTo>
                  <a:pt x="493453" y="0"/>
                </a:lnTo>
                <a:lnTo>
                  <a:pt x="495012" y="0"/>
                </a:lnTo>
                <a:lnTo>
                  <a:pt x="495628" y="0"/>
                </a:lnTo>
                <a:lnTo>
                  <a:pt x="498630" y="0"/>
                </a:lnTo>
                <a:lnTo>
                  <a:pt x="499999" y="0"/>
                </a:lnTo>
                <a:lnTo>
                  <a:pt x="501937" y="0"/>
                </a:lnTo>
                <a:lnTo>
                  <a:pt x="501947" y="0"/>
                </a:lnTo>
                <a:lnTo>
                  <a:pt x="502224" y="0"/>
                </a:lnTo>
                <a:lnTo>
                  <a:pt x="504471" y="0"/>
                </a:lnTo>
                <a:lnTo>
                  <a:pt x="506595" y="0"/>
                </a:lnTo>
                <a:lnTo>
                  <a:pt x="506801" y="0"/>
                </a:lnTo>
                <a:lnTo>
                  <a:pt x="508534" y="0"/>
                </a:lnTo>
                <a:lnTo>
                  <a:pt x="510118" y="0"/>
                </a:lnTo>
                <a:lnTo>
                  <a:pt x="512964" y="0"/>
                </a:lnTo>
                <a:lnTo>
                  <a:pt x="515294" y="0"/>
                </a:lnTo>
                <a:lnTo>
                  <a:pt x="518611" y="0"/>
                </a:lnTo>
                <a:lnTo>
                  <a:pt x="519562" y="0"/>
                </a:lnTo>
                <a:lnTo>
                  <a:pt x="521890" y="0"/>
                </a:lnTo>
                <a:lnTo>
                  <a:pt x="523084" y="0"/>
                </a:lnTo>
                <a:lnTo>
                  <a:pt x="525198" y="0"/>
                </a:lnTo>
                <a:lnTo>
                  <a:pt x="525208" y="0"/>
                </a:lnTo>
                <a:lnTo>
                  <a:pt x="527455" y="0"/>
                </a:lnTo>
                <a:lnTo>
                  <a:pt x="531064" y="0"/>
                </a:lnTo>
                <a:lnTo>
                  <a:pt x="531075" y="0"/>
                </a:lnTo>
                <a:lnTo>
                  <a:pt x="531578" y="0"/>
                </a:lnTo>
                <a:lnTo>
                  <a:pt x="534382" y="0"/>
                </a:lnTo>
                <a:lnTo>
                  <a:pt x="535949" y="0"/>
                </a:lnTo>
                <a:lnTo>
                  <a:pt x="536226" y="0"/>
                </a:lnTo>
                <a:lnTo>
                  <a:pt x="537660" y="0"/>
                </a:lnTo>
                <a:lnTo>
                  <a:pt x="538165" y="0"/>
                </a:lnTo>
                <a:lnTo>
                  <a:pt x="538174" y="0"/>
                </a:lnTo>
                <a:lnTo>
                  <a:pt x="540978" y="0"/>
                </a:lnTo>
                <a:lnTo>
                  <a:pt x="542535" y="0"/>
                </a:lnTo>
                <a:lnTo>
                  <a:pt x="542546" y="0"/>
                </a:lnTo>
                <a:lnTo>
                  <a:pt x="546154" y="0"/>
                </a:lnTo>
                <a:lnTo>
                  <a:pt x="547739" y="0"/>
                </a:lnTo>
                <a:lnTo>
                  <a:pt x="549472" y="0"/>
                </a:lnTo>
                <a:lnTo>
                  <a:pt x="549676" y="0"/>
                </a:lnTo>
                <a:lnTo>
                  <a:pt x="554048" y="0"/>
                </a:lnTo>
                <a:lnTo>
                  <a:pt x="554324" y="0"/>
                </a:lnTo>
                <a:lnTo>
                  <a:pt x="554335" y="0"/>
                </a:lnTo>
                <a:lnTo>
                  <a:pt x="554839" y="0"/>
                </a:lnTo>
                <a:lnTo>
                  <a:pt x="556274" y="0"/>
                </a:lnTo>
                <a:lnTo>
                  <a:pt x="557643" y="0"/>
                </a:lnTo>
                <a:lnTo>
                  <a:pt x="559210" y="0"/>
                </a:lnTo>
                <a:lnTo>
                  <a:pt x="560645" y="0"/>
                </a:lnTo>
                <a:lnTo>
                  <a:pt x="561148" y="0"/>
                </a:lnTo>
                <a:lnTo>
                  <a:pt x="562818" y="0"/>
                </a:lnTo>
                <a:lnTo>
                  <a:pt x="562829" y="0"/>
                </a:lnTo>
                <a:lnTo>
                  <a:pt x="564768" y="0"/>
                </a:lnTo>
                <a:lnTo>
                  <a:pt x="566136" y="0"/>
                </a:lnTo>
                <a:lnTo>
                  <a:pt x="569138" y="0"/>
                </a:lnTo>
                <a:lnTo>
                  <a:pt x="569414" y="0"/>
                </a:lnTo>
                <a:lnTo>
                  <a:pt x="570609" y="0"/>
                </a:lnTo>
                <a:lnTo>
                  <a:pt x="572733" y="0"/>
                </a:lnTo>
                <a:lnTo>
                  <a:pt x="572937" y="0"/>
                </a:lnTo>
                <a:lnTo>
                  <a:pt x="574979" y="0"/>
                </a:lnTo>
                <a:lnTo>
                  <a:pt x="577309" y="0"/>
                </a:lnTo>
                <a:lnTo>
                  <a:pt x="578599" y="0"/>
                </a:lnTo>
                <a:lnTo>
                  <a:pt x="579103" y="0"/>
                </a:lnTo>
                <a:lnTo>
                  <a:pt x="581431" y="0"/>
                </a:lnTo>
                <a:lnTo>
                  <a:pt x="583473" y="0"/>
                </a:lnTo>
                <a:lnTo>
                  <a:pt x="585699" y="0"/>
                </a:lnTo>
                <a:lnTo>
                  <a:pt x="585803" y="0"/>
                </a:lnTo>
                <a:lnTo>
                  <a:pt x="588028" y="0"/>
                </a:lnTo>
                <a:lnTo>
                  <a:pt x="590070" y="0"/>
                </a:lnTo>
                <a:lnTo>
                  <a:pt x="590276" y="0"/>
                </a:lnTo>
                <a:lnTo>
                  <a:pt x="592399" y="0"/>
                </a:lnTo>
                <a:lnTo>
                  <a:pt x="593593" y="0"/>
                </a:lnTo>
                <a:lnTo>
                  <a:pt x="595263" y="0"/>
                </a:lnTo>
                <a:lnTo>
                  <a:pt x="597201" y="0"/>
                </a:lnTo>
                <a:lnTo>
                  <a:pt x="597211" y="0"/>
                </a:lnTo>
                <a:lnTo>
                  <a:pt x="598770" y="0"/>
                </a:lnTo>
                <a:lnTo>
                  <a:pt x="601572" y="0"/>
                </a:lnTo>
                <a:lnTo>
                  <a:pt x="601583" y="0"/>
                </a:lnTo>
                <a:lnTo>
                  <a:pt x="601859" y="0"/>
                </a:lnTo>
                <a:lnTo>
                  <a:pt x="602087" y="0"/>
                </a:lnTo>
                <a:lnTo>
                  <a:pt x="602364" y="0"/>
                </a:lnTo>
                <a:lnTo>
                  <a:pt x="603799" y="0"/>
                </a:lnTo>
                <a:lnTo>
                  <a:pt x="605366" y="0"/>
                </a:lnTo>
                <a:lnTo>
                  <a:pt x="606735" y="0"/>
                </a:lnTo>
                <a:lnTo>
                  <a:pt x="608169" y="0"/>
                </a:lnTo>
                <a:lnTo>
                  <a:pt x="608673" y="0"/>
                </a:lnTo>
                <a:lnTo>
                  <a:pt x="608683" y="0"/>
                </a:lnTo>
                <a:lnTo>
                  <a:pt x="610353" y="0"/>
                </a:lnTo>
                <a:lnTo>
                  <a:pt x="612293" y="0"/>
                </a:lnTo>
                <a:lnTo>
                  <a:pt x="613876" y="0"/>
                </a:lnTo>
                <a:lnTo>
                  <a:pt x="616662" y="0"/>
                </a:lnTo>
                <a:lnTo>
                  <a:pt x="618248" y="0"/>
                </a:lnTo>
                <a:lnTo>
                  <a:pt x="620185" y="0"/>
                </a:lnTo>
                <a:lnTo>
                  <a:pt x="620462" y="0"/>
                </a:lnTo>
                <a:lnTo>
                  <a:pt x="620472" y="0"/>
                </a:lnTo>
                <a:lnTo>
                  <a:pt x="622030" y="0"/>
                </a:lnTo>
                <a:lnTo>
                  <a:pt x="624833" y="0"/>
                </a:lnTo>
                <a:lnTo>
                  <a:pt x="624844" y="0"/>
                </a:lnTo>
                <a:lnTo>
                  <a:pt x="625347" y="0"/>
                </a:lnTo>
                <a:lnTo>
                  <a:pt x="626782" y="0"/>
                </a:lnTo>
                <a:lnTo>
                  <a:pt x="628956" y="0"/>
                </a:lnTo>
                <a:lnTo>
                  <a:pt x="628966" y="0"/>
                </a:lnTo>
                <a:lnTo>
                  <a:pt x="631213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5553" y="0"/>
                </a:lnTo>
                <a:lnTo>
                  <a:pt x="637800" y="0"/>
                </a:lnTo>
                <a:lnTo>
                  <a:pt x="637811" y="0"/>
                </a:lnTo>
                <a:lnTo>
                  <a:pt x="639923" y="0"/>
                </a:lnTo>
                <a:lnTo>
                  <a:pt x="641118" y="0"/>
                </a:lnTo>
                <a:lnTo>
                  <a:pt x="643446" y="0"/>
                </a:lnTo>
                <a:lnTo>
                  <a:pt x="644736" y="0"/>
                </a:lnTo>
                <a:lnTo>
                  <a:pt x="646293" y="0"/>
                </a:lnTo>
                <a:lnTo>
                  <a:pt x="646304" y="0"/>
                </a:lnTo>
                <a:lnTo>
                  <a:pt x="649107" y="0"/>
                </a:lnTo>
                <a:lnTo>
                  <a:pt x="649612" y="0"/>
                </a:lnTo>
                <a:lnTo>
                  <a:pt x="651940" y="0"/>
                </a:lnTo>
                <a:lnTo>
                  <a:pt x="652890" y="0"/>
                </a:lnTo>
                <a:lnTo>
                  <a:pt x="654474" y="0"/>
                </a:lnTo>
                <a:lnTo>
                  <a:pt x="656208" y="0"/>
                </a:lnTo>
                <a:lnTo>
                  <a:pt x="656412" y="0"/>
                </a:lnTo>
                <a:lnTo>
                  <a:pt x="658537" y="0"/>
                </a:lnTo>
                <a:lnTo>
                  <a:pt x="660785" y="0"/>
                </a:lnTo>
                <a:lnTo>
                  <a:pt x="661401" y="0"/>
                </a:lnTo>
                <a:lnTo>
                  <a:pt x="662968" y="0"/>
                </a:lnTo>
                <a:lnTo>
                  <a:pt x="664403" y="0"/>
                </a:lnTo>
                <a:lnTo>
                  <a:pt x="664906" y="0"/>
                </a:lnTo>
                <a:lnTo>
                  <a:pt x="665772" y="0"/>
                </a:lnTo>
                <a:lnTo>
                  <a:pt x="667710" y="0"/>
                </a:lnTo>
                <a:lnTo>
                  <a:pt x="667720" y="0"/>
                </a:lnTo>
                <a:lnTo>
                  <a:pt x="667997" y="0"/>
                </a:lnTo>
                <a:lnTo>
                  <a:pt x="669278" y="0"/>
                </a:lnTo>
                <a:lnTo>
                  <a:pt x="669554" y="0"/>
                </a:lnTo>
                <a:lnTo>
                  <a:pt x="669565" y="0"/>
                </a:lnTo>
                <a:lnTo>
                  <a:pt x="671502" y="0"/>
                </a:lnTo>
                <a:lnTo>
                  <a:pt x="672368" y="0"/>
                </a:lnTo>
                <a:lnTo>
                  <a:pt x="672872" y="0"/>
                </a:lnTo>
                <a:lnTo>
                  <a:pt x="674307" y="0"/>
                </a:lnTo>
                <a:lnTo>
                  <a:pt x="675874" y="0"/>
                </a:lnTo>
                <a:lnTo>
                  <a:pt x="676491" y="0"/>
                </a:lnTo>
                <a:lnTo>
                  <a:pt x="678737" y="0"/>
                </a:lnTo>
                <a:lnTo>
                  <a:pt x="680862" y="0"/>
                </a:lnTo>
                <a:lnTo>
                  <a:pt x="681067" y="0"/>
                </a:lnTo>
                <a:lnTo>
                  <a:pt x="682801" y="0"/>
                </a:lnTo>
                <a:lnTo>
                  <a:pt x="684384" y="0"/>
                </a:lnTo>
                <a:lnTo>
                  <a:pt x="685335" y="0"/>
                </a:lnTo>
                <a:lnTo>
                  <a:pt x="687663" y="0"/>
                </a:lnTo>
                <a:lnTo>
                  <a:pt x="688167" y="0"/>
                </a:lnTo>
                <a:lnTo>
                  <a:pt x="690971" y="0"/>
                </a:lnTo>
                <a:lnTo>
                  <a:pt x="690981" y="0"/>
                </a:lnTo>
                <a:lnTo>
                  <a:pt x="692539" y="0"/>
                </a:lnTo>
                <a:lnTo>
                  <a:pt x="693828" y="0"/>
                </a:lnTo>
                <a:lnTo>
                  <a:pt x="696157" y="0"/>
                </a:lnTo>
                <a:lnTo>
                  <a:pt x="697351" y="0"/>
                </a:lnTo>
                <a:lnTo>
                  <a:pt x="699465" y="0"/>
                </a:lnTo>
                <a:lnTo>
                  <a:pt x="699474" y="0"/>
                </a:lnTo>
                <a:lnTo>
                  <a:pt x="701722" y="0"/>
                </a:lnTo>
                <a:lnTo>
                  <a:pt x="701999" y="0"/>
                </a:lnTo>
                <a:lnTo>
                  <a:pt x="703938" y="0"/>
                </a:lnTo>
                <a:lnTo>
                  <a:pt x="703947" y="0"/>
                </a:lnTo>
                <a:lnTo>
                  <a:pt x="706062" y="0"/>
                </a:lnTo>
                <a:lnTo>
                  <a:pt x="708308" y="0"/>
                </a:lnTo>
                <a:lnTo>
                  <a:pt x="708319" y="0"/>
                </a:lnTo>
                <a:lnTo>
                  <a:pt x="710493" y="0"/>
                </a:lnTo>
                <a:lnTo>
                  <a:pt x="711927" y="0"/>
                </a:lnTo>
                <a:lnTo>
                  <a:pt x="712431" y="0"/>
                </a:lnTo>
                <a:lnTo>
                  <a:pt x="712441" y="0"/>
                </a:lnTo>
                <a:lnTo>
                  <a:pt x="715245" y="0"/>
                </a:lnTo>
                <a:lnTo>
                  <a:pt x="716802" y="0"/>
                </a:lnTo>
                <a:lnTo>
                  <a:pt x="716813" y="0"/>
                </a:lnTo>
                <a:lnTo>
                  <a:pt x="717089" y="0"/>
                </a:lnTo>
                <a:lnTo>
                  <a:pt x="719027" y="0"/>
                </a:lnTo>
                <a:lnTo>
                  <a:pt x="720612" y="0"/>
                </a:lnTo>
                <a:lnTo>
                  <a:pt x="723398" y="0"/>
                </a:lnTo>
                <a:lnTo>
                  <a:pt x="724983" y="0"/>
                </a:lnTo>
                <a:lnTo>
                  <a:pt x="726921" y="0"/>
                </a:lnTo>
                <a:lnTo>
                  <a:pt x="728591" y="0"/>
                </a:lnTo>
                <a:lnTo>
                  <a:pt x="728602" y="0"/>
                </a:lnTo>
                <a:lnTo>
                  <a:pt x="729106" y="0"/>
                </a:lnTo>
                <a:lnTo>
                  <a:pt x="730541" y="0"/>
                </a:lnTo>
                <a:lnTo>
                  <a:pt x="731909" y="0"/>
                </a:lnTo>
                <a:lnTo>
                  <a:pt x="733476" y="0"/>
                </a:lnTo>
                <a:lnTo>
                  <a:pt x="734911" y="0"/>
                </a:lnTo>
                <a:lnTo>
                  <a:pt x="735187" y="0"/>
                </a:lnTo>
                <a:lnTo>
                  <a:pt x="735415" y="0"/>
                </a:lnTo>
                <a:lnTo>
                  <a:pt x="735692" y="0"/>
                </a:lnTo>
                <a:lnTo>
                  <a:pt x="735702" y="0"/>
                </a:lnTo>
                <a:lnTo>
                  <a:pt x="738506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3681" y="0"/>
                </a:lnTo>
                <a:lnTo>
                  <a:pt x="744876" y="0"/>
                </a:lnTo>
                <a:lnTo>
                  <a:pt x="746999" y="0"/>
                </a:lnTo>
                <a:lnTo>
                  <a:pt x="747204" y="0"/>
                </a:lnTo>
                <a:lnTo>
                  <a:pt x="749246" y="0"/>
                </a:lnTo>
                <a:lnTo>
                  <a:pt x="751472" y="0"/>
                </a:lnTo>
                <a:lnTo>
                  <a:pt x="751576" y="0"/>
                </a:lnTo>
                <a:lnTo>
                  <a:pt x="753801" y="0"/>
                </a:lnTo>
                <a:lnTo>
                  <a:pt x="755843" y="0"/>
                </a:lnTo>
                <a:lnTo>
                  <a:pt x="758172" y="0"/>
                </a:lnTo>
                <a:lnTo>
                  <a:pt x="758676" y="0"/>
                </a:lnTo>
                <a:lnTo>
                  <a:pt x="759966" y="0"/>
                </a:lnTo>
                <a:lnTo>
                  <a:pt x="762295" y="0"/>
                </a:lnTo>
                <a:lnTo>
                  <a:pt x="764337" y="0"/>
                </a:lnTo>
                <a:lnTo>
                  <a:pt x="764543" y="0"/>
                </a:lnTo>
                <a:lnTo>
                  <a:pt x="766666" y="0"/>
                </a:lnTo>
                <a:lnTo>
                  <a:pt x="767860" y="0"/>
                </a:lnTo>
                <a:lnTo>
                  <a:pt x="768137" y="0"/>
                </a:lnTo>
                <a:lnTo>
                  <a:pt x="771139" y="0"/>
                </a:lnTo>
                <a:lnTo>
                  <a:pt x="772508" y="0"/>
                </a:lnTo>
                <a:lnTo>
                  <a:pt x="774446" y="0"/>
                </a:lnTo>
                <a:lnTo>
                  <a:pt x="774456" y="0"/>
                </a:lnTo>
                <a:lnTo>
                  <a:pt x="776126" y="0"/>
                </a:lnTo>
                <a:lnTo>
                  <a:pt x="776631" y="0"/>
                </a:lnTo>
                <a:lnTo>
                  <a:pt x="778066" y="0"/>
                </a:lnTo>
                <a:lnTo>
                  <a:pt x="779633" y="0"/>
                </a:lnTo>
                <a:lnTo>
                  <a:pt x="781001" y="0"/>
                </a:lnTo>
                <a:lnTo>
                  <a:pt x="782435" y="0"/>
                </a:lnTo>
                <a:lnTo>
                  <a:pt x="782940" y="0"/>
                </a:lnTo>
                <a:lnTo>
                  <a:pt x="782950" y="0"/>
                </a:lnTo>
                <a:lnTo>
                  <a:pt x="783227" y="0"/>
                </a:lnTo>
                <a:lnTo>
                  <a:pt x="787598" y="0"/>
                </a:lnTo>
                <a:lnTo>
                  <a:pt x="787803" y="0"/>
                </a:lnTo>
                <a:lnTo>
                  <a:pt x="789536" y="0"/>
                </a:lnTo>
                <a:lnTo>
                  <a:pt x="791120" y="0"/>
                </a:lnTo>
                <a:lnTo>
                  <a:pt x="794729" y="0"/>
                </a:lnTo>
                <a:lnTo>
                  <a:pt x="794739" y="0"/>
                </a:lnTo>
                <a:lnTo>
                  <a:pt x="796297" y="0"/>
                </a:lnTo>
                <a:lnTo>
                  <a:pt x="799100" y="0"/>
                </a:lnTo>
                <a:lnTo>
                  <a:pt x="799111" y="0"/>
                </a:lnTo>
                <a:lnTo>
                  <a:pt x="799614" y="0"/>
                </a:lnTo>
                <a:lnTo>
                  <a:pt x="801049" y="0"/>
                </a:lnTo>
                <a:lnTo>
                  <a:pt x="801326" y="0"/>
                </a:lnTo>
                <a:lnTo>
                  <a:pt x="802893" y="0"/>
                </a:lnTo>
                <a:lnTo>
                  <a:pt x="805696" y="0"/>
                </a:lnTo>
                <a:lnTo>
                  <a:pt x="806201" y="0"/>
                </a:lnTo>
                <a:lnTo>
                  <a:pt x="806210" y="0"/>
                </a:lnTo>
                <a:lnTo>
                  <a:pt x="809820" y="0"/>
                </a:lnTo>
                <a:lnTo>
                  <a:pt x="812066" y="0"/>
                </a:lnTo>
                <a:lnTo>
                  <a:pt x="812077" y="0"/>
                </a:lnTo>
                <a:lnTo>
                  <a:pt x="814190" y="0"/>
                </a:lnTo>
                <a:lnTo>
                  <a:pt x="815385" y="0"/>
                </a:lnTo>
                <a:lnTo>
                  <a:pt x="817713" y="0"/>
                </a:lnTo>
                <a:lnTo>
                  <a:pt x="818663" y="0"/>
                </a:lnTo>
                <a:lnTo>
                  <a:pt x="821981" y="0"/>
                </a:lnTo>
                <a:lnTo>
                  <a:pt x="824310" y="0"/>
                </a:lnTo>
                <a:lnTo>
                  <a:pt x="827156" y="0"/>
                </a:lnTo>
                <a:lnTo>
                  <a:pt x="828741" y="0"/>
                </a:lnTo>
                <a:lnTo>
                  <a:pt x="830475" y="0"/>
                </a:lnTo>
                <a:lnTo>
                  <a:pt x="830679" y="0"/>
                </a:lnTo>
                <a:lnTo>
                  <a:pt x="832804" y="0"/>
                </a:lnTo>
                <a:lnTo>
                  <a:pt x="835051" y="0"/>
                </a:lnTo>
                <a:lnTo>
                  <a:pt x="835327" y="0"/>
                </a:lnTo>
                <a:lnTo>
                  <a:pt x="835338" y="0"/>
                </a:lnTo>
                <a:lnTo>
                  <a:pt x="837275" y="0"/>
                </a:lnTo>
                <a:lnTo>
                  <a:pt x="838645" y="0"/>
                </a:lnTo>
                <a:lnTo>
                  <a:pt x="841647" y="0"/>
                </a:lnTo>
                <a:lnTo>
                  <a:pt x="842264" y="0"/>
                </a:lnTo>
                <a:lnTo>
                  <a:pt x="843821" y="0"/>
                </a:lnTo>
                <a:lnTo>
                  <a:pt x="843832" y="0"/>
                </a:lnTo>
                <a:lnTo>
                  <a:pt x="845769" y="0"/>
                </a:lnTo>
                <a:lnTo>
                  <a:pt x="846635" y="0"/>
                </a:lnTo>
                <a:lnTo>
                  <a:pt x="847139" y="0"/>
                </a:lnTo>
                <a:lnTo>
                  <a:pt x="848574" y="0"/>
                </a:lnTo>
                <a:lnTo>
                  <a:pt x="850141" y="0"/>
                </a:lnTo>
                <a:lnTo>
                  <a:pt x="850417" y="0"/>
                </a:lnTo>
                <a:lnTo>
                  <a:pt x="853735" y="0"/>
                </a:lnTo>
                <a:lnTo>
                  <a:pt x="853940" y="0"/>
                </a:lnTo>
                <a:lnTo>
                  <a:pt x="858312" y="0"/>
                </a:lnTo>
                <a:lnTo>
                  <a:pt x="859601" y="0"/>
                </a:lnTo>
                <a:lnTo>
                  <a:pt x="861930" y="0"/>
                </a:lnTo>
                <a:lnTo>
                  <a:pt x="862434" y="0"/>
                </a:lnTo>
                <a:lnTo>
                  <a:pt x="865238" y="0"/>
                </a:lnTo>
                <a:lnTo>
                  <a:pt x="865247" y="0"/>
                </a:lnTo>
                <a:lnTo>
                  <a:pt x="866806" y="0"/>
                </a:lnTo>
                <a:lnTo>
                  <a:pt x="869030" y="0"/>
                </a:lnTo>
                <a:lnTo>
                  <a:pt x="871835" y="0"/>
                </a:lnTo>
                <a:lnTo>
                  <a:pt x="873402" y="0"/>
                </a:lnTo>
                <a:lnTo>
                  <a:pt x="876266" y="0"/>
                </a:lnTo>
                <a:lnTo>
                  <a:pt x="878204" y="0"/>
                </a:lnTo>
                <a:lnTo>
                  <a:pt x="878214" y="0"/>
                </a:lnTo>
                <a:lnTo>
                  <a:pt x="880329" y="0"/>
                </a:lnTo>
                <a:lnTo>
                  <a:pt x="882575" y="0"/>
                </a:lnTo>
                <a:lnTo>
                  <a:pt x="882586" y="0"/>
                </a:lnTo>
                <a:lnTo>
                  <a:pt x="882862" y="0"/>
                </a:lnTo>
                <a:lnTo>
                  <a:pt x="884800" y="0"/>
                </a:lnTo>
                <a:lnTo>
                  <a:pt x="889171" y="0"/>
                </a:lnTo>
                <a:lnTo>
                  <a:pt x="891356" y="0"/>
                </a:lnTo>
                <a:lnTo>
                  <a:pt x="893294" y="0"/>
                </a:lnTo>
                <a:lnTo>
                  <a:pt x="894879" y="0"/>
                </a:lnTo>
                <a:lnTo>
                  <a:pt x="897665" y="0"/>
                </a:lnTo>
                <a:lnTo>
                  <a:pt x="899249" y="0"/>
                </a:lnTo>
                <a:lnTo>
                  <a:pt x="901188" y="0"/>
                </a:lnTo>
                <a:lnTo>
                  <a:pt x="901465" y="0"/>
                </a:lnTo>
                <a:lnTo>
                  <a:pt x="901475" y="0"/>
                </a:lnTo>
                <a:lnTo>
                  <a:pt x="905836" y="0"/>
                </a:lnTo>
                <a:lnTo>
                  <a:pt x="905847" y="0"/>
                </a:lnTo>
                <a:lnTo>
                  <a:pt x="907784" y="0"/>
                </a:lnTo>
                <a:lnTo>
                  <a:pt x="909454" y="0"/>
                </a:lnTo>
                <a:lnTo>
                  <a:pt x="909959" y="0"/>
                </a:lnTo>
                <a:lnTo>
                  <a:pt x="909968" y="0"/>
                </a:lnTo>
                <a:lnTo>
                  <a:pt x="912772" y="0"/>
                </a:lnTo>
                <a:lnTo>
                  <a:pt x="914330" y="0"/>
                </a:lnTo>
                <a:lnTo>
                  <a:pt x="914341" y="0"/>
                </a:lnTo>
                <a:lnTo>
                  <a:pt x="916278" y="0"/>
                </a:lnTo>
                <a:lnTo>
                  <a:pt x="916555" y="0"/>
                </a:lnTo>
                <a:lnTo>
                  <a:pt x="924449" y="0"/>
                </a:lnTo>
                <a:lnTo>
                  <a:pt x="925739" y="0"/>
                </a:lnTo>
                <a:lnTo>
                  <a:pt x="928068" y="0"/>
                </a:lnTo>
                <a:lnTo>
                  <a:pt x="930110" y="0"/>
                </a:lnTo>
                <a:lnTo>
                  <a:pt x="932439" y="0"/>
                </a:lnTo>
                <a:lnTo>
                  <a:pt x="942404" y="0"/>
                </a:lnTo>
                <a:lnTo>
                  <a:pt x="945406" y="0"/>
                </a:lnTo>
                <a:lnTo>
                  <a:pt x="946774" y="0"/>
                </a:lnTo>
                <a:lnTo>
                  <a:pt x="948713" y="0"/>
                </a:lnTo>
                <a:lnTo>
                  <a:pt x="948723" y="0"/>
                </a:lnTo>
                <a:lnTo>
                  <a:pt x="949000" y="0"/>
                </a:lnTo>
                <a:lnTo>
                  <a:pt x="953371" y="0"/>
                </a:lnTo>
                <a:lnTo>
                  <a:pt x="955309" y="0"/>
                </a:lnTo>
                <a:lnTo>
                  <a:pt x="962070" y="0"/>
                </a:lnTo>
                <a:lnTo>
                  <a:pt x="965387" y="0"/>
                </a:lnTo>
                <a:lnTo>
                  <a:pt x="968666" y="0"/>
                </a:lnTo>
                <a:lnTo>
                  <a:pt x="971974" y="0"/>
                </a:lnTo>
                <a:lnTo>
                  <a:pt x="971983" y="0"/>
                </a:lnTo>
                <a:lnTo>
                  <a:pt x="975593" y="0"/>
                </a:lnTo>
                <a:lnTo>
                  <a:pt x="979963" y="0"/>
                </a:lnTo>
                <a:lnTo>
                  <a:pt x="992929" y="0"/>
                </a:lnTo>
                <a:lnTo>
                  <a:pt x="996248" y="0"/>
                </a:lnTo>
                <a:lnTo>
                  <a:pt x="998577" y="0"/>
                </a:lnTo>
                <a:lnTo>
                  <a:pt x="1009594" y="0"/>
                </a:lnTo>
                <a:lnTo>
                  <a:pt x="1009605" y="0"/>
                </a:lnTo>
                <a:lnTo>
                  <a:pt x="1011542" y="0"/>
                </a:lnTo>
                <a:lnTo>
                  <a:pt x="1012912" y="0"/>
                </a:lnTo>
                <a:lnTo>
                  <a:pt x="1015914" y="0"/>
                </a:lnTo>
                <a:lnTo>
                  <a:pt x="1016190" y="0"/>
                </a:lnTo>
                <a:lnTo>
                  <a:pt x="1019508" y="0"/>
                </a:lnTo>
                <a:lnTo>
                  <a:pt x="1028207" y="0"/>
                </a:lnTo>
                <a:lnTo>
                  <a:pt x="1032579" y="0"/>
                </a:lnTo>
                <a:lnTo>
                  <a:pt x="1034803" y="0"/>
                </a:lnTo>
                <a:lnTo>
                  <a:pt x="1039175" y="0"/>
                </a:lnTo>
                <a:lnTo>
                  <a:pt x="1046102" y="0"/>
                </a:lnTo>
                <a:lnTo>
                  <a:pt x="1057129" y="0"/>
                </a:lnTo>
                <a:lnTo>
                  <a:pt x="1059067" y="0"/>
                </a:lnTo>
                <a:lnTo>
                  <a:pt x="1063438" y="0"/>
                </a:lnTo>
                <a:lnTo>
                  <a:pt x="1075732" y="0"/>
                </a:lnTo>
                <a:lnTo>
                  <a:pt x="1075741" y="0"/>
                </a:lnTo>
                <a:lnTo>
                  <a:pt x="1080103" y="0"/>
                </a:lnTo>
                <a:lnTo>
                  <a:pt x="1080114" y="0"/>
                </a:lnTo>
                <a:lnTo>
                  <a:pt x="1082051" y="0"/>
                </a:lnTo>
                <a:lnTo>
                  <a:pt x="1082328" y="0"/>
                </a:lnTo>
                <a:cubicBezTo>
                  <a:pt x="1223131" y="0"/>
                  <a:pt x="1337274" y="114144"/>
                  <a:pt x="1337274" y="254947"/>
                </a:cubicBezTo>
                <a:lnTo>
                  <a:pt x="1337273" y="254947"/>
                </a:lnTo>
                <a:cubicBezTo>
                  <a:pt x="1337273" y="395750"/>
                  <a:pt x="1223130" y="509892"/>
                  <a:pt x="1082328" y="509892"/>
                </a:cubicBezTo>
                <a:lnTo>
                  <a:pt x="1080115" y="509892"/>
                </a:lnTo>
                <a:lnTo>
                  <a:pt x="1080112" y="509892"/>
                </a:lnTo>
                <a:lnTo>
                  <a:pt x="1080103" y="509892"/>
                </a:lnTo>
                <a:lnTo>
                  <a:pt x="1080102" y="509892"/>
                </a:lnTo>
                <a:lnTo>
                  <a:pt x="1075744" y="509892"/>
                </a:lnTo>
                <a:lnTo>
                  <a:pt x="1075740" y="509892"/>
                </a:lnTo>
                <a:lnTo>
                  <a:pt x="1075731" y="509892"/>
                </a:lnTo>
                <a:lnTo>
                  <a:pt x="1057129" y="509892"/>
                </a:lnTo>
                <a:lnTo>
                  <a:pt x="1057128" y="509892"/>
                </a:lnTo>
                <a:lnTo>
                  <a:pt x="1046101" y="509892"/>
                </a:lnTo>
                <a:lnTo>
                  <a:pt x="1039177" y="509892"/>
                </a:lnTo>
                <a:lnTo>
                  <a:pt x="1039174" y="509892"/>
                </a:lnTo>
                <a:lnTo>
                  <a:pt x="1034805" y="509892"/>
                </a:lnTo>
                <a:lnTo>
                  <a:pt x="1034803" y="509892"/>
                </a:lnTo>
                <a:lnTo>
                  <a:pt x="1032580" y="509892"/>
                </a:lnTo>
                <a:lnTo>
                  <a:pt x="1032578" y="509892"/>
                </a:lnTo>
                <a:lnTo>
                  <a:pt x="1028209" y="509892"/>
                </a:lnTo>
                <a:lnTo>
                  <a:pt x="1028206" y="509892"/>
                </a:lnTo>
                <a:lnTo>
                  <a:pt x="1019508" y="509892"/>
                </a:lnTo>
                <a:lnTo>
                  <a:pt x="1019507" y="509892"/>
                </a:lnTo>
                <a:lnTo>
                  <a:pt x="1016190" y="509892"/>
                </a:lnTo>
                <a:lnTo>
                  <a:pt x="1016189" y="509892"/>
                </a:lnTo>
                <a:lnTo>
                  <a:pt x="1012912" y="509892"/>
                </a:lnTo>
                <a:lnTo>
                  <a:pt x="1012911" y="509892"/>
                </a:lnTo>
                <a:lnTo>
                  <a:pt x="1009606" y="509892"/>
                </a:lnTo>
                <a:lnTo>
                  <a:pt x="1009604" y="509892"/>
                </a:lnTo>
                <a:lnTo>
                  <a:pt x="1009594" y="509892"/>
                </a:lnTo>
                <a:lnTo>
                  <a:pt x="1009593" y="509892"/>
                </a:lnTo>
                <a:lnTo>
                  <a:pt x="998578" y="509892"/>
                </a:lnTo>
                <a:lnTo>
                  <a:pt x="998576" y="509892"/>
                </a:lnTo>
                <a:lnTo>
                  <a:pt x="979963" y="509892"/>
                </a:lnTo>
                <a:lnTo>
                  <a:pt x="975592" y="509892"/>
                </a:lnTo>
                <a:lnTo>
                  <a:pt x="971986" y="509892"/>
                </a:lnTo>
                <a:lnTo>
                  <a:pt x="971982" y="509892"/>
                </a:lnTo>
                <a:lnTo>
                  <a:pt x="971973" y="509892"/>
                </a:lnTo>
                <a:lnTo>
                  <a:pt x="968668" y="509892"/>
                </a:lnTo>
                <a:lnTo>
                  <a:pt x="968665" y="509892"/>
                </a:lnTo>
                <a:lnTo>
                  <a:pt x="965388" y="509892"/>
                </a:lnTo>
                <a:lnTo>
                  <a:pt x="965386" y="509892"/>
                </a:lnTo>
                <a:lnTo>
                  <a:pt x="962071" y="509892"/>
                </a:lnTo>
                <a:lnTo>
                  <a:pt x="962069" y="509892"/>
                </a:lnTo>
                <a:lnTo>
                  <a:pt x="953371" y="509892"/>
                </a:lnTo>
                <a:lnTo>
                  <a:pt x="953370" y="509892"/>
                </a:lnTo>
                <a:lnTo>
                  <a:pt x="949000" y="509892"/>
                </a:lnTo>
                <a:lnTo>
                  <a:pt x="948999" y="509892"/>
                </a:lnTo>
                <a:lnTo>
                  <a:pt x="946774" y="509892"/>
                </a:lnTo>
                <a:lnTo>
                  <a:pt x="946773" y="509892"/>
                </a:lnTo>
                <a:lnTo>
                  <a:pt x="942404" y="509892"/>
                </a:lnTo>
                <a:lnTo>
                  <a:pt x="942402" y="509892"/>
                </a:lnTo>
                <a:lnTo>
                  <a:pt x="932441" y="509892"/>
                </a:lnTo>
                <a:lnTo>
                  <a:pt x="932439" y="509892"/>
                </a:lnTo>
                <a:lnTo>
                  <a:pt x="928069" y="509892"/>
                </a:lnTo>
                <a:lnTo>
                  <a:pt x="928067" y="509892"/>
                </a:lnTo>
                <a:lnTo>
                  <a:pt x="924451" y="509892"/>
                </a:lnTo>
                <a:lnTo>
                  <a:pt x="924448" y="509892"/>
                </a:lnTo>
                <a:lnTo>
                  <a:pt x="916555" y="509892"/>
                </a:lnTo>
                <a:lnTo>
                  <a:pt x="914342" y="509892"/>
                </a:lnTo>
                <a:lnTo>
                  <a:pt x="914339" y="509892"/>
                </a:lnTo>
                <a:lnTo>
                  <a:pt x="914330" y="509892"/>
                </a:lnTo>
                <a:lnTo>
                  <a:pt x="914329" y="509892"/>
                </a:lnTo>
                <a:lnTo>
                  <a:pt x="912772" y="509892"/>
                </a:lnTo>
                <a:lnTo>
                  <a:pt x="909971" y="509892"/>
                </a:lnTo>
                <a:lnTo>
                  <a:pt x="909967" y="509892"/>
                </a:lnTo>
                <a:lnTo>
                  <a:pt x="909958" y="509892"/>
                </a:lnTo>
                <a:lnTo>
                  <a:pt x="909454" y="509892"/>
                </a:lnTo>
                <a:lnTo>
                  <a:pt x="905848" y="509892"/>
                </a:lnTo>
                <a:lnTo>
                  <a:pt x="905846" y="509892"/>
                </a:lnTo>
                <a:lnTo>
                  <a:pt x="905836" y="509892"/>
                </a:lnTo>
                <a:lnTo>
                  <a:pt x="905835" y="509892"/>
                </a:lnTo>
                <a:lnTo>
                  <a:pt x="901477" y="509892"/>
                </a:lnTo>
                <a:lnTo>
                  <a:pt x="901474" y="509892"/>
                </a:lnTo>
                <a:lnTo>
                  <a:pt x="901464" y="509892"/>
                </a:lnTo>
                <a:lnTo>
                  <a:pt x="899251" y="509892"/>
                </a:lnTo>
                <a:lnTo>
                  <a:pt x="899249" y="509892"/>
                </a:lnTo>
                <a:lnTo>
                  <a:pt x="894880" y="509892"/>
                </a:lnTo>
                <a:lnTo>
                  <a:pt x="894877" y="509892"/>
                </a:lnTo>
                <a:lnTo>
                  <a:pt x="891356" y="509892"/>
                </a:lnTo>
                <a:lnTo>
                  <a:pt x="891355" y="509892"/>
                </a:lnTo>
                <a:lnTo>
                  <a:pt x="882862" y="509892"/>
                </a:lnTo>
                <a:lnTo>
                  <a:pt x="882861" y="509892"/>
                </a:lnTo>
                <a:lnTo>
                  <a:pt x="880328" y="509892"/>
                </a:lnTo>
                <a:lnTo>
                  <a:pt x="876266" y="509892"/>
                </a:lnTo>
                <a:lnTo>
                  <a:pt x="876265" y="509892"/>
                </a:lnTo>
                <a:lnTo>
                  <a:pt x="873404" y="509892"/>
                </a:lnTo>
                <a:lnTo>
                  <a:pt x="873401" y="509892"/>
                </a:lnTo>
                <a:lnTo>
                  <a:pt x="871834" y="509892"/>
                </a:lnTo>
                <a:lnTo>
                  <a:pt x="869032" y="509892"/>
                </a:lnTo>
                <a:lnTo>
                  <a:pt x="869030" y="509892"/>
                </a:lnTo>
                <a:lnTo>
                  <a:pt x="866807" y="509892"/>
                </a:lnTo>
                <a:lnTo>
                  <a:pt x="866805" y="509892"/>
                </a:lnTo>
                <a:lnTo>
                  <a:pt x="865250" y="509892"/>
                </a:lnTo>
                <a:lnTo>
                  <a:pt x="865247" y="509892"/>
                </a:lnTo>
                <a:lnTo>
                  <a:pt x="865237" y="509892"/>
                </a:lnTo>
                <a:lnTo>
                  <a:pt x="862436" y="509892"/>
                </a:lnTo>
                <a:lnTo>
                  <a:pt x="862433" y="509892"/>
                </a:lnTo>
                <a:lnTo>
                  <a:pt x="861932" y="509892"/>
                </a:lnTo>
                <a:lnTo>
                  <a:pt x="861930" y="509892"/>
                </a:lnTo>
                <a:lnTo>
                  <a:pt x="858313" y="509892"/>
                </a:lnTo>
                <a:lnTo>
                  <a:pt x="858311" y="509892"/>
                </a:lnTo>
                <a:lnTo>
                  <a:pt x="853942" y="509892"/>
                </a:lnTo>
                <a:lnTo>
                  <a:pt x="853939" y="509892"/>
                </a:lnTo>
                <a:lnTo>
                  <a:pt x="853735" y="509892"/>
                </a:lnTo>
                <a:lnTo>
                  <a:pt x="853734" y="509892"/>
                </a:lnTo>
                <a:lnTo>
                  <a:pt x="850417" y="509892"/>
                </a:lnTo>
                <a:lnTo>
                  <a:pt x="850416" y="509892"/>
                </a:lnTo>
                <a:lnTo>
                  <a:pt x="847139" y="509892"/>
                </a:lnTo>
                <a:lnTo>
                  <a:pt x="847138" y="509892"/>
                </a:lnTo>
                <a:lnTo>
                  <a:pt x="846635" y="509892"/>
                </a:lnTo>
                <a:lnTo>
                  <a:pt x="846634" y="509892"/>
                </a:lnTo>
                <a:lnTo>
                  <a:pt x="843833" y="509892"/>
                </a:lnTo>
                <a:lnTo>
                  <a:pt x="843831" y="509892"/>
                </a:lnTo>
                <a:lnTo>
                  <a:pt x="843821" y="509892"/>
                </a:lnTo>
                <a:lnTo>
                  <a:pt x="843820" y="509892"/>
                </a:lnTo>
                <a:lnTo>
                  <a:pt x="842264" y="509892"/>
                </a:lnTo>
                <a:lnTo>
                  <a:pt x="838645" y="509892"/>
                </a:lnTo>
                <a:lnTo>
                  <a:pt x="838644" y="509892"/>
                </a:lnTo>
                <a:lnTo>
                  <a:pt x="835339" y="509892"/>
                </a:lnTo>
                <a:lnTo>
                  <a:pt x="835337" y="509892"/>
                </a:lnTo>
                <a:lnTo>
                  <a:pt x="835327" y="509892"/>
                </a:lnTo>
                <a:lnTo>
                  <a:pt x="835326" y="509892"/>
                </a:lnTo>
                <a:lnTo>
                  <a:pt x="832805" y="509892"/>
                </a:lnTo>
                <a:lnTo>
                  <a:pt x="832803" y="509892"/>
                </a:lnTo>
                <a:lnTo>
                  <a:pt x="828742" y="509892"/>
                </a:lnTo>
                <a:lnTo>
                  <a:pt x="828741" y="509892"/>
                </a:lnTo>
                <a:lnTo>
                  <a:pt x="824311" y="509892"/>
                </a:lnTo>
                <a:lnTo>
                  <a:pt x="824309" y="509892"/>
                </a:lnTo>
                <a:lnTo>
                  <a:pt x="817715" y="509892"/>
                </a:lnTo>
                <a:lnTo>
                  <a:pt x="817712" y="509892"/>
                </a:lnTo>
                <a:lnTo>
                  <a:pt x="814190" y="509892"/>
                </a:lnTo>
                <a:lnTo>
                  <a:pt x="809819" y="509892"/>
                </a:lnTo>
                <a:lnTo>
                  <a:pt x="806213" y="509892"/>
                </a:lnTo>
                <a:lnTo>
                  <a:pt x="806209" y="509892"/>
                </a:lnTo>
                <a:lnTo>
                  <a:pt x="806200" y="509892"/>
                </a:lnTo>
                <a:lnTo>
                  <a:pt x="805696" y="509892"/>
                </a:lnTo>
                <a:lnTo>
                  <a:pt x="802895" y="509892"/>
                </a:lnTo>
                <a:lnTo>
                  <a:pt x="802892" y="509892"/>
                </a:lnTo>
                <a:lnTo>
                  <a:pt x="801325" y="509892"/>
                </a:lnTo>
                <a:lnTo>
                  <a:pt x="799615" y="509892"/>
                </a:lnTo>
                <a:lnTo>
                  <a:pt x="799613" y="509892"/>
                </a:lnTo>
                <a:lnTo>
                  <a:pt x="799112" y="509892"/>
                </a:lnTo>
                <a:lnTo>
                  <a:pt x="799110" y="509892"/>
                </a:lnTo>
                <a:lnTo>
                  <a:pt x="799100" y="509892"/>
                </a:lnTo>
                <a:lnTo>
                  <a:pt x="799099" y="509892"/>
                </a:lnTo>
                <a:lnTo>
                  <a:pt x="796298" y="509892"/>
                </a:lnTo>
                <a:lnTo>
                  <a:pt x="796296" y="509892"/>
                </a:lnTo>
                <a:lnTo>
                  <a:pt x="794741" y="509892"/>
                </a:lnTo>
                <a:lnTo>
                  <a:pt x="794739" y="509892"/>
                </a:lnTo>
                <a:lnTo>
                  <a:pt x="794728" y="509892"/>
                </a:lnTo>
                <a:lnTo>
                  <a:pt x="791122" y="509892"/>
                </a:lnTo>
                <a:lnTo>
                  <a:pt x="791119" y="509892"/>
                </a:lnTo>
                <a:lnTo>
                  <a:pt x="787804" y="509892"/>
                </a:lnTo>
                <a:lnTo>
                  <a:pt x="787802" y="509892"/>
                </a:lnTo>
                <a:lnTo>
                  <a:pt x="787598" y="509892"/>
                </a:lnTo>
                <a:lnTo>
                  <a:pt x="787597" y="509892"/>
                </a:lnTo>
                <a:lnTo>
                  <a:pt x="783227" y="509892"/>
                </a:lnTo>
                <a:lnTo>
                  <a:pt x="783226" y="509892"/>
                </a:lnTo>
                <a:lnTo>
                  <a:pt x="781001" y="509892"/>
                </a:lnTo>
                <a:lnTo>
                  <a:pt x="781000" y="509892"/>
                </a:lnTo>
                <a:lnTo>
                  <a:pt x="776631" y="509892"/>
                </a:lnTo>
                <a:lnTo>
                  <a:pt x="776629" y="509892"/>
                </a:lnTo>
                <a:lnTo>
                  <a:pt x="776126" y="509892"/>
                </a:lnTo>
                <a:lnTo>
                  <a:pt x="776125" y="509892"/>
                </a:lnTo>
                <a:lnTo>
                  <a:pt x="772508" y="509892"/>
                </a:lnTo>
                <a:lnTo>
                  <a:pt x="772507" y="509892"/>
                </a:lnTo>
                <a:lnTo>
                  <a:pt x="768137" y="509892"/>
                </a:lnTo>
                <a:lnTo>
                  <a:pt x="768136" y="509892"/>
                </a:lnTo>
                <a:lnTo>
                  <a:pt x="766668" y="509892"/>
                </a:lnTo>
                <a:lnTo>
                  <a:pt x="766666" y="509892"/>
                </a:lnTo>
                <a:lnTo>
                  <a:pt x="762296" y="509892"/>
                </a:lnTo>
                <a:lnTo>
                  <a:pt x="762294" y="509892"/>
                </a:lnTo>
                <a:lnTo>
                  <a:pt x="758678" y="509892"/>
                </a:lnTo>
                <a:lnTo>
                  <a:pt x="758675" y="509892"/>
                </a:lnTo>
                <a:lnTo>
                  <a:pt x="758174" y="509892"/>
                </a:lnTo>
                <a:lnTo>
                  <a:pt x="758172" y="509892"/>
                </a:lnTo>
                <a:lnTo>
                  <a:pt x="753802" y="509892"/>
                </a:lnTo>
                <a:lnTo>
                  <a:pt x="753800" y="509892"/>
                </a:lnTo>
                <a:lnTo>
                  <a:pt x="751578" y="509892"/>
                </a:lnTo>
                <a:lnTo>
                  <a:pt x="751575" y="509892"/>
                </a:lnTo>
                <a:lnTo>
                  <a:pt x="747206" y="509892"/>
                </a:lnTo>
                <a:lnTo>
                  <a:pt x="747203" y="509892"/>
                </a:lnTo>
                <a:lnTo>
                  <a:pt x="746999" y="509892"/>
                </a:lnTo>
                <a:lnTo>
                  <a:pt x="743681" y="509892"/>
                </a:lnTo>
                <a:lnTo>
                  <a:pt x="740075" y="509892"/>
                </a:lnTo>
                <a:lnTo>
                  <a:pt x="740073" y="509892"/>
                </a:lnTo>
                <a:lnTo>
                  <a:pt x="740063" y="509892"/>
                </a:lnTo>
                <a:lnTo>
                  <a:pt x="740062" y="509892"/>
                </a:lnTo>
                <a:lnTo>
                  <a:pt x="738506" y="509892"/>
                </a:lnTo>
                <a:lnTo>
                  <a:pt x="735704" y="509892"/>
                </a:lnTo>
                <a:lnTo>
                  <a:pt x="735701" y="509892"/>
                </a:lnTo>
                <a:lnTo>
                  <a:pt x="735691" y="509892"/>
                </a:lnTo>
                <a:lnTo>
                  <a:pt x="735187" y="509892"/>
                </a:lnTo>
                <a:lnTo>
                  <a:pt x="733478" y="509892"/>
                </a:lnTo>
                <a:lnTo>
                  <a:pt x="733476" y="509892"/>
                </a:lnTo>
                <a:lnTo>
                  <a:pt x="731909" y="509892"/>
                </a:lnTo>
                <a:lnTo>
                  <a:pt x="731908" y="509892"/>
                </a:lnTo>
                <a:lnTo>
                  <a:pt x="729107" y="509892"/>
                </a:lnTo>
                <a:lnTo>
                  <a:pt x="729104" y="509892"/>
                </a:lnTo>
                <a:lnTo>
                  <a:pt x="728603" y="509892"/>
                </a:lnTo>
                <a:lnTo>
                  <a:pt x="728601" y="509892"/>
                </a:lnTo>
                <a:lnTo>
                  <a:pt x="728591" y="509892"/>
                </a:lnTo>
                <a:lnTo>
                  <a:pt x="728590" y="509892"/>
                </a:lnTo>
                <a:lnTo>
                  <a:pt x="724984" y="509892"/>
                </a:lnTo>
                <a:lnTo>
                  <a:pt x="724983" y="509892"/>
                </a:lnTo>
                <a:lnTo>
                  <a:pt x="720613" y="509892"/>
                </a:lnTo>
                <a:lnTo>
                  <a:pt x="720611" y="509892"/>
                </a:lnTo>
                <a:lnTo>
                  <a:pt x="717089" y="509892"/>
                </a:lnTo>
                <a:lnTo>
                  <a:pt x="717088" y="509892"/>
                </a:lnTo>
                <a:lnTo>
                  <a:pt x="710493" y="509892"/>
                </a:lnTo>
                <a:lnTo>
                  <a:pt x="710492" y="509892"/>
                </a:lnTo>
                <a:lnTo>
                  <a:pt x="706061" y="509892"/>
                </a:lnTo>
                <a:lnTo>
                  <a:pt x="701999" y="509892"/>
                </a:lnTo>
                <a:lnTo>
                  <a:pt x="701998" y="509892"/>
                </a:lnTo>
                <a:lnTo>
                  <a:pt x="699477" y="509892"/>
                </a:lnTo>
                <a:lnTo>
                  <a:pt x="699474" y="509892"/>
                </a:lnTo>
                <a:lnTo>
                  <a:pt x="699464" y="509892"/>
                </a:lnTo>
                <a:lnTo>
                  <a:pt x="696159" y="509892"/>
                </a:lnTo>
                <a:lnTo>
                  <a:pt x="696157" y="509892"/>
                </a:lnTo>
                <a:lnTo>
                  <a:pt x="692540" y="509892"/>
                </a:lnTo>
                <a:lnTo>
                  <a:pt x="692538" y="509892"/>
                </a:lnTo>
                <a:lnTo>
                  <a:pt x="690983" y="509892"/>
                </a:lnTo>
                <a:lnTo>
                  <a:pt x="690981" y="509892"/>
                </a:lnTo>
                <a:lnTo>
                  <a:pt x="690970" y="509892"/>
                </a:lnTo>
                <a:lnTo>
                  <a:pt x="688169" y="509892"/>
                </a:lnTo>
                <a:lnTo>
                  <a:pt x="688166" y="509892"/>
                </a:lnTo>
                <a:lnTo>
                  <a:pt x="687666" y="509892"/>
                </a:lnTo>
                <a:lnTo>
                  <a:pt x="687663" y="509892"/>
                </a:lnTo>
                <a:lnTo>
                  <a:pt x="684387" y="509892"/>
                </a:lnTo>
                <a:lnTo>
                  <a:pt x="684383" y="509892"/>
                </a:lnTo>
                <a:lnTo>
                  <a:pt x="681069" y="509892"/>
                </a:lnTo>
                <a:lnTo>
                  <a:pt x="681066" y="509892"/>
                </a:lnTo>
                <a:lnTo>
                  <a:pt x="680862" y="509892"/>
                </a:lnTo>
                <a:lnTo>
                  <a:pt x="680861" y="509892"/>
                </a:lnTo>
                <a:lnTo>
                  <a:pt x="676491" y="509892"/>
                </a:lnTo>
                <a:lnTo>
                  <a:pt x="672872" y="509892"/>
                </a:lnTo>
                <a:lnTo>
                  <a:pt x="672871" y="509892"/>
                </a:lnTo>
                <a:lnTo>
                  <a:pt x="672368" y="509892"/>
                </a:lnTo>
                <a:lnTo>
                  <a:pt x="672367" y="509892"/>
                </a:lnTo>
                <a:lnTo>
                  <a:pt x="669566" y="509892"/>
                </a:lnTo>
                <a:lnTo>
                  <a:pt x="669564" y="509892"/>
                </a:lnTo>
                <a:lnTo>
                  <a:pt x="669554" y="509892"/>
                </a:lnTo>
                <a:lnTo>
                  <a:pt x="669553" y="509892"/>
                </a:lnTo>
                <a:lnTo>
                  <a:pt x="667997" y="509892"/>
                </a:lnTo>
                <a:lnTo>
                  <a:pt x="665772" y="509892"/>
                </a:lnTo>
                <a:lnTo>
                  <a:pt x="665771" y="509892"/>
                </a:lnTo>
                <a:lnTo>
                  <a:pt x="662969" y="509892"/>
                </a:lnTo>
                <a:lnTo>
                  <a:pt x="662968" y="509892"/>
                </a:lnTo>
                <a:lnTo>
                  <a:pt x="661401" y="509892"/>
                </a:lnTo>
                <a:lnTo>
                  <a:pt x="661400" y="509892"/>
                </a:lnTo>
                <a:lnTo>
                  <a:pt x="658538" y="509892"/>
                </a:lnTo>
                <a:lnTo>
                  <a:pt x="658536" y="509892"/>
                </a:lnTo>
                <a:lnTo>
                  <a:pt x="654475" y="509892"/>
                </a:lnTo>
                <a:lnTo>
                  <a:pt x="654474" y="509892"/>
                </a:lnTo>
                <a:lnTo>
                  <a:pt x="651942" y="509892"/>
                </a:lnTo>
                <a:lnTo>
                  <a:pt x="651939" y="509892"/>
                </a:lnTo>
                <a:lnTo>
                  <a:pt x="643448" y="509892"/>
                </a:lnTo>
                <a:lnTo>
                  <a:pt x="643445" y="509892"/>
                </a:lnTo>
                <a:lnTo>
                  <a:pt x="639923" y="509892"/>
                </a:lnTo>
                <a:lnTo>
                  <a:pt x="635552" y="509892"/>
                </a:lnTo>
                <a:lnTo>
                  <a:pt x="633339" y="509892"/>
                </a:lnTo>
                <a:lnTo>
                  <a:pt x="633337" y="509892"/>
                </a:lnTo>
                <a:lnTo>
                  <a:pt x="633327" y="509892"/>
                </a:lnTo>
                <a:lnTo>
                  <a:pt x="633326" y="509892"/>
                </a:lnTo>
                <a:lnTo>
                  <a:pt x="628968" y="509892"/>
                </a:lnTo>
                <a:lnTo>
                  <a:pt x="628966" y="509892"/>
                </a:lnTo>
                <a:lnTo>
                  <a:pt x="628955" y="509892"/>
                </a:lnTo>
                <a:lnTo>
                  <a:pt x="625349" y="509892"/>
                </a:lnTo>
                <a:lnTo>
                  <a:pt x="625346" y="509892"/>
                </a:lnTo>
                <a:lnTo>
                  <a:pt x="624845" y="509892"/>
                </a:lnTo>
                <a:lnTo>
                  <a:pt x="624843" y="509892"/>
                </a:lnTo>
                <a:lnTo>
                  <a:pt x="624833" y="509892"/>
                </a:lnTo>
                <a:lnTo>
                  <a:pt x="624832" y="509892"/>
                </a:lnTo>
                <a:lnTo>
                  <a:pt x="622031" y="509892"/>
                </a:lnTo>
                <a:lnTo>
                  <a:pt x="622029" y="509892"/>
                </a:lnTo>
                <a:lnTo>
                  <a:pt x="620474" y="509892"/>
                </a:lnTo>
                <a:lnTo>
                  <a:pt x="620472" y="509892"/>
                </a:lnTo>
                <a:lnTo>
                  <a:pt x="620461" y="509892"/>
                </a:lnTo>
                <a:lnTo>
                  <a:pt x="618249" y="509892"/>
                </a:lnTo>
                <a:lnTo>
                  <a:pt x="618247" y="509892"/>
                </a:lnTo>
                <a:lnTo>
                  <a:pt x="610353" y="509892"/>
                </a:lnTo>
                <a:lnTo>
                  <a:pt x="610352" y="509892"/>
                </a:lnTo>
                <a:lnTo>
                  <a:pt x="606735" y="509892"/>
                </a:lnTo>
                <a:lnTo>
                  <a:pt x="606734" y="509892"/>
                </a:lnTo>
                <a:lnTo>
                  <a:pt x="602364" y="509892"/>
                </a:lnTo>
                <a:lnTo>
                  <a:pt x="602363" y="509892"/>
                </a:lnTo>
                <a:lnTo>
                  <a:pt x="592401" y="509892"/>
                </a:lnTo>
                <a:lnTo>
                  <a:pt x="592399" y="509892"/>
                </a:lnTo>
                <a:lnTo>
                  <a:pt x="588029" y="509892"/>
                </a:lnTo>
                <a:lnTo>
                  <a:pt x="588027" y="509892"/>
                </a:lnTo>
                <a:lnTo>
                  <a:pt x="585805" y="509892"/>
                </a:lnTo>
                <a:lnTo>
                  <a:pt x="585802" y="509892"/>
                </a:lnTo>
                <a:lnTo>
                  <a:pt x="581433" y="509892"/>
                </a:lnTo>
                <a:lnTo>
                  <a:pt x="581430" y="509892"/>
                </a:lnTo>
                <a:lnTo>
                  <a:pt x="572733" y="509892"/>
                </a:lnTo>
                <a:lnTo>
                  <a:pt x="569414" y="509892"/>
                </a:lnTo>
                <a:lnTo>
                  <a:pt x="566136" y="509892"/>
                </a:lnTo>
                <a:lnTo>
                  <a:pt x="566135" y="509892"/>
                </a:lnTo>
                <a:lnTo>
                  <a:pt x="562830" y="509892"/>
                </a:lnTo>
                <a:lnTo>
                  <a:pt x="562828" y="509892"/>
                </a:lnTo>
                <a:lnTo>
                  <a:pt x="562818" y="509892"/>
                </a:lnTo>
                <a:lnTo>
                  <a:pt x="562817" y="509892"/>
                </a:lnTo>
                <a:lnTo>
                  <a:pt x="559211" y="509892"/>
                </a:lnTo>
                <a:lnTo>
                  <a:pt x="559210" y="509892"/>
                </a:lnTo>
                <a:lnTo>
                  <a:pt x="554840" y="509892"/>
                </a:lnTo>
                <a:lnTo>
                  <a:pt x="554838" y="509892"/>
                </a:lnTo>
                <a:lnTo>
                  <a:pt x="536226" y="509892"/>
                </a:lnTo>
                <a:lnTo>
                  <a:pt x="536225" y="509892"/>
                </a:lnTo>
                <a:lnTo>
                  <a:pt x="525210" y="509892"/>
                </a:lnTo>
                <a:lnTo>
                  <a:pt x="525208" y="509892"/>
                </a:lnTo>
                <a:lnTo>
                  <a:pt x="525197" y="509892"/>
                </a:lnTo>
                <a:lnTo>
                  <a:pt x="521893" y="509892"/>
                </a:lnTo>
                <a:lnTo>
                  <a:pt x="521890" y="509892"/>
                </a:lnTo>
                <a:lnTo>
                  <a:pt x="518614" y="509892"/>
                </a:lnTo>
                <a:lnTo>
                  <a:pt x="518610" y="509892"/>
                </a:lnTo>
                <a:lnTo>
                  <a:pt x="515296" y="509892"/>
                </a:lnTo>
                <a:lnTo>
                  <a:pt x="515293" y="509892"/>
                </a:lnTo>
                <a:lnTo>
                  <a:pt x="506595" y="509892"/>
                </a:lnTo>
                <a:lnTo>
                  <a:pt x="506594" y="509892"/>
                </a:lnTo>
                <a:lnTo>
                  <a:pt x="502224" y="509892"/>
                </a:lnTo>
                <a:lnTo>
                  <a:pt x="499999" y="509892"/>
                </a:lnTo>
                <a:lnTo>
                  <a:pt x="499998" y="509892"/>
                </a:lnTo>
                <a:lnTo>
                  <a:pt x="495628" y="509892"/>
                </a:lnTo>
                <a:lnTo>
                  <a:pt x="495627" y="509892"/>
                </a:lnTo>
                <a:lnTo>
                  <a:pt x="488702" y="509892"/>
                </a:lnTo>
                <a:lnTo>
                  <a:pt x="488701" y="509892"/>
                </a:lnTo>
                <a:lnTo>
                  <a:pt x="477675" y="509892"/>
                </a:lnTo>
                <a:lnTo>
                  <a:pt x="477672" y="509892"/>
                </a:lnTo>
                <a:lnTo>
                  <a:pt x="459072" y="509892"/>
                </a:lnTo>
                <a:lnTo>
                  <a:pt x="459070" y="509892"/>
                </a:lnTo>
                <a:lnTo>
                  <a:pt x="459060" y="509892"/>
                </a:lnTo>
                <a:lnTo>
                  <a:pt x="459059" y="509892"/>
                </a:lnTo>
                <a:lnTo>
                  <a:pt x="454701" y="509892"/>
                </a:lnTo>
                <a:lnTo>
                  <a:pt x="454699" y="509892"/>
                </a:lnTo>
                <a:lnTo>
                  <a:pt x="454688" y="509892"/>
                </a:lnTo>
                <a:lnTo>
                  <a:pt x="452476" y="509892"/>
                </a:lnTo>
                <a:lnTo>
                  <a:pt x="452474" y="509892"/>
                </a:lnTo>
                <a:lnTo>
                  <a:pt x="254947" y="509891"/>
                </a:lnTo>
                <a:cubicBezTo>
                  <a:pt x="131743" y="509891"/>
                  <a:pt x="28953" y="422501"/>
                  <a:pt x="5179" y="306326"/>
                </a:cubicBezTo>
                <a:lnTo>
                  <a:pt x="0" y="254947"/>
                </a:lnTo>
                <a:lnTo>
                  <a:pt x="5179" y="203566"/>
                </a:lnTo>
                <a:cubicBezTo>
                  <a:pt x="28953" y="87392"/>
                  <a:pt x="131743" y="0"/>
                  <a:pt x="25494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52" name="Picture 2" descr="Государственный флаг Республики Беларусь | Официальный интернет-портал  Президента Республики Беларусь">
            <a:extLst>
              <a:ext uri="{FF2B5EF4-FFF2-40B4-BE49-F238E27FC236}">
                <a16:creationId xmlns:a16="http://schemas.microsoft.com/office/drawing/2014/main" xmlns="" id="{3B3397CB-6A22-A9F9-8F26-4B8BD466E8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4101" y="2283967"/>
            <a:ext cx="548470" cy="307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4" descr="Флаг Армении — Википедия">
            <a:extLst>
              <a:ext uri="{FF2B5EF4-FFF2-40B4-BE49-F238E27FC236}">
                <a16:creationId xmlns:a16="http://schemas.microsoft.com/office/drawing/2014/main" xmlns="" id="{DEA57F7D-B5DF-E929-4387-05B82699D0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1216" y="2283967"/>
            <a:ext cx="498145" cy="305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6" descr="Флаг Азербайджанской Республики — Википедия">
            <a:extLst>
              <a:ext uri="{FF2B5EF4-FFF2-40B4-BE49-F238E27FC236}">
                <a16:creationId xmlns:a16="http://schemas.microsoft.com/office/drawing/2014/main" xmlns="" id="{BE0474C1-7FE5-BE03-02F4-2F2E0CCD34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8006" y="2283967"/>
            <a:ext cx="543591" cy="303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10" descr="Флаг Объединённых Арабских Эмиратов — Википедия">
            <a:extLst>
              <a:ext uri="{FF2B5EF4-FFF2-40B4-BE49-F238E27FC236}">
                <a16:creationId xmlns:a16="http://schemas.microsoft.com/office/drawing/2014/main" xmlns="" id="{0D26C5C5-E28B-39C4-E57B-45DA8BC159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1392" y="2283967"/>
            <a:ext cx="589621" cy="294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Рисунок 7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219658" y="2282808"/>
            <a:ext cx="480823" cy="295969"/>
          </a:xfrm>
          <a:prstGeom prst="rect">
            <a:avLst/>
          </a:prstGeom>
        </p:spPr>
      </p:pic>
      <p:pic>
        <p:nvPicPr>
          <p:cNvPr id="76" name="Рисунок 75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0799126" y="2282808"/>
            <a:ext cx="444170" cy="295969"/>
          </a:xfrm>
          <a:prstGeom prst="rect">
            <a:avLst/>
          </a:prstGeom>
        </p:spPr>
      </p:pic>
      <p:pic>
        <p:nvPicPr>
          <p:cNvPr id="77" name="Рисунок 76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1341943" y="2282808"/>
            <a:ext cx="443610" cy="295969"/>
          </a:xfrm>
          <a:prstGeom prst="rect">
            <a:avLst/>
          </a:prstGeom>
        </p:spPr>
      </p:pic>
      <p:pic>
        <p:nvPicPr>
          <p:cNvPr id="78" name="Рисунок 77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980242" y="2286774"/>
            <a:ext cx="452505" cy="300733"/>
          </a:xfrm>
          <a:prstGeom prst="rect">
            <a:avLst/>
          </a:prstGeom>
        </p:spPr>
      </p:pic>
      <p:pic>
        <p:nvPicPr>
          <p:cNvPr id="57346" name="Picture 2" descr="http://qrcoder.ru/code/?https%3A%2F%2Fxn--l1agf.xn--p1ai%2Fservices%2Fdevelopment%2Fpromo%2Fnonprod%2F&amp;4&amp;0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4160" y="5963716"/>
            <a:ext cx="815975" cy="815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Рисунок 5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2879" y="377111"/>
            <a:ext cx="2111389" cy="409703"/>
          </a:xfrm>
          <a:prstGeom prst="rect">
            <a:avLst/>
          </a:prstGeom>
        </p:spPr>
      </p:pic>
      <p:pic>
        <p:nvPicPr>
          <p:cNvPr id="62" name="Рисунок 61"/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233877" y="385446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800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20848" y="0"/>
            <a:ext cx="5960719" cy="6858000"/>
          </a:xfrm>
          <a:prstGeom prst="rect">
            <a:avLst/>
          </a:prstGeom>
          <a:gradFill flip="none" rotWithShape="1">
            <a:gsLst>
              <a:gs pos="0">
                <a:srgbClr val="9165E8">
                  <a:shade val="30000"/>
                  <a:satMod val="115000"/>
                </a:srgbClr>
              </a:gs>
              <a:gs pos="50000">
                <a:srgbClr val="9165E8">
                  <a:shade val="67500"/>
                  <a:satMod val="115000"/>
                </a:srgbClr>
              </a:gs>
              <a:gs pos="100000">
                <a:srgbClr val="9165E8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121430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6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6518822" y="1594362"/>
            <a:ext cx="525214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z="28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а платформе вы найдете:</a:t>
            </a:r>
            <a:endParaRPr lang="ru-RU" sz="28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6518822" y="1929315"/>
            <a:ext cx="5425528" cy="252376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600"/>
              </a:spcBef>
              <a:spcAft>
                <a:spcPts val="600"/>
              </a:spcAft>
              <a:buClr>
                <a:srgbClr val="9165E8"/>
              </a:buClr>
              <a:buSzPct val="150000"/>
            </a:pPr>
            <a:endParaRPr lang="ru-RU" sz="2400" spc="7" dirty="0">
              <a:solidFill>
                <a:srgbClr val="19191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66700" marR="2786" indent="-266700">
              <a:spcBef>
                <a:spcPts val="600"/>
              </a:spcBef>
              <a:spcAft>
                <a:spcPts val="600"/>
              </a:spcAft>
              <a:buClr>
                <a:srgbClr val="9165E8"/>
              </a:buClr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spc="7" dirty="0">
                <a:latin typeface="Segoe UI" panose="020B0502040204020203" pitchFamily="34" charset="0"/>
                <a:cs typeface="Segoe UI" panose="020B0502040204020203" pitchFamily="34" charset="0"/>
              </a:rPr>
              <a:t>Онлайн-доступ к федеральным </a:t>
            </a:r>
            <a:br>
              <a:rPr lang="ru-RU" sz="2000" spc="7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2000" spc="7" dirty="0">
                <a:latin typeface="Segoe UI" panose="020B0502040204020203" pitchFamily="34" charset="0"/>
                <a:cs typeface="Segoe UI" panose="020B0502040204020203" pitchFamily="34" charset="0"/>
              </a:rPr>
              <a:t>и региональным мерам поддержки </a:t>
            </a:r>
          </a:p>
          <a:p>
            <a:pPr marL="266700" marR="2786" indent="-266700">
              <a:spcBef>
                <a:spcPts val="600"/>
              </a:spcBef>
              <a:spcAft>
                <a:spcPts val="600"/>
              </a:spcAft>
              <a:buClr>
                <a:srgbClr val="9165E8"/>
              </a:buClr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Государственные и </a:t>
            </a:r>
            <a:r>
              <a:rPr lang="ru-RU" sz="2000" spc="7" dirty="0">
                <a:latin typeface="Segoe UI" panose="020B0502040204020203" pitchFamily="34" charset="0"/>
                <a:cs typeface="Segoe UI" panose="020B0502040204020203" pitchFamily="34" charset="0"/>
              </a:rPr>
              <a:t>бизнес-сервисы </a:t>
            </a:r>
          </a:p>
          <a:p>
            <a:pPr marL="266700" marR="2786" indent="-266700">
              <a:spcBef>
                <a:spcPts val="600"/>
              </a:spcBef>
              <a:spcAft>
                <a:spcPts val="600"/>
              </a:spcAft>
              <a:buClr>
                <a:srgbClr val="9165E8"/>
              </a:buClr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spc="7" dirty="0">
                <a:latin typeface="Segoe UI" panose="020B0502040204020203" pitchFamily="34" charset="0"/>
                <a:cs typeface="Segoe UI" panose="020B0502040204020203" pitchFamily="34" charset="0"/>
              </a:rPr>
              <a:t>Программы обучения</a:t>
            </a:r>
          </a:p>
          <a:p>
            <a:pPr marL="266700" marR="2786" indent="-266700">
              <a:spcBef>
                <a:spcPts val="600"/>
              </a:spcBef>
              <a:spcAft>
                <a:spcPts val="600"/>
              </a:spcAft>
              <a:buClr>
                <a:srgbClr val="9165E8"/>
              </a:buClr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Аналитику </a:t>
            </a:r>
            <a:r>
              <a:rPr lang="ru-RU" sz="2000" spc="7" dirty="0">
                <a:latin typeface="Segoe UI" panose="020B0502040204020203" pitchFamily="34" charset="0"/>
                <a:cs typeface="Segoe UI" panose="020B0502040204020203" pitchFamily="34" charset="0"/>
              </a:rPr>
              <a:t>для предпринимателей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342900" y="767979"/>
            <a:ext cx="4893579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Цифровая</a:t>
            </a:r>
            <a:r>
              <a:rPr lang="en-US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латформа </a:t>
            </a: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СП.РФ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474" y="6051996"/>
            <a:ext cx="2074411" cy="625435"/>
          </a:xfrm>
          <a:prstGeom prst="rect">
            <a:avLst/>
          </a:prstGeom>
        </p:spPr>
      </p:pic>
      <p:pic>
        <p:nvPicPr>
          <p:cNvPr id="27" name="Изображение" descr="Изображение"/>
          <p:cNvPicPr>
            <a:picLocks noChangeAspect="1"/>
          </p:cNvPicPr>
          <p:nvPr/>
        </p:nvPicPr>
        <p:blipFill>
          <a:blip r:embed="rId3"/>
          <a:stretch/>
        </p:blipFill>
        <p:spPr>
          <a:xfrm>
            <a:off x="8071006" y="397659"/>
            <a:ext cx="1230582" cy="297609"/>
          </a:xfrm>
          <a:prstGeom prst="rect">
            <a:avLst/>
          </a:prstGeom>
          <a:ln w="12600">
            <a:noFill/>
          </a:ln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886" y="279404"/>
            <a:ext cx="1771538" cy="534119"/>
          </a:xfrm>
          <a:prstGeom prst="rect">
            <a:avLst/>
          </a:prstGeom>
        </p:spPr>
      </p:pic>
      <p:sp>
        <p:nvSpPr>
          <p:cNvPr id="36" name="Прямоугольник 35"/>
          <p:cNvSpPr/>
          <p:nvPr/>
        </p:nvSpPr>
        <p:spPr>
          <a:xfrm>
            <a:off x="371475" y="6445482"/>
            <a:ext cx="1815305" cy="1692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1746" lvl="0" indent="0" algn="l" defTabSz="914400" rtl="0" eaLnBrk="1" fontAlgn="auto" latinLnBrk="0" hangingPunct="1">
              <a:lnSpc>
                <a:spcPct val="100000"/>
              </a:lnSpc>
              <a:spcBef>
                <a:spcPts val="226"/>
              </a:spcBef>
              <a:spcAft>
                <a:spcPts val="412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3" normalizeH="0" baseline="0" noProof="0" dirty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о состоянию на </a:t>
            </a:r>
            <a:r>
              <a:rPr lang="ru-RU" sz="1100" spc="3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3</a:t>
            </a:r>
            <a:r>
              <a:rPr lang="ru-RU" sz="1100" spc="3" noProof="0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r>
              <a:rPr lang="ru-RU" sz="1100" spc="3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2</a:t>
            </a:r>
            <a:r>
              <a:rPr kumimoji="0" lang="ru-RU" sz="1100" b="0" i="0" u="none" strike="noStrike" kern="1200" cap="none" spc="3" normalizeH="0" baseline="0" noProof="0" dirty="0" smtClean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.2022</a:t>
            </a:r>
            <a:endParaRPr kumimoji="0" lang="ru-RU" sz="1100" b="0" i="0" u="none" strike="noStrike" kern="1200" cap="none" spc="3" normalizeH="0" baseline="0" noProof="0" dirty="0">
              <a:ln>
                <a:noFill/>
              </a:ln>
              <a:solidFill>
                <a:schemeClr val="bg1">
                  <a:lumMod val="85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9" name="Picture 2">
            <a:extLst>
              <a:ext uri="{FF2B5EF4-FFF2-40B4-BE49-F238E27FC236}">
                <a16:creationId xmlns:a16="http://schemas.microsoft.com/office/drawing/2014/main" xmlns="" id="{0844259C-06CE-9A12-559E-66E587FA30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4610" y="5848820"/>
            <a:ext cx="986557" cy="986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7462" y="2529739"/>
            <a:ext cx="3739034" cy="3739034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371475" y="2025249"/>
            <a:ext cx="4597987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dirty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Государственная платформа поддержки </a:t>
            </a:r>
            <a:r>
              <a:rPr lang="ru-RU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редпринимателей, </a:t>
            </a:r>
            <a:r>
              <a:rPr lang="ru-RU" dirty="0" err="1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самозанятых</a:t>
            </a:r>
            <a:r>
              <a:rPr lang="ru-RU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 и тех, кто планирует начать свой бизнес</a:t>
            </a:r>
            <a:endParaRPr lang="ru-RU" dirty="0">
              <a:solidFill>
                <a:schemeClr val="bg1">
                  <a:lumMod val="95000"/>
                </a:schemeClr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518822" y="4935508"/>
            <a:ext cx="473625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латформа реализуется Корпорацией МСП совместно с Минэкономразвития России и бизнесом</a:t>
            </a:r>
            <a:endParaRPr lang="ru-RU" sz="1400" dirty="0"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449206"/>
            <a:ext cx="604745" cy="322513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454712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030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Прямоугольник 72"/>
          <p:cNvSpPr/>
          <p:nvPr/>
        </p:nvSpPr>
        <p:spPr>
          <a:xfrm>
            <a:off x="6089707" y="0"/>
            <a:ext cx="6102293" cy="6858000"/>
          </a:xfrm>
          <a:prstGeom prst="rect">
            <a:avLst/>
          </a:prstGeom>
          <a:gradFill flip="none" rotWithShape="1">
            <a:gsLst>
              <a:gs pos="0">
                <a:srgbClr val="9165E8">
                  <a:shade val="30000"/>
                  <a:satMod val="115000"/>
                </a:srgbClr>
              </a:gs>
              <a:gs pos="50000">
                <a:srgbClr val="9165E8">
                  <a:shade val="67500"/>
                  <a:satMod val="115000"/>
                </a:srgbClr>
              </a:gs>
              <a:gs pos="100000">
                <a:srgbClr val="9165E8">
                  <a:shade val="100000"/>
                  <a:satMod val="115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-25503" y="0"/>
            <a:ext cx="7340704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121430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7</a:t>
            </a:r>
            <a:endParaRPr lang="ru-RU" sz="1200" dirty="0">
              <a:solidFill>
                <a:schemeClr val="bg1">
                  <a:lumMod val="6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8" name="Изображение" descr="Изображение"/>
          <p:cNvPicPr>
            <a:picLocks noChangeAspect="1"/>
          </p:cNvPicPr>
          <p:nvPr/>
        </p:nvPicPr>
        <p:blipFill>
          <a:blip r:embed="rId2"/>
          <a:stretch/>
        </p:blipFill>
        <p:spPr>
          <a:xfrm>
            <a:off x="8692819" y="170881"/>
            <a:ext cx="1230582" cy="297609"/>
          </a:xfrm>
          <a:prstGeom prst="rect">
            <a:avLst/>
          </a:prstGeom>
          <a:ln w="12600">
            <a:noFill/>
          </a:ln>
        </p:spPr>
      </p:pic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3127340" y="170881"/>
            <a:ext cx="101957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 smtClean="0">
                <a:solidFill>
                  <a:srgbClr val="FFCF4D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0+</a:t>
            </a:r>
            <a:endParaRPr lang="ru-RU" sz="3600" kern="0" spc="-5" dirty="0">
              <a:solidFill>
                <a:srgbClr val="FFCF4D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4130302" y="268309"/>
            <a:ext cx="1364399" cy="4154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lnSpc>
                <a:spcPct val="75000"/>
              </a:lnSpc>
            </a:pPr>
            <a:r>
              <a:rPr lang="ru-RU" spc="-1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нлайн-сервисов</a:t>
            </a:r>
          </a:p>
        </p:txBody>
      </p:sp>
      <p:sp>
        <p:nvSpPr>
          <p:cNvPr id="20" name="Google Shape;176;p21"/>
          <p:cNvSpPr txBox="1"/>
          <p:nvPr/>
        </p:nvSpPr>
        <p:spPr>
          <a:xfrm>
            <a:off x="794791" y="3507577"/>
            <a:ext cx="1351212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государственные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меры поддержки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24" name="Google Shape;181;p2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80926" y="3616178"/>
            <a:ext cx="313200" cy="290598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Google Shape;184;p21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2769942" y="1288780"/>
            <a:ext cx="228285" cy="302213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Google Shape;189;p21"/>
          <p:cNvSpPr txBox="1"/>
          <p:nvPr/>
        </p:nvSpPr>
        <p:spPr>
          <a:xfrm>
            <a:off x="3012362" y="1176078"/>
            <a:ext cx="13065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законодательный дайджест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27" name="Google Shape;192;p21"/>
          <p:cNvSpPr txBox="1"/>
          <p:nvPr/>
        </p:nvSpPr>
        <p:spPr>
          <a:xfrm>
            <a:off x="5121232" y="4763399"/>
            <a:ext cx="14355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производственная 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кооперация</a:t>
            </a:r>
            <a:r>
              <a:rPr lang="en-US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 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и </a:t>
            </a: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сбыт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29" name="Google Shape;195;p21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784645" y="4853099"/>
            <a:ext cx="312000" cy="328401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Google Shape;196;p21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464095" y="6304010"/>
            <a:ext cx="313200" cy="329344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Google Shape;199;p21"/>
          <p:cNvSpPr txBox="1"/>
          <p:nvPr/>
        </p:nvSpPr>
        <p:spPr>
          <a:xfrm>
            <a:off x="777959" y="6222890"/>
            <a:ext cx="1916547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получение электронной </a:t>
            </a:r>
            <a:endParaRPr lang="ru" sz="1050" dirty="0" smtClean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подписи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35" name="Google Shape;177;p21"/>
          <p:cNvSpPr txBox="1"/>
          <p:nvPr/>
        </p:nvSpPr>
        <p:spPr>
          <a:xfrm>
            <a:off x="777960" y="5744610"/>
            <a:ext cx="170478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выбор 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налогового </a:t>
            </a: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режима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36" name="Google Shape;178;p21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510358" y="5852332"/>
            <a:ext cx="220675" cy="274100"/>
          </a:xfrm>
          <a:prstGeom prst="rect">
            <a:avLst/>
          </a:prstGeom>
          <a:noFill/>
          <a:ln>
            <a:noFill/>
          </a:ln>
        </p:spPr>
      </p:pic>
      <p:sp>
        <p:nvSpPr>
          <p:cNvPr id="37" name="Google Shape;200;p21"/>
          <p:cNvSpPr txBox="1"/>
          <p:nvPr/>
        </p:nvSpPr>
        <p:spPr>
          <a:xfrm>
            <a:off x="3012362" y="5187103"/>
            <a:ext cx="13872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конструктор документов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38" name="Google Shape;202;p21"/>
          <p:cNvSpPr txBox="1"/>
          <p:nvPr/>
        </p:nvSpPr>
        <p:spPr>
          <a:xfrm>
            <a:off x="5121232" y="1702929"/>
            <a:ext cx="14355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льготный лизинг оборудования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39" name="Google Shape;204;p21"/>
          <p:cNvSpPr txBox="1"/>
          <p:nvPr/>
        </p:nvSpPr>
        <p:spPr>
          <a:xfrm>
            <a:off x="3006197" y="3506751"/>
            <a:ext cx="13065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региональные 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/>
            </a:r>
            <a:b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</a:b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меры </a:t>
            </a: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поддержки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40" name="Google Shape;205;p21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2737340" y="3606857"/>
            <a:ext cx="277200" cy="269489"/>
          </a:xfrm>
          <a:prstGeom prst="rect">
            <a:avLst/>
          </a:prstGeom>
          <a:noFill/>
          <a:ln>
            <a:noFill/>
          </a:ln>
        </p:spPr>
      </p:pic>
      <p:pic>
        <p:nvPicPr>
          <p:cNvPr id="42" name="Google Shape;210;p21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2731152" y="5281374"/>
            <a:ext cx="259200" cy="319259"/>
          </a:xfrm>
          <a:prstGeom prst="rect">
            <a:avLst/>
          </a:prstGeom>
          <a:noFill/>
          <a:ln>
            <a:noFill/>
          </a:ln>
        </p:spPr>
      </p:pic>
      <p:sp>
        <p:nvSpPr>
          <p:cNvPr id="43" name="Google Shape;179;p21"/>
          <p:cNvSpPr txBox="1"/>
          <p:nvPr/>
        </p:nvSpPr>
        <p:spPr>
          <a:xfrm>
            <a:off x="5121232" y="1176078"/>
            <a:ext cx="11979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получение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кредита онлайн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44" name="Google Shape;180;p21"/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4734963" y="1316762"/>
            <a:ext cx="319577" cy="284682"/>
          </a:xfrm>
          <a:prstGeom prst="rect">
            <a:avLst/>
          </a:prstGeom>
          <a:noFill/>
          <a:ln>
            <a:noFill/>
          </a:ln>
        </p:spPr>
      </p:pic>
      <p:sp>
        <p:nvSpPr>
          <p:cNvPr id="47" name="Google Shape;190;p21"/>
          <p:cNvSpPr txBox="1"/>
          <p:nvPr/>
        </p:nvSpPr>
        <p:spPr>
          <a:xfrm>
            <a:off x="777960" y="5116222"/>
            <a:ext cx="1387200" cy="66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выбор организационно-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правовой формы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48" name="Google Shape;193;p21"/>
          <p:cNvPicPr preferRelativeResize="0"/>
          <p:nvPr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464095" y="5254845"/>
            <a:ext cx="313200" cy="392138"/>
          </a:xfrm>
          <a:prstGeom prst="rect">
            <a:avLst/>
          </a:prstGeom>
          <a:noFill/>
          <a:ln>
            <a:noFill/>
          </a:ln>
        </p:spPr>
      </p:pic>
      <p:sp>
        <p:nvSpPr>
          <p:cNvPr id="49" name="Google Shape;203;p21"/>
          <p:cNvSpPr txBox="1"/>
          <p:nvPr/>
        </p:nvSpPr>
        <p:spPr>
          <a:xfrm>
            <a:off x="3012362" y="4778337"/>
            <a:ext cx="1306500" cy="346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бизнес-обучение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51" name="Google Shape;183;p21"/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2706474" y="2208333"/>
            <a:ext cx="296770" cy="231931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187;p21"/>
          <p:cNvSpPr txBox="1"/>
          <p:nvPr/>
        </p:nvSpPr>
        <p:spPr>
          <a:xfrm>
            <a:off x="3012362" y="2076269"/>
            <a:ext cx="10461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статистика 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для бизнеса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54" name="Google Shape;191;p21"/>
          <p:cNvSpPr txBox="1"/>
          <p:nvPr/>
        </p:nvSpPr>
        <p:spPr>
          <a:xfrm>
            <a:off x="5121232" y="2175169"/>
            <a:ext cx="1963958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льготное кредитование инновационных компаний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58" name="Google Shape;197;p21"/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4758988" y="2298764"/>
            <a:ext cx="311989" cy="274100"/>
          </a:xfrm>
          <a:prstGeom prst="rect">
            <a:avLst/>
          </a:prstGeom>
          <a:noFill/>
          <a:ln>
            <a:noFill/>
          </a:ln>
        </p:spPr>
      </p:pic>
      <p:sp>
        <p:nvSpPr>
          <p:cNvPr id="59" name="Google Shape;198;p21"/>
          <p:cNvSpPr txBox="1"/>
          <p:nvPr/>
        </p:nvSpPr>
        <p:spPr>
          <a:xfrm>
            <a:off x="777960" y="4701894"/>
            <a:ext cx="12642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регистрация бизнеса 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онлайн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61" name="Google Shape;201;p21"/>
          <p:cNvSpPr txBox="1"/>
          <p:nvPr/>
        </p:nvSpPr>
        <p:spPr>
          <a:xfrm>
            <a:off x="3012362" y="6236826"/>
            <a:ext cx="11979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сервис 360° — подать жалобу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62" name="Google Shape;208;p21"/>
          <p:cNvPicPr preferRelativeResize="0"/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2654393" y="6289625"/>
            <a:ext cx="327600" cy="402202"/>
          </a:xfrm>
          <a:prstGeom prst="rect">
            <a:avLst/>
          </a:prstGeom>
          <a:noFill/>
          <a:ln>
            <a:noFill/>
          </a:ln>
        </p:spPr>
      </p:pic>
      <p:pic>
        <p:nvPicPr>
          <p:cNvPr id="63" name="Google Shape;209;p21"/>
          <p:cNvPicPr preferRelativeResize="0"/>
          <p:nvPr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482095" y="4825160"/>
            <a:ext cx="277200" cy="261269"/>
          </a:xfrm>
          <a:prstGeom prst="rect">
            <a:avLst/>
          </a:prstGeom>
          <a:noFill/>
          <a:ln>
            <a:noFill/>
          </a:ln>
        </p:spPr>
      </p:pic>
      <p:sp>
        <p:nvSpPr>
          <p:cNvPr id="65" name="Google Shape;198;p21"/>
          <p:cNvSpPr txBox="1"/>
          <p:nvPr/>
        </p:nvSpPr>
        <p:spPr>
          <a:xfrm>
            <a:off x="5121232" y="5254689"/>
            <a:ext cx="1612183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д</a:t>
            </a:r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оступ к закупкам крупных госкомпаний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7336" y="5846781"/>
            <a:ext cx="358459" cy="358459"/>
          </a:xfrm>
          <a:prstGeom prst="rect">
            <a:avLst/>
          </a:prstGeom>
        </p:spPr>
      </p:pic>
      <p:sp>
        <p:nvSpPr>
          <p:cNvPr id="64" name="Google Shape;198;p21"/>
          <p:cNvSpPr txBox="1"/>
          <p:nvPr/>
        </p:nvSpPr>
        <p:spPr>
          <a:xfrm>
            <a:off x="5121232" y="5767518"/>
            <a:ext cx="1557661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/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запуск </a:t>
            </a: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рекламы </a:t>
            </a:r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/>
            </a:r>
            <a:b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</a:br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с </a:t>
            </a: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Яндекс Бизнесом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grpSp>
        <p:nvGrpSpPr>
          <p:cNvPr id="67" name="Группа 66"/>
          <p:cNvGrpSpPr/>
          <p:nvPr/>
        </p:nvGrpSpPr>
        <p:grpSpPr>
          <a:xfrm>
            <a:off x="371475" y="282770"/>
            <a:ext cx="2573191" cy="276999"/>
            <a:chOff x="9353062" y="5079459"/>
            <a:chExt cx="2573191" cy="276999"/>
          </a:xfrm>
        </p:grpSpPr>
        <p:sp>
          <p:nvSpPr>
            <p:cNvPr id="68" name="Скругленный прямоугольник 67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rgbClr val="9165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Прямоугольник 68"/>
            <p:cNvSpPr/>
            <p:nvPr/>
          </p:nvSpPr>
          <p:spPr>
            <a:xfrm>
              <a:off x="9441259" y="5079459"/>
              <a:ext cx="2396810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Цифровая платформа МСП.РФ</a:t>
              </a:r>
              <a:endParaRPr lang="ru-RU" sz="1200" spc="-12" dirty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  <a:sym typeface="Helvetica Neue" panose="02000503000000020004" pitchFamily="2" charset="0"/>
              </a:endParaRPr>
            </a:p>
          </p:txBody>
        </p:sp>
      </p:grpSp>
      <p:sp>
        <p:nvSpPr>
          <p:cNvPr id="70" name="Прямоугольник 69"/>
          <p:cNvSpPr/>
          <p:nvPr/>
        </p:nvSpPr>
        <p:spPr>
          <a:xfrm>
            <a:off x="2685563" y="931695"/>
            <a:ext cx="132823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 smtClean="0">
                <a:solidFill>
                  <a:srgbClr val="A683E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ция</a:t>
            </a:r>
            <a:endParaRPr lang="ru-RU" sz="1400" spc="7" dirty="0">
              <a:solidFill>
                <a:srgbClr val="A683E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4743557" y="950113"/>
            <a:ext cx="20670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 smtClean="0">
                <a:solidFill>
                  <a:srgbClr val="A683E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инансовые сервисы</a:t>
            </a:r>
            <a:endParaRPr lang="ru-RU" sz="1400" spc="7" dirty="0">
              <a:solidFill>
                <a:srgbClr val="A683E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470174" y="3319273"/>
            <a:ext cx="171572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 smtClean="0">
                <a:solidFill>
                  <a:srgbClr val="A683E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еры поддержки</a:t>
            </a:r>
            <a:endParaRPr lang="ru-RU" sz="1400" spc="7" dirty="0">
              <a:solidFill>
                <a:srgbClr val="A683E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4815887" y="4515025"/>
            <a:ext cx="198713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 smtClean="0">
                <a:solidFill>
                  <a:srgbClr val="A683E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движение и сбыт</a:t>
            </a:r>
            <a:endParaRPr lang="ru-RU" sz="1400" spc="7" dirty="0">
              <a:solidFill>
                <a:srgbClr val="A683E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437896" y="4256627"/>
            <a:ext cx="2904805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 smtClean="0">
                <a:solidFill>
                  <a:srgbClr val="A683E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струменты для бизнеса</a:t>
            </a:r>
            <a:endParaRPr lang="ru-RU" sz="1400" spc="7" dirty="0">
              <a:solidFill>
                <a:srgbClr val="A683E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7" name="Google Shape;191;p21"/>
          <p:cNvSpPr txBox="1"/>
          <p:nvPr/>
        </p:nvSpPr>
        <p:spPr>
          <a:xfrm>
            <a:off x="5121232" y="2693671"/>
            <a:ext cx="228447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ц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ентр поддержки инвестиционного кредитования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2862" y="2771918"/>
            <a:ext cx="400372" cy="40037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2234" y="4745963"/>
            <a:ext cx="439826" cy="439826"/>
          </a:xfrm>
          <a:prstGeom prst="rect">
            <a:avLst/>
          </a:prstGeom>
        </p:spPr>
      </p:pic>
      <p:sp>
        <p:nvSpPr>
          <p:cNvPr id="78" name="Google Shape;201;p21"/>
          <p:cNvSpPr txBox="1"/>
          <p:nvPr/>
        </p:nvSpPr>
        <p:spPr>
          <a:xfrm>
            <a:off x="3012362" y="5707988"/>
            <a:ext cx="1197900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п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роверка контрагента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9700" y="5734315"/>
            <a:ext cx="415705" cy="415705"/>
          </a:xfrm>
          <a:prstGeom prst="rect">
            <a:avLst/>
          </a:prstGeom>
        </p:spPr>
      </p:pic>
      <p:sp>
        <p:nvSpPr>
          <p:cNvPr id="80" name="Google Shape;201;p21"/>
          <p:cNvSpPr txBox="1"/>
          <p:nvPr/>
        </p:nvSpPr>
        <p:spPr>
          <a:xfrm>
            <a:off x="775247" y="2571919"/>
            <a:ext cx="1487682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календарь предпринимателя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726" y="2646046"/>
            <a:ext cx="379065" cy="379065"/>
          </a:xfrm>
          <a:prstGeom prst="rect">
            <a:avLst/>
          </a:prstGeom>
        </p:spPr>
      </p:pic>
      <p:sp>
        <p:nvSpPr>
          <p:cNvPr id="81" name="Google Shape;189;p21"/>
          <p:cNvSpPr txBox="1"/>
          <p:nvPr/>
        </p:nvSpPr>
        <p:spPr>
          <a:xfrm>
            <a:off x="3012362" y="1677990"/>
            <a:ext cx="1306500" cy="346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новости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5607" y="1742029"/>
            <a:ext cx="332890" cy="332890"/>
          </a:xfrm>
          <a:prstGeom prst="rect">
            <a:avLst/>
          </a:prstGeom>
        </p:spPr>
      </p:pic>
      <p:sp>
        <p:nvSpPr>
          <p:cNvPr id="82" name="Прямоугольник 81"/>
          <p:cNvSpPr/>
          <p:nvPr/>
        </p:nvSpPr>
        <p:spPr>
          <a:xfrm>
            <a:off x="435198" y="4509230"/>
            <a:ext cx="14112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100" spc="7" dirty="0">
                <a:solidFill>
                  <a:srgbClr val="FFD63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н</a:t>
            </a:r>
            <a:r>
              <a:rPr lang="ru-RU" sz="1100" spc="7" dirty="0" smtClean="0">
                <a:solidFill>
                  <a:srgbClr val="FFD63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ачни свое дело</a:t>
            </a:r>
            <a:endParaRPr lang="ru-RU" sz="1100" spc="7" dirty="0">
              <a:solidFill>
                <a:srgbClr val="FFD63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2685563" y="4490812"/>
            <a:ext cx="14112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100" spc="7" dirty="0">
                <a:solidFill>
                  <a:srgbClr val="FFD63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</a:t>
            </a:r>
            <a:r>
              <a:rPr lang="ru-RU" sz="1100" spc="7" dirty="0" smtClean="0">
                <a:solidFill>
                  <a:srgbClr val="FFD63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аши помощники</a:t>
            </a:r>
            <a:endParaRPr lang="ru-RU" sz="1100" spc="7" dirty="0">
              <a:solidFill>
                <a:srgbClr val="FFD63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72" name="Рисунок 71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9158" y="1107632"/>
            <a:ext cx="4402272" cy="440227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6683" y="2627430"/>
            <a:ext cx="378514" cy="378514"/>
          </a:xfrm>
          <a:prstGeom prst="rect">
            <a:avLst/>
          </a:prstGeom>
        </p:spPr>
      </p:pic>
      <p:sp>
        <p:nvSpPr>
          <p:cNvPr id="84" name="Google Shape;187;p21"/>
          <p:cNvSpPr txBox="1"/>
          <p:nvPr/>
        </p:nvSpPr>
        <p:spPr>
          <a:xfrm>
            <a:off x="3012362" y="2536372"/>
            <a:ext cx="1228068" cy="66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с</a:t>
            </a:r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амозанятым: старт,развитие,поддержка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85" name="Объект 3"/>
          <p:cNvPicPr>
            <a:picLocks noGrp="1" noChangeAspect="1"/>
          </p:cNvPicPr>
          <p:nvPr>
            <p:ph idx="1"/>
          </p:nvPr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724" y="5257351"/>
            <a:ext cx="466883" cy="466883"/>
          </a:xfrm>
        </p:spPr>
      </p:pic>
      <p:pic>
        <p:nvPicPr>
          <p:cNvPr id="86" name="Рисунок 85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3862" y="1737222"/>
            <a:ext cx="471111" cy="471111"/>
          </a:xfrm>
          <a:prstGeom prst="rect">
            <a:avLst/>
          </a:prstGeom>
        </p:spPr>
      </p:pic>
      <p:sp>
        <p:nvSpPr>
          <p:cNvPr id="87" name="Google Shape;176;p21"/>
          <p:cNvSpPr txBox="1"/>
          <p:nvPr/>
        </p:nvSpPr>
        <p:spPr>
          <a:xfrm>
            <a:off x="755619" y="1200273"/>
            <a:ext cx="1351212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ц</a:t>
            </a:r>
            <a:r>
              <a:rPr lang="ru-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ифровой профиль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88" name="Google Shape;181;p2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41754" y="1308874"/>
            <a:ext cx="313200" cy="290598"/>
          </a:xfrm>
          <a:prstGeom prst="rect">
            <a:avLst/>
          </a:prstGeom>
          <a:noFill/>
          <a:ln>
            <a:noFill/>
          </a:ln>
        </p:spPr>
      </p:pic>
      <p:pic>
        <p:nvPicPr>
          <p:cNvPr id="91" name="Google Shape;182;p21"/>
          <p:cNvPicPr preferRelativeResize="0"/>
          <p:nvPr/>
        </p:nvPicPr>
        <p:blipFill>
          <a:blip r:embed="rId25">
            <a:alphaModFix/>
          </a:blip>
          <a:stretch>
            <a:fillRect/>
          </a:stretch>
        </p:blipFill>
        <p:spPr>
          <a:xfrm>
            <a:off x="415726" y="1757862"/>
            <a:ext cx="365256" cy="235894"/>
          </a:xfrm>
          <a:prstGeom prst="rect">
            <a:avLst/>
          </a:prstGeom>
          <a:noFill/>
          <a:ln>
            <a:noFill/>
          </a:ln>
        </p:spPr>
      </p:pic>
      <p:sp>
        <p:nvSpPr>
          <p:cNvPr id="92" name="Google Shape;186;p21"/>
          <p:cNvSpPr txBox="1"/>
          <p:nvPr/>
        </p:nvSpPr>
        <p:spPr>
          <a:xfrm>
            <a:off x="755619" y="1640959"/>
            <a:ext cx="1580386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расчет 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рейтинга бизнеса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431002" y="964344"/>
            <a:ext cx="171572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 smtClean="0">
                <a:solidFill>
                  <a:srgbClr val="A683ED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ичный кабинет</a:t>
            </a:r>
            <a:endParaRPr lang="ru-RU" sz="1400" spc="7" dirty="0">
              <a:solidFill>
                <a:srgbClr val="A683ED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5" name="Google Shape;186;p21"/>
          <p:cNvSpPr txBox="1"/>
          <p:nvPr/>
        </p:nvSpPr>
        <p:spPr>
          <a:xfrm>
            <a:off x="768152" y="2097731"/>
            <a:ext cx="1580386" cy="507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dirty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у</a:t>
            </a:r>
            <a:r>
              <a:rPr lang="ru" sz="1050" dirty="0" smtClean="0">
                <a:solidFill>
                  <a:schemeClr val="bg1"/>
                </a:solidFill>
                <a:latin typeface="Segoe UI Semibold" panose="020B0702040204020203" pitchFamily="34" charset="0"/>
                <a:ea typeface="Montserrat Medium"/>
                <a:cs typeface="Segoe UI Semibold" panose="020B0702040204020203" pitchFamily="34" charset="0"/>
                <a:sym typeface="Montserrat Medium"/>
              </a:rPr>
              <a:t>ведомления от госорганов</a:t>
            </a:r>
            <a:endParaRPr sz="1050" dirty="0">
              <a:solidFill>
                <a:schemeClr val="bg1"/>
              </a:solidFill>
              <a:latin typeface="Segoe UI Semibold" panose="020B0702040204020203" pitchFamily="34" charset="0"/>
              <a:ea typeface="Montserrat Medium"/>
              <a:cs typeface="Segoe UI Semibold" panose="020B0702040204020203" pitchFamily="34" charset="0"/>
              <a:sym typeface="Montserrat Medium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212" y="2203053"/>
            <a:ext cx="309742" cy="30974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6285" y="244950"/>
            <a:ext cx="1207027" cy="179167"/>
          </a:xfrm>
          <a:prstGeom prst="rect">
            <a:avLst/>
          </a:prstGeom>
        </p:spPr>
      </p:pic>
      <p:pic>
        <p:nvPicPr>
          <p:cNvPr id="90" name="Рисунок 89"/>
          <p:cNvPicPr>
            <a:picLocks noChangeAspect="1"/>
          </p:cNvPicPr>
          <p:nvPr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10028406" y="184863"/>
            <a:ext cx="604745" cy="322513"/>
          </a:xfrm>
          <a:prstGeom prst="rect">
            <a:avLst/>
          </a:prstGeom>
        </p:spPr>
      </p:pic>
      <p:pic>
        <p:nvPicPr>
          <p:cNvPr id="96" name="Рисунок 95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1792" y="207234"/>
            <a:ext cx="1431486" cy="277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418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58233" y="0"/>
            <a:ext cx="5715574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6036075" y="1345579"/>
            <a:ext cx="5401689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73519" y="5190764"/>
            <a:ext cx="4135267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48387" y="765208"/>
            <a:ext cx="5058882" cy="15901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6200"/>
              </a:lnSpc>
            </a:pPr>
            <a:r>
              <a:rPr lang="ru-RU" sz="60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Больше </a:t>
            </a:r>
          </a:p>
          <a:p>
            <a:pPr>
              <a:lnSpc>
                <a:spcPts val="6200"/>
              </a:lnSpc>
            </a:pPr>
            <a:r>
              <a:rPr lang="ru-RU" sz="60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бизнеса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90351" y="5028007"/>
            <a:ext cx="411843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www.corpmsp.ru</a:t>
            </a:r>
            <a:endParaRPr lang="ru-RU" sz="36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160511" y="844336"/>
            <a:ext cx="5439667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Г-канал </a:t>
            </a:r>
            <a:r>
              <a:rPr lang="en-US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/>
            </a:r>
            <a:br>
              <a:rPr lang="en-US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Александра </a:t>
            </a: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Исаевича</a:t>
            </a:r>
          </a:p>
        </p:txBody>
      </p:sp>
      <p:pic>
        <p:nvPicPr>
          <p:cNvPr id="38918" name="Picture 6" descr="http://qrcoder.ru/code/?https%3A%2F%2Ft.me%2Fisaevich_alexander&amp;4&amp;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608" y="1866620"/>
            <a:ext cx="1536011" cy="1536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http://qrcoder.ru/code/?https%3A%2F%2Ft.me%2Fcorpmspof&amp;4&amp;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1264" y="4504426"/>
            <a:ext cx="1582696" cy="1582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6036075" y="3991349"/>
            <a:ext cx="4435563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160511" y="3490106"/>
            <a:ext cx="5439667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Г-канал </a:t>
            </a:r>
            <a:r>
              <a:rPr lang="en-US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/>
            </a:r>
            <a:br>
              <a:rPr lang="en-US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орпорации МСП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-64055" y="5845408"/>
            <a:ext cx="12256055" cy="1024572"/>
            <a:chOff x="0" y="5900738"/>
            <a:chExt cx="12449131" cy="1024572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0" y="6724448"/>
              <a:ext cx="12192000" cy="1856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Freeform 152"/>
            <p:cNvSpPr>
              <a:spLocks/>
            </p:cNvSpPr>
            <p:nvPr/>
          </p:nvSpPr>
          <p:spPr bwMode="auto">
            <a:xfrm>
              <a:off x="7034280" y="6174599"/>
              <a:ext cx="313557" cy="600863"/>
            </a:xfrm>
            <a:custGeom>
              <a:avLst/>
              <a:gdLst>
                <a:gd name="T0" fmla="*/ 205 w 215"/>
                <a:gd name="T1" fmla="*/ 96 h 412"/>
                <a:gd name="T2" fmla="*/ 195 w 215"/>
                <a:gd name="T3" fmla="*/ 88 h 412"/>
                <a:gd name="T4" fmla="*/ 187 w 215"/>
                <a:gd name="T5" fmla="*/ 86 h 412"/>
                <a:gd name="T6" fmla="*/ 131 w 215"/>
                <a:gd name="T7" fmla="*/ 98 h 412"/>
                <a:gd name="T8" fmla="*/ 115 w 215"/>
                <a:gd name="T9" fmla="*/ 98 h 412"/>
                <a:gd name="T10" fmla="*/ 86 w 215"/>
                <a:gd name="T11" fmla="*/ 92 h 412"/>
                <a:gd name="T12" fmla="*/ 82 w 215"/>
                <a:gd name="T13" fmla="*/ 82 h 412"/>
                <a:gd name="T14" fmla="*/ 94 w 215"/>
                <a:gd name="T15" fmla="*/ 72 h 412"/>
                <a:gd name="T16" fmla="*/ 102 w 215"/>
                <a:gd name="T17" fmla="*/ 64 h 412"/>
                <a:gd name="T18" fmla="*/ 100 w 215"/>
                <a:gd name="T19" fmla="*/ 56 h 412"/>
                <a:gd name="T20" fmla="*/ 90 w 215"/>
                <a:gd name="T21" fmla="*/ 50 h 412"/>
                <a:gd name="T22" fmla="*/ 62 w 215"/>
                <a:gd name="T23" fmla="*/ 48 h 412"/>
                <a:gd name="T24" fmla="*/ 54 w 215"/>
                <a:gd name="T25" fmla="*/ 52 h 412"/>
                <a:gd name="T26" fmla="*/ 46 w 215"/>
                <a:gd name="T27" fmla="*/ 74 h 412"/>
                <a:gd name="T28" fmla="*/ 38 w 215"/>
                <a:gd name="T29" fmla="*/ 70 h 412"/>
                <a:gd name="T30" fmla="*/ 32 w 215"/>
                <a:gd name="T31" fmla="*/ 56 h 412"/>
                <a:gd name="T32" fmla="*/ 20 w 215"/>
                <a:gd name="T33" fmla="*/ 30 h 412"/>
                <a:gd name="T34" fmla="*/ 20 w 215"/>
                <a:gd name="T35" fmla="*/ 18 h 412"/>
                <a:gd name="T36" fmla="*/ 24 w 215"/>
                <a:gd name="T37" fmla="*/ 4 h 412"/>
                <a:gd name="T38" fmla="*/ 14 w 215"/>
                <a:gd name="T39" fmla="*/ 0 h 412"/>
                <a:gd name="T40" fmla="*/ 8 w 215"/>
                <a:gd name="T41" fmla="*/ 30 h 412"/>
                <a:gd name="T42" fmla="*/ 10 w 215"/>
                <a:gd name="T43" fmla="*/ 48 h 412"/>
                <a:gd name="T44" fmla="*/ 12 w 215"/>
                <a:gd name="T45" fmla="*/ 72 h 412"/>
                <a:gd name="T46" fmla="*/ 28 w 215"/>
                <a:gd name="T47" fmla="*/ 94 h 412"/>
                <a:gd name="T48" fmla="*/ 34 w 215"/>
                <a:gd name="T49" fmla="*/ 104 h 412"/>
                <a:gd name="T50" fmla="*/ 32 w 215"/>
                <a:gd name="T51" fmla="*/ 120 h 412"/>
                <a:gd name="T52" fmla="*/ 32 w 215"/>
                <a:gd name="T53" fmla="*/ 140 h 412"/>
                <a:gd name="T54" fmla="*/ 32 w 215"/>
                <a:gd name="T55" fmla="*/ 166 h 412"/>
                <a:gd name="T56" fmla="*/ 36 w 215"/>
                <a:gd name="T57" fmla="*/ 190 h 412"/>
                <a:gd name="T58" fmla="*/ 42 w 215"/>
                <a:gd name="T59" fmla="*/ 196 h 412"/>
                <a:gd name="T60" fmla="*/ 42 w 215"/>
                <a:gd name="T61" fmla="*/ 258 h 412"/>
                <a:gd name="T62" fmla="*/ 52 w 215"/>
                <a:gd name="T63" fmla="*/ 284 h 412"/>
                <a:gd name="T64" fmla="*/ 58 w 215"/>
                <a:gd name="T65" fmla="*/ 318 h 412"/>
                <a:gd name="T66" fmla="*/ 68 w 215"/>
                <a:gd name="T67" fmla="*/ 346 h 412"/>
                <a:gd name="T68" fmla="*/ 68 w 215"/>
                <a:gd name="T69" fmla="*/ 362 h 412"/>
                <a:gd name="T70" fmla="*/ 12 w 215"/>
                <a:gd name="T71" fmla="*/ 412 h 412"/>
                <a:gd name="T72" fmla="*/ 173 w 215"/>
                <a:gd name="T73" fmla="*/ 382 h 412"/>
                <a:gd name="T74" fmla="*/ 173 w 215"/>
                <a:gd name="T75" fmla="*/ 368 h 412"/>
                <a:gd name="T76" fmla="*/ 171 w 215"/>
                <a:gd name="T77" fmla="*/ 342 h 412"/>
                <a:gd name="T78" fmla="*/ 179 w 215"/>
                <a:gd name="T79" fmla="*/ 342 h 412"/>
                <a:gd name="T80" fmla="*/ 187 w 215"/>
                <a:gd name="T81" fmla="*/ 330 h 412"/>
                <a:gd name="T82" fmla="*/ 169 w 215"/>
                <a:gd name="T83" fmla="*/ 310 h 412"/>
                <a:gd name="T84" fmla="*/ 115 w 215"/>
                <a:gd name="T85" fmla="*/ 230 h 412"/>
                <a:gd name="T86" fmla="*/ 105 w 215"/>
                <a:gd name="T87" fmla="*/ 204 h 412"/>
                <a:gd name="T88" fmla="*/ 86 w 215"/>
                <a:gd name="T89" fmla="*/ 190 h 412"/>
                <a:gd name="T90" fmla="*/ 94 w 215"/>
                <a:gd name="T91" fmla="*/ 130 h 412"/>
                <a:gd name="T92" fmla="*/ 123 w 215"/>
                <a:gd name="T93" fmla="*/ 124 h 412"/>
                <a:gd name="T94" fmla="*/ 181 w 215"/>
                <a:gd name="T95" fmla="*/ 106 h 412"/>
                <a:gd name="T96" fmla="*/ 197 w 215"/>
                <a:gd name="T97" fmla="*/ 108 h 412"/>
                <a:gd name="T98" fmla="*/ 213 w 215"/>
                <a:gd name="T99" fmla="*/ 106 h 412"/>
                <a:gd name="T100" fmla="*/ 215 w 215"/>
                <a:gd name="T101" fmla="*/ 10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5" h="412">
                  <a:moveTo>
                    <a:pt x="211" y="98"/>
                  </a:moveTo>
                  <a:lnTo>
                    <a:pt x="211" y="98"/>
                  </a:lnTo>
                  <a:lnTo>
                    <a:pt x="205" y="96"/>
                  </a:lnTo>
                  <a:lnTo>
                    <a:pt x="201" y="92"/>
                  </a:lnTo>
                  <a:lnTo>
                    <a:pt x="199" y="90"/>
                  </a:lnTo>
                  <a:lnTo>
                    <a:pt x="195" y="88"/>
                  </a:lnTo>
                  <a:lnTo>
                    <a:pt x="195" y="88"/>
                  </a:lnTo>
                  <a:lnTo>
                    <a:pt x="191" y="86"/>
                  </a:lnTo>
                  <a:lnTo>
                    <a:pt x="187" y="86"/>
                  </a:lnTo>
                  <a:lnTo>
                    <a:pt x="179" y="88"/>
                  </a:lnTo>
                  <a:lnTo>
                    <a:pt x="179" y="88"/>
                  </a:lnTo>
                  <a:lnTo>
                    <a:pt x="131" y="98"/>
                  </a:lnTo>
                  <a:lnTo>
                    <a:pt x="131" y="98"/>
                  </a:lnTo>
                  <a:lnTo>
                    <a:pt x="125" y="98"/>
                  </a:lnTo>
                  <a:lnTo>
                    <a:pt x="115" y="98"/>
                  </a:lnTo>
                  <a:lnTo>
                    <a:pt x="98" y="94"/>
                  </a:lnTo>
                  <a:lnTo>
                    <a:pt x="98" y="94"/>
                  </a:lnTo>
                  <a:lnTo>
                    <a:pt x="86" y="92"/>
                  </a:lnTo>
                  <a:lnTo>
                    <a:pt x="80" y="92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88" y="74"/>
                  </a:lnTo>
                  <a:lnTo>
                    <a:pt x="88" y="74"/>
                  </a:lnTo>
                  <a:lnTo>
                    <a:pt x="94" y="72"/>
                  </a:lnTo>
                  <a:lnTo>
                    <a:pt x="100" y="70"/>
                  </a:lnTo>
                  <a:lnTo>
                    <a:pt x="102" y="64"/>
                  </a:lnTo>
                  <a:lnTo>
                    <a:pt x="102" y="64"/>
                  </a:lnTo>
                  <a:lnTo>
                    <a:pt x="103" y="62"/>
                  </a:lnTo>
                  <a:lnTo>
                    <a:pt x="102" y="60"/>
                  </a:lnTo>
                  <a:lnTo>
                    <a:pt x="100" y="56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0" y="50"/>
                  </a:lnTo>
                  <a:lnTo>
                    <a:pt x="82" y="48"/>
                  </a:lnTo>
                  <a:lnTo>
                    <a:pt x="74" y="46"/>
                  </a:lnTo>
                  <a:lnTo>
                    <a:pt x="62" y="48"/>
                  </a:lnTo>
                  <a:lnTo>
                    <a:pt x="62" y="48"/>
                  </a:lnTo>
                  <a:lnTo>
                    <a:pt x="58" y="50"/>
                  </a:lnTo>
                  <a:lnTo>
                    <a:pt x="54" y="52"/>
                  </a:lnTo>
                  <a:lnTo>
                    <a:pt x="48" y="62"/>
                  </a:lnTo>
                  <a:lnTo>
                    <a:pt x="46" y="70"/>
                  </a:lnTo>
                  <a:lnTo>
                    <a:pt x="46" y="74"/>
                  </a:lnTo>
                  <a:lnTo>
                    <a:pt x="46" y="74"/>
                  </a:lnTo>
                  <a:lnTo>
                    <a:pt x="40" y="72"/>
                  </a:lnTo>
                  <a:lnTo>
                    <a:pt x="38" y="70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2" y="56"/>
                  </a:lnTo>
                  <a:lnTo>
                    <a:pt x="26" y="46"/>
                  </a:lnTo>
                  <a:lnTo>
                    <a:pt x="22" y="38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8" y="24"/>
                  </a:lnTo>
                  <a:lnTo>
                    <a:pt x="20" y="1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2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6"/>
                  </a:lnTo>
                  <a:lnTo>
                    <a:pt x="10" y="48"/>
                  </a:lnTo>
                  <a:lnTo>
                    <a:pt x="10" y="6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4" y="78"/>
                  </a:lnTo>
                  <a:lnTo>
                    <a:pt x="18" y="82"/>
                  </a:lnTo>
                  <a:lnTo>
                    <a:pt x="28" y="94"/>
                  </a:lnTo>
                  <a:lnTo>
                    <a:pt x="28" y="94"/>
                  </a:lnTo>
                  <a:lnTo>
                    <a:pt x="32" y="100"/>
                  </a:lnTo>
                  <a:lnTo>
                    <a:pt x="34" y="104"/>
                  </a:lnTo>
                  <a:lnTo>
                    <a:pt x="34" y="112"/>
                  </a:lnTo>
                  <a:lnTo>
                    <a:pt x="32" y="120"/>
                  </a:lnTo>
                  <a:lnTo>
                    <a:pt x="32" y="120"/>
                  </a:lnTo>
                  <a:lnTo>
                    <a:pt x="28" y="128"/>
                  </a:lnTo>
                  <a:lnTo>
                    <a:pt x="30" y="134"/>
                  </a:lnTo>
                  <a:lnTo>
                    <a:pt x="32" y="140"/>
                  </a:lnTo>
                  <a:lnTo>
                    <a:pt x="32" y="146"/>
                  </a:lnTo>
                  <a:lnTo>
                    <a:pt x="32" y="146"/>
                  </a:lnTo>
                  <a:lnTo>
                    <a:pt x="32" y="166"/>
                  </a:lnTo>
                  <a:lnTo>
                    <a:pt x="32" y="166"/>
                  </a:lnTo>
                  <a:lnTo>
                    <a:pt x="32" y="180"/>
                  </a:lnTo>
                  <a:lnTo>
                    <a:pt x="36" y="190"/>
                  </a:lnTo>
                  <a:lnTo>
                    <a:pt x="40" y="194"/>
                  </a:lnTo>
                  <a:lnTo>
                    <a:pt x="42" y="196"/>
                  </a:lnTo>
                  <a:lnTo>
                    <a:pt x="42" y="196"/>
                  </a:lnTo>
                  <a:lnTo>
                    <a:pt x="40" y="224"/>
                  </a:lnTo>
                  <a:lnTo>
                    <a:pt x="40" y="246"/>
                  </a:lnTo>
                  <a:lnTo>
                    <a:pt x="42" y="258"/>
                  </a:lnTo>
                  <a:lnTo>
                    <a:pt x="46" y="268"/>
                  </a:lnTo>
                  <a:lnTo>
                    <a:pt x="46" y="268"/>
                  </a:lnTo>
                  <a:lnTo>
                    <a:pt x="52" y="284"/>
                  </a:lnTo>
                  <a:lnTo>
                    <a:pt x="56" y="296"/>
                  </a:lnTo>
                  <a:lnTo>
                    <a:pt x="58" y="318"/>
                  </a:lnTo>
                  <a:lnTo>
                    <a:pt x="58" y="318"/>
                  </a:lnTo>
                  <a:lnTo>
                    <a:pt x="62" y="336"/>
                  </a:lnTo>
                  <a:lnTo>
                    <a:pt x="68" y="346"/>
                  </a:lnTo>
                  <a:lnTo>
                    <a:pt x="68" y="346"/>
                  </a:lnTo>
                  <a:lnTo>
                    <a:pt x="68" y="352"/>
                  </a:lnTo>
                  <a:lnTo>
                    <a:pt x="68" y="356"/>
                  </a:lnTo>
                  <a:lnTo>
                    <a:pt x="68" y="362"/>
                  </a:lnTo>
                  <a:lnTo>
                    <a:pt x="50" y="386"/>
                  </a:lnTo>
                  <a:lnTo>
                    <a:pt x="12" y="386"/>
                  </a:lnTo>
                  <a:lnTo>
                    <a:pt x="12" y="412"/>
                  </a:lnTo>
                  <a:lnTo>
                    <a:pt x="193" y="412"/>
                  </a:lnTo>
                  <a:lnTo>
                    <a:pt x="193" y="382"/>
                  </a:lnTo>
                  <a:lnTo>
                    <a:pt x="173" y="382"/>
                  </a:lnTo>
                  <a:lnTo>
                    <a:pt x="171" y="366"/>
                  </a:lnTo>
                  <a:lnTo>
                    <a:pt x="171" y="366"/>
                  </a:lnTo>
                  <a:lnTo>
                    <a:pt x="173" y="368"/>
                  </a:lnTo>
                  <a:lnTo>
                    <a:pt x="173" y="364"/>
                  </a:lnTo>
                  <a:lnTo>
                    <a:pt x="173" y="356"/>
                  </a:lnTo>
                  <a:lnTo>
                    <a:pt x="171" y="342"/>
                  </a:lnTo>
                  <a:lnTo>
                    <a:pt x="171" y="342"/>
                  </a:lnTo>
                  <a:lnTo>
                    <a:pt x="175" y="342"/>
                  </a:lnTo>
                  <a:lnTo>
                    <a:pt x="179" y="342"/>
                  </a:lnTo>
                  <a:lnTo>
                    <a:pt x="181" y="338"/>
                  </a:lnTo>
                  <a:lnTo>
                    <a:pt x="181" y="338"/>
                  </a:lnTo>
                  <a:lnTo>
                    <a:pt x="187" y="330"/>
                  </a:lnTo>
                  <a:lnTo>
                    <a:pt x="187" y="330"/>
                  </a:lnTo>
                  <a:lnTo>
                    <a:pt x="179" y="322"/>
                  </a:lnTo>
                  <a:lnTo>
                    <a:pt x="169" y="310"/>
                  </a:lnTo>
                  <a:lnTo>
                    <a:pt x="145" y="276"/>
                  </a:lnTo>
                  <a:lnTo>
                    <a:pt x="115" y="230"/>
                  </a:lnTo>
                  <a:lnTo>
                    <a:pt x="115" y="230"/>
                  </a:lnTo>
                  <a:lnTo>
                    <a:pt x="113" y="220"/>
                  </a:lnTo>
                  <a:lnTo>
                    <a:pt x="109" y="212"/>
                  </a:lnTo>
                  <a:lnTo>
                    <a:pt x="105" y="204"/>
                  </a:lnTo>
                  <a:lnTo>
                    <a:pt x="100" y="200"/>
                  </a:lnTo>
                  <a:lnTo>
                    <a:pt x="90" y="192"/>
                  </a:lnTo>
                  <a:lnTo>
                    <a:pt x="86" y="190"/>
                  </a:lnTo>
                  <a:lnTo>
                    <a:pt x="86" y="190"/>
                  </a:lnTo>
                  <a:lnTo>
                    <a:pt x="92" y="154"/>
                  </a:lnTo>
                  <a:lnTo>
                    <a:pt x="94" y="130"/>
                  </a:lnTo>
                  <a:lnTo>
                    <a:pt x="94" y="130"/>
                  </a:lnTo>
                  <a:lnTo>
                    <a:pt x="123" y="124"/>
                  </a:lnTo>
                  <a:lnTo>
                    <a:pt x="123" y="124"/>
                  </a:lnTo>
                  <a:lnTo>
                    <a:pt x="163" y="112"/>
                  </a:lnTo>
                  <a:lnTo>
                    <a:pt x="163" y="112"/>
                  </a:lnTo>
                  <a:lnTo>
                    <a:pt x="181" y="106"/>
                  </a:lnTo>
                  <a:lnTo>
                    <a:pt x="189" y="106"/>
                  </a:lnTo>
                  <a:lnTo>
                    <a:pt x="197" y="108"/>
                  </a:lnTo>
                  <a:lnTo>
                    <a:pt x="197" y="108"/>
                  </a:lnTo>
                  <a:lnTo>
                    <a:pt x="201" y="110"/>
                  </a:lnTo>
                  <a:lnTo>
                    <a:pt x="205" y="110"/>
                  </a:lnTo>
                  <a:lnTo>
                    <a:pt x="213" y="106"/>
                  </a:lnTo>
                  <a:lnTo>
                    <a:pt x="215" y="104"/>
                  </a:lnTo>
                  <a:lnTo>
                    <a:pt x="215" y="102"/>
                  </a:lnTo>
                  <a:lnTo>
                    <a:pt x="215" y="100"/>
                  </a:lnTo>
                  <a:lnTo>
                    <a:pt x="211" y="98"/>
                  </a:lnTo>
                  <a:lnTo>
                    <a:pt x="211" y="98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Line 153"/>
            <p:cNvSpPr>
              <a:spLocks noChangeShapeType="1"/>
            </p:cNvSpPr>
            <p:nvPr/>
          </p:nvSpPr>
          <p:spPr bwMode="auto">
            <a:xfrm flipV="1">
              <a:off x="7012225" y="5964729"/>
              <a:ext cx="160424" cy="312099"/>
            </a:xfrm>
            <a:prstGeom prst="line">
              <a:avLst/>
            </a:prstGeom>
            <a:noFill/>
            <a:ln w="12700">
              <a:solidFill>
                <a:srgbClr val="84E0F7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Freeform 157"/>
            <p:cNvSpPr>
              <a:spLocks/>
            </p:cNvSpPr>
            <p:nvPr/>
          </p:nvSpPr>
          <p:spPr bwMode="auto">
            <a:xfrm>
              <a:off x="1621481" y="6299713"/>
              <a:ext cx="942964" cy="475369"/>
            </a:xfrm>
            <a:custGeom>
              <a:avLst/>
              <a:gdLst>
                <a:gd name="T0" fmla="*/ 712 w 728"/>
                <a:gd name="T1" fmla="*/ 195 h 367"/>
                <a:gd name="T2" fmla="*/ 678 w 728"/>
                <a:gd name="T3" fmla="*/ 166 h 367"/>
                <a:gd name="T4" fmla="*/ 646 w 728"/>
                <a:gd name="T5" fmla="*/ 195 h 367"/>
                <a:gd name="T6" fmla="*/ 612 w 728"/>
                <a:gd name="T7" fmla="*/ 166 h 367"/>
                <a:gd name="T8" fmla="*/ 578 w 728"/>
                <a:gd name="T9" fmla="*/ 195 h 367"/>
                <a:gd name="T10" fmla="*/ 546 w 728"/>
                <a:gd name="T11" fmla="*/ 166 h 367"/>
                <a:gd name="T12" fmla="*/ 512 w 728"/>
                <a:gd name="T13" fmla="*/ 195 h 367"/>
                <a:gd name="T14" fmla="*/ 494 w 728"/>
                <a:gd name="T15" fmla="*/ 82 h 367"/>
                <a:gd name="T16" fmla="*/ 510 w 728"/>
                <a:gd name="T17" fmla="*/ 28 h 367"/>
                <a:gd name="T18" fmla="*/ 510 w 728"/>
                <a:gd name="T19" fmla="*/ 0 h 367"/>
                <a:gd name="T20" fmla="*/ 494 w 728"/>
                <a:gd name="T21" fmla="*/ 28 h 367"/>
                <a:gd name="T22" fmla="*/ 484 w 728"/>
                <a:gd name="T23" fmla="*/ 0 h 367"/>
                <a:gd name="T24" fmla="*/ 462 w 728"/>
                <a:gd name="T25" fmla="*/ 28 h 367"/>
                <a:gd name="T26" fmla="*/ 450 w 728"/>
                <a:gd name="T27" fmla="*/ 0 h 367"/>
                <a:gd name="T28" fmla="*/ 434 w 728"/>
                <a:gd name="T29" fmla="*/ 28 h 367"/>
                <a:gd name="T30" fmla="*/ 410 w 728"/>
                <a:gd name="T31" fmla="*/ 104 h 367"/>
                <a:gd name="T32" fmla="*/ 394 w 728"/>
                <a:gd name="T33" fmla="*/ 132 h 367"/>
                <a:gd name="T34" fmla="*/ 360 w 728"/>
                <a:gd name="T35" fmla="*/ 104 h 367"/>
                <a:gd name="T36" fmla="*/ 344 w 728"/>
                <a:gd name="T37" fmla="*/ 132 h 367"/>
                <a:gd name="T38" fmla="*/ 310 w 728"/>
                <a:gd name="T39" fmla="*/ 104 h 367"/>
                <a:gd name="T40" fmla="*/ 298 w 728"/>
                <a:gd name="T41" fmla="*/ 132 h 367"/>
                <a:gd name="T42" fmla="*/ 294 w 728"/>
                <a:gd name="T43" fmla="*/ 0 h 367"/>
                <a:gd name="T44" fmla="*/ 278 w 728"/>
                <a:gd name="T45" fmla="*/ 28 h 367"/>
                <a:gd name="T46" fmla="*/ 268 w 728"/>
                <a:gd name="T47" fmla="*/ 0 h 367"/>
                <a:gd name="T48" fmla="*/ 246 w 728"/>
                <a:gd name="T49" fmla="*/ 28 h 367"/>
                <a:gd name="T50" fmla="*/ 234 w 728"/>
                <a:gd name="T51" fmla="*/ 0 h 367"/>
                <a:gd name="T52" fmla="*/ 218 w 728"/>
                <a:gd name="T53" fmla="*/ 56 h 367"/>
                <a:gd name="T54" fmla="*/ 218 w 728"/>
                <a:gd name="T55" fmla="*/ 82 h 367"/>
                <a:gd name="T56" fmla="*/ 224 w 728"/>
                <a:gd name="T57" fmla="*/ 195 h 367"/>
                <a:gd name="T58" fmla="*/ 214 w 728"/>
                <a:gd name="T59" fmla="*/ 166 h 367"/>
                <a:gd name="T60" fmla="*/ 182 w 728"/>
                <a:gd name="T61" fmla="*/ 195 h 367"/>
                <a:gd name="T62" fmla="*/ 148 w 728"/>
                <a:gd name="T63" fmla="*/ 166 h 367"/>
                <a:gd name="T64" fmla="*/ 116 w 728"/>
                <a:gd name="T65" fmla="*/ 195 h 367"/>
                <a:gd name="T66" fmla="*/ 82 w 728"/>
                <a:gd name="T67" fmla="*/ 166 h 367"/>
                <a:gd name="T68" fmla="*/ 50 w 728"/>
                <a:gd name="T69" fmla="*/ 195 h 367"/>
                <a:gd name="T70" fmla="*/ 16 w 728"/>
                <a:gd name="T71" fmla="*/ 166 h 367"/>
                <a:gd name="T72" fmla="*/ 0 w 728"/>
                <a:gd name="T73" fmla="*/ 195 h 367"/>
                <a:gd name="T74" fmla="*/ 0 w 728"/>
                <a:gd name="T75" fmla="*/ 367 h 367"/>
                <a:gd name="T76" fmla="*/ 728 w 728"/>
                <a:gd name="T77" fmla="*/ 223 h 367"/>
                <a:gd name="T78" fmla="*/ 728 w 728"/>
                <a:gd name="T79" fmla="*/ 16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28" h="367">
                  <a:moveTo>
                    <a:pt x="712" y="166"/>
                  </a:moveTo>
                  <a:lnTo>
                    <a:pt x="712" y="195"/>
                  </a:lnTo>
                  <a:lnTo>
                    <a:pt x="678" y="195"/>
                  </a:lnTo>
                  <a:lnTo>
                    <a:pt x="678" y="166"/>
                  </a:lnTo>
                  <a:lnTo>
                    <a:pt x="646" y="166"/>
                  </a:lnTo>
                  <a:lnTo>
                    <a:pt x="646" y="195"/>
                  </a:lnTo>
                  <a:lnTo>
                    <a:pt x="612" y="195"/>
                  </a:lnTo>
                  <a:lnTo>
                    <a:pt x="612" y="166"/>
                  </a:lnTo>
                  <a:lnTo>
                    <a:pt x="578" y="166"/>
                  </a:lnTo>
                  <a:lnTo>
                    <a:pt x="578" y="195"/>
                  </a:lnTo>
                  <a:lnTo>
                    <a:pt x="546" y="195"/>
                  </a:lnTo>
                  <a:lnTo>
                    <a:pt x="546" y="166"/>
                  </a:lnTo>
                  <a:lnTo>
                    <a:pt x="512" y="166"/>
                  </a:lnTo>
                  <a:lnTo>
                    <a:pt x="512" y="195"/>
                  </a:lnTo>
                  <a:lnTo>
                    <a:pt x="502" y="195"/>
                  </a:lnTo>
                  <a:lnTo>
                    <a:pt x="494" y="82"/>
                  </a:lnTo>
                  <a:lnTo>
                    <a:pt x="510" y="82"/>
                  </a:lnTo>
                  <a:lnTo>
                    <a:pt x="510" y="28"/>
                  </a:lnTo>
                  <a:lnTo>
                    <a:pt x="510" y="28"/>
                  </a:lnTo>
                  <a:lnTo>
                    <a:pt x="510" y="0"/>
                  </a:lnTo>
                  <a:lnTo>
                    <a:pt x="494" y="0"/>
                  </a:lnTo>
                  <a:lnTo>
                    <a:pt x="494" y="28"/>
                  </a:lnTo>
                  <a:lnTo>
                    <a:pt x="484" y="28"/>
                  </a:lnTo>
                  <a:lnTo>
                    <a:pt x="484" y="0"/>
                  </a:lnTo>
                  <a:lnTo>
                    <a:pt x="462" y="0"/>
                  </a:lnTo>
                  <a:lnTo>
                    <a:pt x="462" y="28"/>
                  </a:lnTo>
                  <a:lnTo>
                    <a:pt x="450" y="28"/>
                  </a:lnTo>
                  <a:lnTo>
                    <a:pt x="450" y="0"/>
                  </a:lnTo>
                  <a:lnTo>
                    <a:pt x="434" y="0"/>
                  </a:lnTo>
                  <a:lnTo>
                    <a:pt x="434" y="28"/>
                  </a:lnTo>
                  <a:lnTo>
                    <a:pt x="430" y="104"/>
                  </a:lnTo>
                  <a:lnTo>
                    <a:pt x="410" y="104"/>
                  </a:lnTo>
                  <a:lnTo>
                    <a:pt x="410" y="132"/>
                  </a:lnTo>
                  <a:lnTo>
                    <a:pt x="394" y="132"/>
                  </a:lnTo>
                  <a:lnTo>
                    <a:pt x="394" y="104"/>
                  </a:lnTo>
                  <a:lnTo>
                    <a:pt x="360" y="104"/>
                  </a:lnTo>
                  <a:lnTo>
                    <a:pt x="360" y="132"/>
                  </a:lnTo>
                  <a:lnTo>
                    <a:pt x="344" y="132"/>
                  </a:lnTo>
                  <a:lnTo>
                    <a:pt x="344" y="104"/>
                  </a:lnTo>
                  <a:lnTo>
                    <a:pt x="310" y="104"/>
                  </a:lnTo>
                  <a:lnTo>
                    <a:pt x="310" y="132"/>
                  </a:lnTo>
                  <a:lnTo>
                    <a:pt x="298" y="132"/>
                  </a:lnTo>
                  <a:lnTo>
                    <a:pt x="294" y="46"/>
                  </a:lnTo>
                  <a:lnTo>
                    <a:pt x="294" y="0"/>
                  </a:lnTo>
                  <a:lnTo>
                    <a:pt x="278" y="0"/>
                  </a:lnTo>
                  <a:lnTo>
                    <a:pt x="278" y="28"/>
                  </a:lnTo>
                  <a:lnTo>
                    <a:pt x="268" y="28"/>
                  </a:lnTo>
                  <a:lnTo>
                    <a:pt x="268" y="0"/>
                  </a:lnTo>
                  <a:lnTo>
                    <a:pt x="246" y="0"/>
                  </a:lnTo>
                  <a:lnTo>
                    <a:pt x="246" y="28"/>
                  </a:lnTo>
                  <a:lnTo>
                    <a:pt x="234" y="28"/>
                  </a:lnTo>
                  <a:lnTo>
                    <a:pt x="234" y="0"/>
                  </a:lnTo>
                  <a:lnTo>
                    <a:pt x="218" y="0"/>
                  </a:lnTo>
                  <a:lnTo>
                    <a:pt x="218" y="56"/>
                  </a:lnTo>
                  <a:lnTo>
                    <a:pt x="218" y="56"/>
                  </a:lnTo>
                  <a:lnTo>
                    <a:pt x="218" y="82"/>
                  </a:lnTo>
                  <a:lnTo>
                    <a:pt x="232" y="82"/>
                  </a:lnTo>
                  <a:lnTo>
                    <a:pt x="224" y="195"/>
                  </a:lnTo>
                  <a:lnTo>
                    <a:pt x="214" y="195"/>
                  </a:lnTo>
                  <a:lnTo>
                    <a:pt x="214" y="166"/>
                  </a:lnTo>
                  <a:lnTo>
                    <a:pt x="182" y="166"/>
                  </a:lnTo>
                  <a:lnTo>
                    <a:pt x="182" y="195"/>
                  </a:lnTo>
                  <a:lnTo>
                    <a:pt x="148" y="195"/>
                  </a:lnTo>
                  <a:lnTo>
                    <a:pt x="148" y="166"/>
                  </a:lnTo>
                  <a:lnTo>
                    <a:pt x="116" y="166"/>
                  </a:lnTo>
                  <a:lnTo>
                    <a:pt x="116" y="195"/>
                  </a:lnTo>
                  <a:lnTo>
                    <a:pt x="82" y="195"/>
                  </a:lnTo>
                  <a:lnTo>
                    <a:pt x="82" y="166"/>
                  </a:lnTo>
                  <a:lnTo>
                    <a:pt x="50" y="166"/>
                  </a:lnTo>
                  <a:lnTo>
                    <a:pt x="50" y="195"/>
                  </a:lnTo>
                  <a:lnTo>
                    <a:pt x="16" y="195"/>
                  </a:lnTo>
                  <a:lnTo>
                    <a:pt x="16" y="166"/>
                  </a:lnTo>
                  <a:lnTo>
                    <a:pt x="0" y="166"/>
                  </a:lnTo>
                  <a:lnTo>
                    <a:pt x="0" y="195"/>
                  </a:lnTo>
                  <a:lnTo>
                    <a:pt x="0" y="195"/>
                  </a:lnTo>
                  <a:lnTo>
                    <a:pt x="0" y="367"/>
                  </a:lnTo>
                  <a:lnTo>
                    <a:pt x="728" y="367"/>
                  </a:lnTo>
                  <a:lnTo>
                    <a:pt x="728" y="223"/>
                  </a:lnTo>
                  <a:lnTo>
                    <a:pt x="728" y="195"/>
                  </a:lnTo>
                  <a:lnTo>
                    <a:pt x="728" y="166"/>
                  </a:lnTo>
                  <a:lnTo>
                    <a:pt x="712" y="16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Freeform 181"/>
            <p:cNvSpPr>
              <a:spLocks noEditPoints="1"/>
            </p:cNvSpPr>
            <p:nvPr/>
          </p:nvSpPr>
          <p:spPr bwMode="auto">
            <a:xfrm>
              <a:off x="10188690" y="6098786"/>
              <a:ext cx="257689" cy="655509"/>
            </a:xfrm>
            <a:custGeom>
              <a:avLst/>
              <a:gdLst>
                <a:gd name="T0" fmla="*/ 256 w 274"/>
                <a:gd name="T1" fmla="*/ 603 h 697"/>
                <a:gd name="T2" fmla="*/ 232 w 274"/>
                <a:gd name="T3" fmla="*/ 483 h 697"/>
                <a:gd name="T4" fmla="*/ 200 w 274"/>
                <a:gd name="T5" fmla="*/ 314 h 697"/>
                <a:gd name="T6" fmla="*/ 220 w 274"/>
                <a:gd name="T7" fmla="*/ 258 h 697"/>
                <a:gd name="T8" fmla="*/ 220 w 274"/>
                <a:gd name="T9" fmla="*/ 204 h 697"/>
                <a:gd name="T10" fmla="*/ 184 w 274"/>
                <a:gd name="T11" fmla="*/ 186 h 697"/>
                <a:gd name="T12" fmla="*/ 208 w 274"/>
                <a:gd name="T13" fmla="*/ 168 h 697"/>
                <a:gd name="T14" fmla="*/ 194 w 274"/>
                <a:gd name="T15" fmla="*/ 132 h 697"/>
                <a:gd name="T16" fmla="*/ 194 w 274"/>
                <a:gd name="T17" fmla="*/ 132 h 697"/>
                <a:gd name="T18" fmla="*/ 190 w 274"/>
                <a:gd name="T19" fmla="*/ 110 h 697"/>
                <a:gd name="T20" fmla="*/ 182 w 274"/>
                <a:gd name="T21" fmla="*/ 92 h 697"/>
                <a:gd name="T22" fmla="*/ 168 w 274"/>
                <a:gd name="T23" fmla="*/ 78 h 697"/>
                <a:gd name="T24" fmla="*/ 152 w 274"/>
                <a:gd name="T25" fmla="*/ 70 h 697"/>
                <a:gd name="T26" fmla="*/ 144 w 274"/>
                <a:gd name="T27" fmla="*/ 48 h 697"/>
                <a:gd name="T28" fmla="*/ 136 w 274"/>
                <a:gd name="T29" fmla="*/ 0 h 697"/>
                <a:gd name="T30" fmla="*/ 128 w 274"/>
                <a:gd name="T31" fmla="*/ 48 h 697"/>
                <a:gd name="T32" fmla="*/ 128 w 274"/>
                <a:gd name="T33" fmla="*/ 70 h 697"/>
                <a:gd name="T34" fmla="*/ 112 w 274"/>
                <a:gd name="T35" fmla="*/ 78 h 697"/>
                <a:gd name="T36" fmla="*/ 100 w 274"/>
                <a:gd name="T37" fmla="*/ 92 h 697"/>
                <a:gd name="T38" fmla="*/ 92 w 274"/>
                <a:gd name="T39" fmla="*/ 110 h 697"/>
                <a:gd name="T40" fmla="*/ 88 w 274"/>
                <a:gd name="T41" fmla="*/ 132 h 697"/>
                <a:gd name="T42" fmla="*/ 86 w 274"/>
                <a:gd name="T43" fmla="*/ 168 h 697"/>
                <a:gd name="T44" fmla="*/ 72 w 274"/>
                <a:gd name="T45" fmla="*/ 186 h 697"/>
                <a:gd name="T46" fmla="*/ 96 w 274"/>
                <a:gd name="T47" fmla="*/ 204 h 697"/>
                <a:gd name="T48" fmla="*/ 62 w 274"/>
                <a:gd name="T49" fmla="*/ 258 h 697"/>
                <a:gd name="T50" fmla="*/ 58 w 274"/>
                <a:gd name="T51" fmla="*/ 258 h 697"/>
                <a:gd name="T52" fmla="*/ 70 w 274"/>
                <a:gd name="T53" fmla="*/ 483 h 697"/>
                <a:gd name="T54" fmla="*/ 36 w 274"/>
                <a:gd name="T55" fmla="*/ 603 h 697"/>
                <a:gd name="T56" fmla="*/ 0 w 274"/>
                <a:gd name="T57" fmla="*/ 647 h 697"/>
                <a:gd name="T58" fmla="*/ 20 w 274"/>
                <a:gd name="T59" fmla="*/ 697 h 697"/>
                <a:gd name="T60" fmla="*/ 120 w 274"/>
                <a:gd name="T61" fmla="*/ 258 h 697"/>
                <a:gd name="T62" fmla="*/ 158 w 274"/>
                <a:gd name="T63" fmla="*/ 212 h 697"/>
                <a:gd name="T64" fmla="*/ 120 w 274"/>
                <a:gd name="T65" fmla="*/ 258 h 697"/>
                <a:gd name="T66" fmla="*/ 212 w 274"/>
                <a:gd name="T67" fmla="*/ 258 h 697"/>
                <a:gd name="T68" fmla="*/ 184 w 274"/>
                <a:gd name="T69" fmla="*/ 258 h 697"/>
                <a:gd name="T70" fmla="*/ 212 w 274"/>
                <a:gd name="T71" fmla="*/ 212 h 697"/>
                <a:gd name="T72" fmla="*/ 128 w 274"/>
                <a:gd name="T73" fmla="*/ 168 h 697"/>
                <a:gd name="T74" fmla="*/ 114 w 274"/>
                <a:gd name="T75" fmla="*/ 140 h 697"/>
                <a:gd name="T76" fmla="*/ 136 w 274"/>
                <a:gd name="T77" fmla="*/ 140 h 697"/>
                <a:gd name="T78" fmla="*/ 146 w 274"/>
                <a:gd name="T79" fmla="*/ 168 h 697"/>
                <a:gd name="T80" fmla="*/ 136 w 274"/>
                <a:gd name="T81" fmla="*/ 140 h 697"/>
                <a:gd name="T82" fmla="*/ 166 w 274"/>
                <a:gd name="T83" fmla="*/ 140 h 697"/>
                <a:gd name="T84" fmla="*/ 154 w 274"/>
                <a:gd name="T85" fmla="*/ 168 h 697"/>
                <a:gd name="T86" fmla="*/ 174 w 274"/>
                <a:gd name="T87" fmla="*/ 168 h 697"/>
                <a:gd name="T88" fmla="*/ 186 w 274"/>
                <a:gd name="T89" fmla="*/ 140 h 697"/>
                <a:gd name="T90" fmla="*/ 174 w 274"/>
                <a:gd name="T91" fmla="*/ 168 h 697"/>
                <a:gd name="T92" fmla="*/ 94 w 274"/>
                <a:gd name="T93" fmla="*/ 140 h 697"/>
                <a:gd name="T94" fmla="*/ 106 w 274"/>
                <a:gd name="T95" fmla="*/ 168 h 697"/>
                <a:gd name="T96" fmla="*/ 120 w 274"/>
                <a:gd name="T97" fmla="*/ 186 h 697"/>
                <a:gd name="T98" fmla="*/ 158 w 274"/>
                <a:gd name="T99" fmla="*/ 204 h 697"/>
                <a:gd name="T100" fmla="*/ 120 w 274"/>
                <a:gd name="T101" fmla="*/ 186 h 697"/>
                <a:gd name="T102" fmla="*/ 70 w 274"/>
                <a:gd name="T103" fmla="*/ 258 h 697"/>
                <a:gd name="T104" fmla="*/ 96 w 274"/>
                <a:gd name="T105" fmla="*/ 212 h 697"/>
                <a:gd name="T106" fmla="*/ 70 w 274"/>
                <a:gd name="T107" fmla="*/ 258 h 6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4" h="697">
                  <a:moveTo>
                    <a:pt x="274" y="697"/>
                  </a:moveTo>
                  <a:lnTo>
                    <a:pt x="256" y="603"/>
                  </a:lnTo>
                  <a:lnTo>
                    <a:pt x="248" y="603"/>
                  </a:lnTo>
                  <a:lnTo>
                    <a:pt x="232" y="483"/>
                  </a:lnTo>
                  <a:lnTo>
                    <a:pt x="220" y="483"/>
                  </a:lnTo>
                  <a:lnTo>
                    <a:pt x="200" y="314"/>
                  </a:lnTo>
                  <a:lnTo>
                    <a:pt x="220" y="258"/>
                  </a:lnTo>
                  <a:lnTo>
                    <a:pt x="220" y="258"/>
                  </a:lnTo>
                  <a:lnTo>
                    <a:pt x="220" y="258"/>
                  </a:lnTo>
                  <a:lnTo>
                    <a:pt x="220" y="204"/>
                  </a:lnTo>
                  <a:lnTo>
                    <a:pt x="184" y="204"/>
                  </a:lnTo>
                  <a:lnTo>
                    <a:pt x="184" y="186"/>
                  </a:lnTo>
                  <a:lnTo>
                    <a:pt x="208" y="186"/>
                  </a:lnTo>
                  <a:lnTo>
                    <a:pt x="208" y="168"/>
                  </a:lnTo>
                  <a:lnTo>
                    <a:pt x="194" y="168"/>
                  </a:lnTo>
                  <a:lnTo>
                    <a:pt x="194" y="132"/>
                  </a:lnTo>
                  <a:lnTo>
                    <a:pt x="194" y="132"/>
                  </a:lnTo>
                  <a:lnTo>
                    <a:pt x="194" y="132"/>
                  </a:lnTo>
                  <a:lnTo>
                    <a:pt x="192" y="120"/>
                  </a:lnTo>
                  <a:lnTo>
                    <a:pt x="190" y="110"/>
                  </a:lnTo>
                  <a:lnTo>
                    <a:pt x="186" y="100"/>
                  </a:lnTo>
                  <a:lnTo>
                    <a:pt x="182" y="92"/>
                  </a:lnTo>
                  <a:lnTo>
                    <a:pt x="176" y="84"/>
                  </a:lnTo>
                  <a:lnTo>
                    <a:pt x="168" y="78"/>
                  </a:lnTo>
                  <a:lnTo>
                    <a:pt x="160" y="74"/>
                  </a:lnTo>
                  <a:lnTo>
                    <a:pt x="152" y="70"/>
                  </a:lnTo>
                  <a:lnTo>
                    <a:pt x="152" y="48"/>
                  </a:lnTo>
                  <a:lnTo>
                    <a:pt x="144" y="48"/>
                  </a:lnTo>
                  <a:lnTo>
                    <a:pt x="144" y="0"/>
                  </a:lnTo>
                  <a:lnTo>
                    <a:pt x="136" y="0"/>
                  </a:lnTo>
                  <a:lnTo>
                    <a:pt x="136" y="48"/>
                  </a:lnTo>
                  <a:lnTo>
                    <a:pt x="128" y="48"/>
                  </a:lnTo>
                  <a:lnTo>
                    <a:pt x="128" y="70"/>
                  </a:lnTo>
                  <a:lnTo>
                    <a:pt x="128" y="70"/>
                  </a:lnTo>
                  <a:lnTo>
                    <a:pt x="120" y="74"/>
                  </a:lnTo>
                  <a:lnTo>
                    <a:pt x="112" y="78"/>
                  </a:lnTo>
                  <a:lnTo>
                    <a:pt x="106" y="84"/>
                  </a:lnTo>
                  <a:lnTo>
                    <a:pt x="100" y="92"/>
                  </a:lnTo>
                  <a:lnTo>
                    <a:pt x="94" y="100"/>
                  </a:lnTo>
                  <a:lnTo>
                    <a:pt x="92" y="110"/>
                  </a:lnTo>
                  <a:lnTo>
                    <a:pt x="88" y="120"/>
                  </a:lnTo>
                  <a:lnTo>
                    <a:pt x="88" y="132"/>
                  </a:lnTo>
                  <a:lnTo>
                    <a:pt x="86" y="132"/>
                  </a:lnTo>
                  <a:lnTo>
                    <a:pt x="86" y="168"/>
                  </a:lnTo>
                  <a:lnTo>
                    <a:pt x="72" y="168"/>
                  </a:lnTo>
                  <a:lnTo>
                    <a:pt x="72" y="186"/>
                  </a:lnTo>
                  <a:lnTo>
                    <a:pt x="96" y="186"/>
                  </a:lnTo>
                  <a:lnTo>
                    <a:pt x="96" y="204"/>
                  </a:lnTo>
                  <a:lnTo>
                    <a:pt x="62" y="204"/>
                  </a:lnTo>
                  <a:lnTo>
                    <a:pt x="62" y="258"/>
                  </a:lnTo>
                  <a:lnTo>
                    <a:pt x="62" y="258"/>
                  </a:lnTo>
                  <a:lnTo>
                    <a:pt x="58" y="258"/>
                  </a:lnTo>
                  <a:lnTo>
                    <a:pt x="84" y="314"/>
                  </a:lnTo>
                  <a:lnTo>
                    <a:pt x="70" y="483"/>
                  </a:lnTo>
                  <a:lnTo>
                    <a:pt x="56" y="483"/>
                  </a:lnTo>
                  <a:lnTo>
                    <a:pt x="36" y="603"/>
                  </a:lnTo>
                  <a:lnTo>
                    <a:pt x="0" y="603"/>
                  </a:lnTo>
                  <a:lnTo>
                    <a:pt x="0" y="647"/>
                  </a:lnTo>
                  <a:lnTo>
                    <a:pt x="20" y="647"/>
                  </a:lnTo>
                  <a:lnTo>
                    <a:pt x="20" y="697"/>
                  </a:lnTo>
                  <a:lnTo>
                    <a:pt x="274" y="697"/>
                  </a:lnTo>
                  <a:close/>
                  <a:moveTo>
                    <a:pt x="120" y="258"/>
                  </a:moveTo>
                  <a:lnTo>
                    <a:pt x="120" y="212"/>
                  </a:lnTo>
                  <a:lnTo>
                    <a:pt x="158" y="212"/>
                  </a:lnTo>
                  <a:lnTo>
                    <a:pt x="158" y="258"/>
                  </a:lnTo>
                  <a:lnTo>
                    <a:pt x="120" y="258"/>
                  </a:lnTo>
                  <a:close/>
                  <a:moveTo>
                    <a:pt x="212" y="212"/>
                  </a:moveTo>
                  <a:lnTo>
                    <a:pt x="212" y="258"/>
                  </a:lnTo>
                  <a:lnTo>
                    <a:pt x="212" y="258"/>
                  </a:lnTo>
                  <a:lnTo>
                    <a:pt x="184" y="258"/>
                  </a:lnTo>
                  <a:lnTo>
                    <a:pt x="184" y="212"/>
                  </a:lnTo>
                  <a:lnTo>
                    <a:pt x="212" y="212"/>
                  </a:lnTo>
                  <a:close/>
                  <a:moveTo>
                    <a:pt x="128" y="140"/>
                  </a:moveTo>
                  <a:lnTo>
                    <a:pt x="128" y="168"/>
                  </a:lnTo>
                  <a:lnTo>
                    <a:pt x="114" y="168"/>
                  </a:lnTo>
                  <a:lnTo>
                    <a:pt x="114" y="140"/>
                  </a:lnTo>
                  <a:lnTo>
                    <a:pt x="128" y="140"/>
                  </a:lnTo>
                  <a:close/>
                  <a:moveTo>
                    <a:pt x="136" y="140"/>
                  </a:moveTo>
                  <a:lnTo>
                    <a:pt x="146" y="140"/>
                  </a:lnTo>
                  <a:lnTo>
                    <a:pt x="146" y="168"/>
                  </a:lnTo>
                  <a:lnTo>
                    <a:pt x="136" y="168"/>
                  </a:lnTo>
                  <a:lnTo>
                    <a:pt x="136" y="140"/>
                  </a:lnTo>
                  <a:close/>
                  <a:moveTo>
                    <a:pt x="154" y="140"/>
                  </a:moveTo>
                  <a:lnTo>
                    <a:pt x="166" y="140"/>
                  </a:lnTo>
                  <a:lnTo>
                    <a:pt x="166" y="168"/>
                  </a:lnTo>
                  <a:lnTo>
                    <a:pt x="154" y="168"/>
                  </a:lnTo>
                  <a:lnTo>
                    <a:pt x="154" y="140"/>
                  </a:lnTo>
                  <a:close/>
                  <a:moveTo>
                    <a:pt x="174" y="168"/>
                  </a:moveTo>
                  <a:lnTo>
                    <a:pt x="174" y="140"/>
                  </a:lnTo>
                  <a:lnTo>
                    <a:pt x="186" y="140"/>
                  </a:lnTo>
                  <a:lnTo>
                    <a:pt x="186" y="168"/>
                  </a:lnTo>
                  <a:lnTo>
                    <a:pt x="174" y="168"/>
                  </a:lnTo>
                  <a:close/>
                  <a:moveTo>
                    <a:pt x="94" y="168"/>
                  </a:moveTo>
                  <a:lnTo>
                    <a:pt x="94" y="140"/>
                  </a:lnTo>
                  <a:lnTo>
                    <a:pt x="106" y="140"/>
                  </a:lnTo>
                  <a:lnTo>
                    <a:pt x="106" y="168"/>
                  </a:lnTo>
                  <a:lnTo>
                    <a:pt x="94" y="168"/>
                  </a:lnTo>
                  <a:close/>
                  <a:moveTo>
                    <a:pt x="120" y="186"/>
                  </a:moveTo>
                  <a:lnTo>
                    <a:pt x="158" y="186"/>
                  </a:lnTo>
                  <a:lnTo>
                    <a:pt x="158" y="204"/>
                  </a:lnTo>
                  <a:lnTo>
                    <a:pt x="120" y="204"/>
                  </a:lnTo>
                  <a:lnTo>
                    <a:pt x="120" y="186"/>
                  </a:lnTo>
                  <a:close/>
                  <a:moveTo>
                    <a:pt x="70" y="258"/>
                  </a:moveTo>
                  <a:lnTo>
                    <a:pt x="70" y="258"/>
                  </a:lnTo>
                  <a:lnTo>
                    <a:pt x="70" y="212"/>
                  </a:lnTo>
                  <a:lnTo>
                    <a:pt x="96" y="212"/>
                  </a:lnTo>
                  <a:lnTo>
                    <a:pt x="96" y="258"/>
                  </a:lnTo>
                  <a:lnTo>
                    <a:pt x="70" y="258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Freeform 187"/>
            <p:cNvSpPr>
              <a:spLocks/>
            </p:cNvSpPr>
            <p:nvPr/>
          </p:nvSpPr>
          <p:spPr bwMode="auto">
            <a:xfrm>
              <a:off x="11715512" y="6092291"/>
              <a:ext cx="329892" cy="632054"/>
            </a:xfrm>
            <a:custGeom>
              <a:avLst/>
              <a:gdLst>
                <a:gd name="T0" fmla="*/ 335 w 345"/>
                <a:gd name="T1" fmla="*/ 619 h 661"/>
                <a:gd name="T2" fmla="*/ 329 w 345"/>
                <a:gd name="T3" fmla="*/ 597 h 661"/>
                <a:gd name="T4" fmla="*/ 321 w 345"/>
                <a:gd name="T5" fmla="*/ 599 h 661"/>
                <a:gd name="T6" fmla="*/ 319 w 345"/>
                <a:gd name="T7" fmla="*/ 609 h 661"/>
                <a:gd name="T8" fmla="*/ 313 w 345"/>
                <a:gd name="T9" fmla="*/ 577 h 661"/>
                <a:gd name="T10" fmla="*/ 305 w 345"/>
                <a:gd name="T11" fmla="*/ 575 h 661"/>
                <a:gd name="T12" fmla="*/ 303 w 345"/>
                <a:gd name="T13" fmla="*/ 583 h 661"/>
                <a:gd name="T14" fmla="*/ 297 w 345"/>
                <a:gd name="T15" fmla="*/ 563 h 661"/>
                <a:gd name="T16" fmla="*/ 291 w 345"/>
                <a:gd name="T17" fmla="*/ 561 h 661"/>
                <a:gd name="T18" fmla="*/ 285 w 345"/>
                <a:gd name="T19" fmla="*/ 583 h 661"/>
                <a:gd name="T20" fmla="*/ 217 w 345"/>
                <a:gd name="T21" fmla="*/ 232 h 661"/>
                <a:gd name="T22" fmla="*/ 211 w 345"/>
                <a:gd name="T23" fmla="*/ 214 h 661"/>
                <a:gd name="T24" fmla="*/ 207 w 345"/>
                <a:gd name="T25" fmla="*/ 130 h 661"/>
                <a:gd name="T26" fmla="*/ 197 w 345"/>
                <a:gd name="T27" fmla="*/ 96 h 661"/>
                <a:gd name="T28" fmla="*/ 195 w 345"/>
                <a:gd name="T29" fmla="*/ 86 h 661"/>
                <a:gd name="T30" fmla="*/ 195 w 345"/>
                <a:gd name="T31" fmla="*/ 72 h 661"/>
                <a:gd name="T32" fmla="*/ 255 w 345"/>
                <a:gd name="T33" fmla="*/ 56 h 661"/>
                <a:gd name="T34" fmla="*/ 269 w 345"/>
                <a:gd name="T35" fmla="*/ 54 h 661"/>
                <a:gd name="T36" fmla="*/ 281 w 345"/>
                <a:gd name="T37" fmla="*/ 52 h 661"/>
                <a:gd name="T38" fmla="*/ 293 w 345"/>
                <a:gd name="T39" fmla="*/ 48 h 661"/>
                <a:gd name="T40" fmla="*/ 283 w 345"/>
                <a:gd name="T41" fmla="*/ 40 h 661"/>
                <a:gd name="T42" fmla="*/ 279 w 345"/>
                <a:gd name="T43" fmla="*/ 36 h 661"/>
                <a:gd name="T44" fmla="*/ 263 w 345"/>
                <a:gd name="T45" fmla="*/ 40 h 661"/>
                <a:gd name="T46" fmla="*/ 225 w 345"/>
                <a:gd name="T47" fmla="*/ 44 h 661"/>
                <a:gd name="T48" fmla="*/ 211 w 345"/>
                <a:gd name="T49" fmla="*/ 38 h 661"/>
                <a:gd name="T50" fmla="*/ 201 w 345"/>
                <a:gd name="T51" fmla="*/ 36 h 661"/>
                <a:gd name="T52" fmla="*/ 191 w 345"/>
                <a:gd name="T53" fmla="*/ 20 h 661"/>
                <a:gd name="T54" fmla="*/ 187 w 345"/>
                <a:gd name="T55" fmla="*/ 6 h 661"/>
                <a:gd name="T56" fmla="*/ 173 w 345"/>
                <a:gd name="T57" fmla="*/ 0 h 661"/>
                <a:gd name="T58" fmla="*/ 158 w 345"/>
                <a:gd name="T59" fmla="*/ 8 h 661"/>
                <a:gd name="T60" fmla="*/ 154 w 345"/>
                <a:gd name="T61" fmla="*/ 24 h 661"/>
                <a:gd name="T62" fmla="*/ 146 w 345"/>
                <a:gd name="T63" fmla="*/ 36 h 661"/>
                <a:gd name="T64" fmla="*/ 136 w 345"/>
                <a:gd name="T65" fmla="*/ 38 h 661"/>
                <a:gd name="T66" fmla="*/ 122 w 345"/>
                <a:gd name="T67" fmla="*/ 44 h 661"/>
                <a:gd name="T68" fmla="*/ 84 w 345"/>
                <a:gd name="T69" fmla="*/ 40 h 661"/>
                <a:gd name="T70" fmla="*/ 68 w 345"/>
                <a:gd name="T71" fmla="*/ 36 h 661"/>
                <a:gd name="T72" fmla="*/ 64 w 345"/>
                <a:gd name="T73" fmla="*/ 40 h 661"/>
                <a:gd name="T74" fmla="*/ 54 w 345"/>
                <a:gd name="T75" fmla="*/ 48 h 661"/>
                <a:gd name="T76" fmla="*/ 66 w 345"/>
                <a:gd name="T77" fmla="*/ 52 h 661"/>
                <a:gd name="T78" fmla="*/ 78 w 345"/>
                <a:gd name="T79" fmla="*/ 54 h 661"/>
                <a:gd name="T80" fmla="*/ 90 w 345"/>
                <a:gd name="T81" fmla="*/ 56 h 661"/>
                <a:gd name="T82" fmla="*/ 150 w 345"/>
                <a:gd name="T83" fmla="*/ 72 h 661"/>
                <a:gd name="T84" fmla="*/ 152 w 345"/>
                <a:gd name="T85" fmla="*/ 82 h 661"/>
                <a:gd name="T86" fmla="*/ 154 w 345"/>
                <a:gd name="T87" fmla="*/ 84 h 661"/>
                <a:gd name="T88" fmla="*/ 140 w 345"/>
                <a:gd name="T89" fmla="*/ 128 h 661"/>
                <a:gd name="T90" fmla="*/ 136 w 345"/>
                <a:gd name="T91" fmla="*/ 184 h 661"/>
                <a:gd name="T92" fmla="*/ 130 w 345"/>
                <a:gd name="T93" fmla="*/ 232 h 661"/>
                <a:gd name="T94" fmla="*/ 64 w 345"/>
                <a:gd name="T95" fmla="*/ 583 h 661"/>
                <a:gd name="T96" fmla="*/ 60 w 345"/>
                <a:gd name="T97" fmla="*/ 563 h 661"/>
                <a:gd name="T98" fmla="*/ 52 w 345"/>
                <a:gd name="T99" fmla="*/ 561 h 661"/>
                <a:gd name="T100" fmla="*/ 46 w 345"/>
                <a:gd name="T101" fmla="*/ 583 h 661"/>
                <a:gd name="T102" fmla="*/ 46 w 345"/>
                <a:gd name="T103" fmla="*/ 589 h 661"/>
                <a:gd name="T104" fmla="*/ 40 w 345"/>
                <a:gd name="T105" fmla="*/ 575 h 661"/>
                <a:gd name="T106" fmla="*/ 34 w 345"/>
                <a:gd name="T107" fmla="*/ 577 h 661"/>
                <a:gd name="T108" fmla="*/ 30 w 345"/>
                <a:gd name="T109" fmla="*/ 597 h 661"/>
                <a:gd name="T110" fmla="*/ 24 w 345"/>
                <a:gd name="T111" fmla="*/ 599 h 661"/>
                <a:gd name="T112" fmla="*/ 20 w 345"/>
                <a:gd name="T113" fmla="*/ 595 h 661"/>
                <a:gd name="T114" fmla="*/ 16 w 345"/>
                <a:gd name="T115" fmla="*/ 599 h 661"/>
                <a:gd name="T116" fmla="*/ 8 w 345"/>
                <a:gd name="T117" fmla="*/ 639 h 661"/>
                <a:gd name="T118" fmla="*/ 345 w 345"/>
                <a:gd name="T119" fmla="*/ 661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45" h="661">
                  <a:moveTo>
                    <a:pt x="337" y="639"/>
                  </a:moveTo>
                  <a:lnTo>
                    <a:pt x="337" y="639"/>
                  </a:lnTo>
                  <a:lnTo>
                    <a:pt x="335" y="619"/>
                  </a:lnTo>
                  <a:lnTo>
                    <a:pt x="329" y="599"/>
                  </a:lnTo>
                  <a:lnTo>
                    <a:pt x="329" y="599"/>
                  </a:lnTo>
                  <a:lnTo>
                    <a:pt x="329" y="597"/>
                  </a:lnTo>
                  <a:lnTo>
                    <a:pt x="325" y="595"/>
                  </a:lnTo>
                  <a:lnTo>
                    <a:pt x="323" y="597"/>
                  </a:lnTo>
                  <a:lnTo>
                    <a:pt x="321" y="599"/>
                  </a:lnTo>
                  <a:lnTo>
                    <a:pt x="321" y="599"/>
                  </a:lnTo>
                  <a:lnTo>
                    <a:pt x="319" y="609"/>
                  </a:lnTo>
                  <a:lnTo>
                    <a:pt x="319" y="609"/>
                  </a:lnTo>
                  <a:lnTo>
                    <a:pt x="317" y="593"/>
                  </a:lnTo>
                  <a:lnTo>
                    <a:pt x="313" y="577"/>
                  </a:lnTo>
                  <a:lnTo>
                    <a:pt x="313" y="577"/>
                  </a:lnTo>
                  <a:lnTo>
                    <a:pt x="311" y="575"/>
                  </a:lnTo>
                  <a:lnTo>
                    <a:pt x="309" y="575"/>
                  </a:lnTo>
                  <a:lnTo>
                    <a:pt x="305" y="575"/>
                  </a:lnTo>
                  <a:lnTo>
                    <a:pt x="305" y="577"/>
                  </a:lnTo>
                  <a:lnTo>
                    <a:pt x="305" y="577"/>
                  </a:lnTo>
                  <a:lnTo>
                    <a:pt x="303" y="583"/>
                  </a:lnTo>
                  <a:lnTo>
                    <a:pt x="303" y="583"/>
                  </a:lnTo>
                  <a:lnTo>
                    <a:pt x="297" y="563"/>
                  </a:lnTo>
                  <a:lnTo>
                    <a:pt x="297" y="563"/>
                  </a:lnTo>
                  <a:lnTo>
                    <a:pt x="295" y="561"/>
                  </a:lnTo>
                  <a:lnTo>
                    <a:pt x="293" y="561"/>
                  </a:lnTo>
                  <a:lnTo>
                    <a:pt x="291" y="561"/>
                  </a:lnTo>
                  <a:lnTo>
                    <a:pt x="289" y="563"/>
                  </a:lnTo>
                  <a:lnTo>
                    <a:pt x="289" y="563"/>
                  </a:lnTo>
                  <a:lnTo>
                    <a:pt x="285" y="583"/>
                  </a:lnTo>
                  <a:lnTo>
                    <a:pt x="235" y="583"/>
                  </a:lnTo>
                  <a:lnTo>
                    <a:pt x="223" y="232"/>
                  </a:lnTo>
                  <a:lnTo>
                    <a:pt x="217" y="232"/>
                  </a:lnTo>
                  <a:lnTo>
                    <a:pt x="217" y="214"/>
                  </a:lnTo>
                  <a:lnTo>
                    <a:pt x="211" y="214"/>
                  </a:lnTo>
                  <a:lnTo>
                    <a:pt x="211" y="214"/>
                  </a:lnTo>
                  <a:lnTo>
                    <a:pt x="211" y="186"/>
                  </a:lnTo>
                  <a:lnTo>
                    <a:pt x="209" y="160"/>
                  </a:lnTo>
                  <a:lnTo>
                    <a:pt x="207" y="130"/>
                  </a:lnTo>
                  <a:lnTo>
                    <a:pt x="207" y="130"/>
                  </a:lnTo>
                  <a:lnTo>
                    <a:pt x="201" y="108"/>
                  </a:lnTo>
                  <a:lnTo>
                    <a:pt x="197" y="96"/>
                  </a:lnTo>
                  <a:lnTo>
                    <a:pt x="193" y="86"/>
                  </a:lnTo>
                  <a:lnTo>
                    <a:pt x="193" y="86"/>
                  </a:lnTo>
                  <a:lnTo>
                    <a:pt x="195" y="86"/>
                  </a:lnTo>
                  <a:lnTo>
                    <a:pt x="195" y="84"/>
                  </a:lnTo>
                  <a:lnTo>
                    <a:pt x="195" y="72"/>
                  </a:lnTo>
                  <a:lnTo>
                    <a:pt x="195" y="72"/>
                  </a:lnTo>
                  <a:lnTo>
                    <a:pt x="223" y="66"/>
                  </a:lnTo>
                  <a:lnTo>
                    <a:pt x="247" y="60"/>
                  </a:lnTo>
                  <a:lnTo>
                    <a:pt x="255" y="56"/>
                  </a:lnTo>
                  <a:lnTo>
                    <a:pt x="263" y="52"/>
                  </a:lnTo>
                  <a:lnTo>
                    <a:pt x="263" y="52"/>
                  </a:lnTo>
                  <a:lnTo>
                    <a:pt x="269" y="54"/>
                  </a:lnTo>
                  <a:lnTo>
                    <a:pt x="275" y="54"/>
                  </a:lnTo>
                  <a:lnTo>
                    <a:pt x="281" y="52"/>
                  </a:lnTo>
                  <a:lnTo>
                    <a:pt x="281" y="52"/>
                  </a:lnTo>
                  <a:lnTo>
                    <a:pt x="293" y="50"/>
                  </a:lnTo>
                  <a:lnTo>
                    <a:pt x="293" y="50"/>
                  </a:lnTo>
                  <a:lnTo>
                    <a:pt x="293" y="48"/>
                  </a:lnTo>
                  <a:lnTo>
                    <a:pt x="293" y="44"/>
                  </a:lnTo>
                  <a:lnTo>
                    <a:pt x="291" y="42"/>
                  </a:lnTo>
                  <a:lnTo>
                    <a:pt x="283" y="40"/>
                  </a:lnTo>
                  <a:lnTo>
                    <a:pt x="283" y="40"/>
                  </a:lnTo>
                  <a:lnTo>
                    <a:pt x="281" y="36"/>
                  </a:lnTo>
                  <a:lnTo>
                    <a:pt x="279" y="36"/>
                  </a:lnTo>
                  <a:lnTo>
                    <a:pt x="273" y="38"/>
                  </a:lnTo>
                  <a:lnTo>
                    <a:pt x="273" y="38"/>
                  </a:lnTo>
                  <a:lnTo>
                    <a:pt x="263" y="40"/>
                  </a:lnTo>
                  <a:lnTo>
                    <a:pt x="263" y="40"/>
                  </a:lnTo>
                  <a:lnTo>
                    <a:pt x="241" y="42"/>
                  </a:lnTo>
                  <a:lnTo>
                    <a:pt x="225" y="44"/>
                  </a:lnTo>
                  <a:lnTo>
                    <a:pt x="215" y="42"/>
                  </a:lnTo>
                  <a:lnTo>
                    <a:pt x="215" y="42"/>
                  </a:lnTo>
                  <a:lnTo>
                    <a:pt x="211" y="38"/>
                  </a:lnTo>
                  <a:lnTo>
                    <a:pt x="207" y="36"/>
                  </a:lnTo>
                  <a:lnTo>
                    <a:pt x="201" y="36"/>
                  </a:lnTo>
                  <a:lnTo>
                    <a:pt x="201" y="36"/>
                  </a:lnTo>
                  <a:lnTo>
                    <a:pt x="191" y="36"/>
                  </a:lnTo>
                  <a:lnTo>
                    <a:pt x="191" y="36"/>
                  </a:lnTo>
                  <a:lnTo>
                    <a:pt x="191" y="20"/>
                  </a:lnTo>
                  <a:lnTo>
                    <a:pt x="191" y="20"/>
                  </a:lnTo>
                  <a:lnTo>
                    <a:pt x="191" y="12"/>
                  </a:lnTo>
                  <a:lnTo>
                    <a:pt x="187" y="6"/>
                  </a:lnTo>
                  <a:lnTo>
                    <a:pt x="181" y="2"/>
                  </a:lnTo>
                  <a:lnTo>
                    <a:pt x="173" y="0"/>
                  </a:lnTo>
                  <a:lnTo>
                    <a:pt x="173" y="0"/>
                  </a:lnTo>
                  <a:lnTo>
                    <a:pt x="168" y="0"/>
                  </a:lnTo>
                  <a:lnTo>
                    <a:pt x="164" y="2"/>
                  </a:lnTo>
                  <a:lnTo>
                    <a:pt x="158" y="8"/>
                  </a:lnTo>
                  <a:lnTo>
                    <a:pt x="156" y="14"/>
                  </a:lnTo>
                  <a:lnTo>
                    <a:pt x="154" y="24"/>
                  </a:lnTo>
                  <a:lnTo>
                    <a:pt x="154" y="24"/>
                  </a:lnTo>
                  <a:lnTo>
                    <a:pt x="158" y="36"/>
                  </a:lnTo>
                  <a:lnTo>
                    <a:pt x="158" y="36"/>
                  </a:lnTo>
                  <a:lnTo>
                    <a:pt x="146" y="36"/>
                  </a:lnTo>
                  <a:lnTo>
                    <a:pt x="146" y="36"/>
                  </a:lnTo>
                  <a:lnTo>
                    <a:pt x="140" y="36"/>
                  </a:lnTo>
                  <a:lnTo>
                    <a:pt x="136" y="38"/>
                  </a:lnTo>
                  <a:lnTo>
                    <a:pt x="130" y="42"/>
                  </a:lnTo>
                  <a:lnTo>
                    <a:pt x="130" y="42"/>
                  </a:lnTo>
                  <a:lnTo>
                    <a:pt x="122" y="44"/>
                  </a:lnTo>
                  <a:lnTo>
                    <a:pt x="106" y="42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68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56" y="42"/>
                  </a:lnTo>
                  <a:lnTo>
                    <a:pt x="54" y="44"/>
                  </a:lnTo>
                  <a:lnTo>
                    <a:pt x="54" y="48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90" y="56"/>
                  </a:lnTo>
                  <a:lnTo>
                    <a:pt x="100" y="60"/>
                  </a:lnTo>
                  <a:lnTo>
                    <a:pt x="122" y="66"/>
                  </a:lnTo>
                  <a:lnTo>
                    <a:pt x="150" y="72"/>
                  </a:lnTo>
                  <a:lnTo>
                    <a:pt x="150" y="72"/>
                  </a:lnTo>
                  <a:lnTo>
                    <a:pt x="150" y="78"/>
                  </a:lnTo>
                  <a:lnTo>
                    <a:pt x="152" y="82"/>
                  </a:lnTo>
                  <a:lnTo>
                    <a:pt x="152" y="84"/>
                  </a:lnTo>
                  <a:lnTo>
                    <a:pt x="154" y="84"/>
                  </a:lnTo>
                  <a:lnTo>
                    <a:pt x="154" y="84"/>
                  </a:lnTo>
                  <a:lnTo>
                    <a:pt x="148" y="94"/>
                  </a:lnTo>
                  <a:lnTo>
                    <a:pt x="144" y="106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36" y="156"/>
                  </a:lnTo>
                  <a:lnTo>
                    <a:pt x="136" y="184"/>
                  </a:lnTo>
                  <a:lnTo>
                    <a:pt x="136" y="214"/>
                  </a:lnTo>
                  <a:lnTo>
                    <a:pt x="130" y="214"/>
                  </a:lnTo>
                  <a:lnTo>
                    <a:pt x="130" y="232"/>
                  </a:lnTo>
                  <a:lnTo>
                    <a:pt x="120" y="232"/>
                  </a:lnTo>
                  <a:lnTo>
                    <a:pt x="114" y="583"/>
                  </a:lnTo>
                  <a:lnTo>
                    <a:pt x="64" y="583"/>
                  </a:lnTo>
                  <a:lnTo>
                    <a:pt x="64" y="583"/>
                  </a:lnTo>
                  <a:lnTo>
                    <a:pt x="60" y="563"/>
                  </a:lnTo>
                  <a:lnTo>
                    <a:pt x="60" y="563"/>
                  </a:lnTo>
                  <a:lnTo>
                    <a:pt x="58" y="561"/>
                  </a:lnTo>
                  <a:lnTo>
                    <a:pt x="56" y="561"/>
                  </a:lnTo>
                  <a:lnTo>
                    <a:pt x="52" y="561"/>
                  </a:lnTo>
                  <a:lnTo>
                    <a:pt x="52" y="563"/>
                  </a:lnTo>
                  <a:lnTo>
                    <a:pt x="52" y="563"/>
                  </a:lnTo>
                  <a:lnTo>
                    <a:pt x="46" y="583"/>
                  </a:lnTo>
                  <a:lnTo>
                    <a:pt x="46" y="583"/>
                  </a:lnTo>
                  <a:lnTo>
                    <a:pt x="46" y="589"/>
                  </a:lnTo>
                  <a:lnTo>
                    <a:pt x="46" y="589"/>
                  </a:lnTo>
                  <a:lnTo>
                    <a:pt x="42" y="577"/>
                  </a:lnTo>
                  <a:lnTo>
                    <a:pt x="42" y="577"/>
                  </a:lnTo>
                  <a:lnTo>
                    <a:pt x="40" y="575"/>
                  </a:lnTo>
                  <a:lnTo>
                    <a:pt x="38" y="575"/>
                  </a:lnTo>
                  <a:lnTo>
                    <a:pt x="36" y="575"/>
                  </a:lnTo>
                  <a:lnTo>
                    <a:pt x="34" y="577"/>
                  </a:lnTo>
                  <a:lnTo>
                    <a:pt x="34" y="577"/>
                  </a:lnTo>
                  <a:lnTo>
                    <a:pt x="30" y="597"/>
                  </a:lnTo>
                  <a:lnTo>
                    <a:pt x="30" y="597"/>
                  </a:lnTo>
                  <a:lnTo>
                    <a:pt x="28" y="609"/>
                  </a:lnTo>
                  <a:lnTo>
                    <a:pt x="28" y="609"/>
                  </a:lnTo>
                  <a:lnTo>
                    <a:pt x="24" y="599"/>
                  </a:lnTo>
                  <a:lnTo>
                    <a:pt x="24" y="599"/>
                  </a:lnTo>
                  <a:lnTo>
                    <a:pt x="24" y="597"/>
                  </a:lnTo>
                  <a:lnTo>
                    <a:pt x="20" y="595"/>
                  </a:lnTo>
                  <a:lnTo>
                    <a:pt x="18" y="597"/>
                  </a:lnTo>
                  <a:lnTo>
                    <a:pt x="16" y="599"/>
                  </a:lnTo>
                  <a:lnTo>
                    <a:pt x="16" y="599"/>
                  </a:lnTo>
                  <a:lnTo>
                    <a:pt x="12" y="619"/>
                  </a:lnTo>
                  <a:lnTo>
                    <a:pt x="12" y="619"/>
                  </a:lnTo>
                  <a:lnTo>
                    <a:pt x="8" y="639"/>
                  </a:lnTo>
                  <a:lnTo>
                    <a:pt x="0" y="639"/>
                  </a:lnTo>
                  <a:lnTo>
                    <a:pt x="0" y="661"/>
                  </a:lnTo>
                  <a:lnTo>
                    <a:pt x="345" y="661"/>
                  </a:lnTo>
                  <a:lnTo>
                    <a:pt x="345" y="639"/>
                  </a:lnTo>
                  <a:lnTo>
                    <a:pt x="337" y="639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Freeform 191"/>
            <p:cNvSpPr>
              <a:spLocks/>
            </p:cNvSpPr>
            <p:nvPr/>
          </p:nvSpPr>
          <p:spPr bwMode="auto">
            <a:xfrm>
              <a:off x="5711348" y="6123644"/>
              <a:ext cx="1283569" cy="610127"/>
            </a:xfrm>
            <a:custGeom>
              <a:avLst/>
              <a:gdLst>
                <a:gd name="T0" fmla="*/ 42 w 892"/>
                <a:gd name="T1" fmla="*/ 424 h 424"/>
                <a:gd name="T2" fmla="*/ 40 w 892"/>
                <a:gd name="T3" fmla="*/ 424 h 424"/>
                <a:gd name="T4" fmla="*/ 6 w 892"/>
                <a:gd name="T5" fmla="*/ 400 h 424"/>
                <a:gd name="T6" fmla="*/ 2 w 892"/>
                <a:gd name="T7" fmla="*/ 394 h 424"/>
                <a:gd name="T8" fmla="*/ 0 w 892"/>
                <a:gd name="T9" fmla="*/ 386 h 424"/>
                <a:gd name="T10" fmla="*/ 2 w 892"/>
                <a:gd name="T11" fmla="*/ 382 h 424"/>
                <a:gd name="T12" fmla="*/ 8 w 892"/>
                <a:gd name="T13" fmla="*/ 376 h 424"/>
                <a:gd name="T14" fmla="*/ 14 w 892"/>
                <a:gd name="T15" fmla="*/ 376 h 424"/>
                <a:gd name="T16" fmla="*/ 86 w 892"/>
                <a:gd name="T17" fmla="*/ 360 h 424"/>
                <a:gd name="T18" fmla="*/ 110 w 892"/>
                <a:gd name="T19" fmla="*/ 356 h 424"/>
                <a:gd name="T20" fmla="*/ 136 w 892"/>
                <a:gd name="T21" fmla="*/ 350 h 424"/>
                <a:gd name="T22" fmla="*/ 182 w 892"/>
                <a:gd name="T23" fmla="*/ 334 h 424"/>
                <a:gd name="T24" fmla="*/ 242 w 892"/>
                <a:gd name="T25" fmla="*/ 304 h 424"/>
                <a:gd name="T26" fmla="*/ 310 w 892"/>
                <a:gd name="T27" fmla="*/ 254 h 424"/>
                <a:gd name="T28" fmla="*/ 364 w 892"/>
                <a:gd name="T29" fmla="*/ 198 h 424"/>
                <a:gd name="T30" fmla="*/ 404 w 892"/>
                <a:gd name="T31" fmla="*/ 142 h 424"/>
                <a:gd name="T32" fmla="*/ 432 w 892"/>
                <a:gd name="T33" fmla="*/ 94 h 424"/>
                <a:gd name="T34" fmla="*/ 454 w 892"/>
                <a:gd name="T35" fmla="*/ 40 h 424"/>
                <a:gd name="T36" fmla="*/ 458 w 892"/>
                <a:gd name="T37" fmla="*/ 28 h 424"/>
                <a:gd name="T38" fmla="*/ 462 w 892"/>
                <a:gd name="T39" fmla="*/ 26 h 424"/>
                <a:gd name="T40" fmla="*/ 476 w 892"/>
                <a:gd name="T41" fmla="*/ 22 h 424"/>
                <a:gd name="T42" fmla="*/ 506 w 892"/>
                <a:gd name="T43" fmla="*/ 10 h 424"/>
                <a:gd name="T44" fmla="*/ 522 w 892"/>
                <a:gd name="T45" fmla="*/ 0 h 424"/>
                <a:gd name="T46" fmla="*/ 522 w 892"/>
                <a:gd name="T47" fmla="*/ 0 h 424"/>
                <a:gd name="T48" fmla="*/ 530 w 892"/>
                <a:gd name="T49" fmla="*/ 2 h 424"/>
                <a:gd name="T50" fmla="*/ 532 w 892"/>
                <a:gd name="T51" fmla="*/ 6 h 424"/>
                <a:gd name="T52" fmla="*/ 532 w 892"/>
                <a:gd name="T53" fmla="*/ 10 h 424"/>
                <a:gd name="T54" fmla="*/ 432 w 892"/>
                <a:gd name="T55" fmla="*/ 198 h 424"/>
                <a:gd name="T56" fmla="*/ 396 w 892"/>
                <a:gd name="T57" fmla="*/ 282 h 424"/>
                <a:gd name="T58" fmla="*/ 366 w 892"/>
                <a:gd name="T59" fmla="*/ 362 h 424"/>
                <a:gd name="T60" fmla="*/ 888 w 892"/>
                <a:gd name="T61" fmla="*/ 392 h 424"/>
                <a:gd name="T62" fmla="*/ 892 w 892"/>
                <a:gd name="T63" fmla="*/ 396 h 424"/>
                <a:gd name="T64" fmla="*/ 892 w 892"/>
                <a:gd name="T65" fmla="*/ 420 h 424"/>
                <a:gd name="T66" fmla="*/ 888 w 892"/>
                <a:gd name="T67" fmla="*/ 424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2" h="424">
                  <a:moveTo>
                    <a:pt x="888" y="424"/>
                  </a:moveTo>
                  <a:lnTo>
                    <a:pt x="42" y="424"/>
                  </a:lnTo>
                  <a:lnTo>
                    <a:pt x="42" y="424"/>
                  </a:lnTo>
                  <a:lnTo>
                    <a:pt x="40" y="424"/>
                  </a:lnTo>
                  <a:lnTo>
                    <a:pt x="6" y="400"/>
                  </a:lnTo>
                  <a:lnTo>
                    <a:pt x="6" y="400"/>
                  </a:lnTo>
                  <a:lnTo>
                    <a:pt x="4" y="398"/>
                  </a:lnTo>
                  <a:lnTo>
                    <a:pt x="2" y="394"/>
                  </a:lnTo>
                  <a:lnTo>
                    <a:pt x="0" y="390"/>
                  </a:lnTo>
                  <a:lnTo>
                    <a:pt x="0" y="386"/>
                  </a:lnTo>
                  <a:lnTo>
                    <a:pt x="0" y="386"/>
                  </a:lnTo>
                  <a:lnTo>
                    <a:pt x="2" y="382"/>
                  </a:lnTo>
                  <a:lnTo>
                    <a:pt x="6" y="378"/>
                  </a:lnTo>
                  <a:lnTo>
                    <a:pt x="8" y="376"/>
                  </a:lnTo>
                  <a:lnTo>
                    <a:pt x="14" y="376"/>
                  </a:lnTo>
                  <a:lnTo>
                    <a:pt x="14" y="376"/>
                  </a:lnTo>
                  <a:lnTo>
                    <a:pt x="44" y="370"/>
                  </a:lnTo>
                  <a:lnTo>
                    <a:pt x="86" y="360"/>
                  </a:lnTo>
                  <a:lnTo>
                    <a:pt x="86" y="360"/>
                  </a:lnTo>
                  <a:lnTo>
                    <a:pt x="110" y="356"/>
                  </a:lnTo>
                  <a:lnTo>
                    <a:pt x="110" y="356"/>
                  </a:lnTo>
                  <a:lnTo>
                    <a:pt x="136" y="350"/>
                  </a:lnTo>
                  <a:lnTo>
                    <a:pt x="158" y="342"/>
                  </a:lnTo>
                  <a:lnTo>
                    <a:pt x="182" y="334"/>
                  </a:lnTo>
                  <a:lnTo>
                    <a:pt x="204" y="324"/>
                  </a:lnTo>
                  <a:lnTo>
                    <a:pt x="242" y="304"/>
                  </a:lnTo>
                  <a:lnTo>
                    <a:pt x="278" y="280"/>
                  </a:lnTo>
                  <a:lnTo>
                    <a:pt x="310" y="254"/>
                  </a:lnTo>
                  <a:lnTo>
                    <a:pt x="340" y="226"/>
                  </a:lnTo>
                  <a:lnTo>
                    <a:pt x="364" y="198"/>
                  </a:lnTo>
                  <a:lnTo>
                    <a:pt x="386" y="170"/>
                  </a:lnTo>
                  <a:lnTo>
                    <a:pt x="404" y="142"/>
                  </a:lnTo>
                  <a:lnTo>
                    <a:pt x="420" y="116"/>
                  </a:lnTo>
                  <a:lnTo>
                    <a:pt x="432" y="94"/>
                  </a:lnTo>
                  <a:lnTo>
                    <a:pt x="442" y="72"/>
                  </a:lnTo>
                  <a:lnTo>
                    <a:pt x="454" y="40"/>
                  </a:lnTo>
                  <a:lnTo>
                    <a:pt x="458" y="28"/>
                  </a:lnTo>
                  <a:lnTo>
                    <a:pt x="458" y="28"/>
                  </a:lnTo>
                  <a:lnTo>
                    <a:pt x="460" y="26"/>
                  </a:lnTo>
                  <a:lnTo>
                    <a:pt x="462" y="26"/>
                  </a:lnTo>
                  <a:lnTo>
                    <a:pt x="462" y="26"/>
                  </a:lnTo>
                  <a:lnTo>
                    <a:pt x="476" y="22"/>
                  </a:lnTo>
                  <a:lnTo>
                    <a:pt x="492" y="18"/>
                  </a:lnTo>
                  <a:lnTo>
                    <a:pt x="506" y="10"/>
                  </a:lnTo>
                  <a:lnTo>
                    <a:pt x="522" y="0"/>
                  </a:lnTo>
                  <a:lnTo>
                    <a:pt x="522" y="0"/>
                  </a:lnTo>
                  <a:lnTo>
                    <a:pt x="522" y="0"/>
                  </a:lnTo>
                  <a:lnTo>
                    <a:pt x="522" y="0"/>
                  </a:lnTo>
                  <a:lnTo>
                    <a:pt x="526" y="0"/>
                  </a:lnTo>
                  <a:lnTo>
                    <a:pt x="530" y="2"/>
                  </a:lnTo>
                  <a:lnTo>
                    <a:pt x="530" y="2"/>
                  </a:lnTo>
                  <a:lnTo>
                    <a:pt x="532" y="6"/>
                  </a:lnTo>
                  <a:lnTo>
                    <a:pt x="532" y="10"/>
                  </a:lnTo>
                  <a:lnTo>
                    <a:pt x="532" y="10"/>
                  </a:lnTo>
                  <a:lnTo>
                    <a:pt x="478" y="108"/>
                  </a:lnTo>
                  <a:lnTo>
                    <a:pt x="432" y="198"/>
                  </a:lnTo>
                  <a:lnTo>
                    <a:pt x="414" y="240"/>
                  </a:lnTo>
                  <a:lnTo>
                    <a:pt x="396" y="282"/>
                  </a:lnTo>
                  <a:lnTo>
                    <a:pt x="380" y="322"/>
                  </a:lnTo>
                  <a:lnTo>
                    <a:pt x="366" y="362"/>
                  </a:lnTo>
                  <a:lnTo>
                    <a:pt x="888" y="392"/>
                  </a:lnTo>
                  <a:lnTo>
                    <a:pt x="888" y="392"/>
                  </a:lnTo>
                  <a:lnTo>
                    <a:pt x="890" y="392"/>
                  </a:lnTo>
                  <a:lnTo>
                    <a:pt x="892" y="396"/>
                  </a:lnTo>
                  <a:lnTo>
                    <a:pt x="892" y="420"/>
                  </a:lnTo>
                  <a:lnTo>
                    <a:pt x="892" y="420"/>
                  </a:lnTo>
                  <a:lnTo>
                    <a:pt x="890" y="424"/>
                  </a:lnTo>
                  <a:lnTo>
                    <a:pt x="888" y="424"/>
                  </a:lnTo>
                  <a:lnTo>
                    <a:pt x="888" y="424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Freeform 195"/>
            <p:cNvSpPr>
              <a:spLocks/>
            </p:cNvSpPr>
            <p:nvPr/>
          </p:nvSpPr>
          <p:spPr bwMode="auto">
            <a:xfrm>
              <a:off x="2520797" y="6349061"/>
              <a:ext cx="2101850" cy="528637"/>
            </a:xfrm>
            <a:custGeom>
              <a:avLst/>
              <a:gdLst>
                <a:gd name="T0" fmla="*/ 1324 w 1324"/>
                <a:gd name="T1" fmla="*/ 195 h 333"/>
                <a:gd name="T2" fmla="*/ 1016 w 1324"/>
                <a:gd name="T3" fmla="*/ 195 h 333"/>
                <a:gd name="T4" fmla="*/ 1016 w 1324"/>
                <a:gd name="T5" fmla="*/ 0 h 333"/>
                <a:gd name="T6" fmla="*/ 980 w 1324"/>
                <a:gd name="T7" fmla="*/ 0 h 333"/>
                <a:gd name="T8" fmla="*/ 980 w 1324"/>
                <a:gd name="T9" fmla="*/ 195 h 333"/>
                <a:gd name="T10" fmla="*/ 362 w 1324"/>
                <a:gd name="T11" fmla="*/ 195 h 333"/>
                <a:gd name="T12" fmla="*/ 362 w 1324"/>
                <a:gd name="T13" fmla="*/ 0 h 333"/>
                <a:gd name="T14" fmla="*/ 328 w 1324"/>
                <a:gd name="T15" fmla="*/ 0 h 333"/>
                <a:gd name="T16" fmla="*/ 328 w 1324"/>
                <a:gd name="T17" fmla="*/ 195 h 333"/>
                <a:gd name="T18" fmla="*/ 0 w 1324"/>
                <a:gd name="T19" fmla="*/ 195 h 333"/>
                <a:gd name="T20" fmla="*/ 0 w 1324"/>
                <a:gd name="T21" fmla="*/ 219 h 333"/>
                <a:gd name="T22" fmla="*/ 328 w 1324"/>
                <a:gd name="T23" fmla="*/ 219 h 333"/>
                <a:gd name="T24" fmla="*/ 328 w 1324"/>
                <a:gd name="T25" fmla="*/ 333 h 333"/>
                <a:gd name="T26" fmla="*/ 362 w 1324"/>
                <a:gd name="T27" fmla="*/ 333 h 333"/>
                <a:gd name="T28" fmla="*/ 362 w 1324"/>
                <a:gd name="T29" fmla="*/ 219 h 333"/>
                <a:gd name="T30" fmla="*/ 980 w 1324"/>
                <a:gd name="T31" fmla="*/ 219 h 333"/>
                <a:gd name="T32" fmla="*/ 980 w 1324"/>
                <a:gd name="T33" fmla="*/ 333 h 333"/>
                <a:gd name="T34" fmla="*/ 1016 w 1324"/>
                <a:gd name="T35" fmla="*/ 333 h 333"/>
                <a:gd name="T36" fmla="*/ 1016 w 1324"/>
                <a:gd name="T37" fmla="*/ 219 h 333"/>
                <a:gd name="T38" fmla="*/ 1324 w 1324"/>
                <a:gd name="T39" fmla="*/ 219 h 333"/>
                <a:gd name="T40" fmla="*/ 1324 w 1324"/>
                <a:gd name="T41" fmla="*/ 195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24" h="333">
                  <a:moveTo>
                    <a:pt x="1324" y="195"/>
                  </a:moveTo>
                  <a:lnTo>
                    <a:pt x="1016" y="195"/>
                  </a:lnTo>
                  <a:lnTo>
                    <a:pt x="1016" y="0"/>
                  </a:lnTo>
                  <a:lnTo>
                    <a:pt x="980" y="0"/>
                  </a:lnTo>
                  <a:lnTo>
                    <a:pt x="980" y="195"/>
                  </a:lnTo>
                  <a:lnTo>
                    <a:pt x="362" y="195"/>
                  </a:lnTo>
                  <a:lnTo>
                    <a:pt x="362" y="0"/>
                  </a:lnTo>
                  <a:lnTo>
                    <a:pt x="328" y="0"/>
                  </a:lnTo>
                  <a:lnTo>
                    <a:pt x="328" y="195"/>
                  </a:lnTo>
                  <a:lnTo>
                    <a:pt x="0" y="195"/>
                  </a:lnTo>
                  <a:lnTo>
                    <a:pt x="0" y="219"/>
                  </a:lnTo>
                  <a:lnTo>
                    <a:pt x="328" y="219"/>
                  </a:lnTo>
                  <a:lnTo>
                    <a:pt x="328" y="333"/>
                  </a:lnTo>
                  <a:lnTo>
                    <a:pt x="362" y="333"/>
                  </a:lnTo>
                  <a:lnTo>
                    <a:pt x="362" y="219"/>
                  </a:lnTo>
                  <a:lnTo>
                    <a:pt x="980" y="219"/>
                  </a:lnTo>
                  <a:lnTo>
                    <a:pt x="980" y="333"/>
                  </a:lnTo>
                  <a:lnTo>
                    <a:pt x="1016" y="333"/>
                  </a:lnTo>
                  <a:lnTo>
                    <a:pt x="1016" y="219"/>
                  </a:lnTo>
                  <a:lnTo>
                    <a:pt x="1324" y="219"/>
                  </a:lnTo>
                  <a:lnTo>
                    <a:pt x="1324" y="19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Freeform 196"/>
            <p:cNvSpPr>
              <a:spLocks/>
            </p:cNvSpPr>
            <p:nvPr/>
          </p:nvSpPr>
          <p:spPr bwMode="auto">
            <a:xfrm>
              <a:off x="2616047" y="6383986"/>
              <a:ext cx="450850" cy="274637"/>
            </a:xfrm>
            <a:custGeom>
              <a:avLst/>
              <a:gdLst>
                <a:gd name="T0" fmla="*/ 0 w 284"/>
                <a:gd name="T1" fmla="*/ 173 h 173"/>
                <a:gd name="T2" fmla="*/ 284 w 284"/>
                <a:gd name="T3" fmla="*/ 0 h 173"/>
                <a:gd name="T4" fmla="*/ 58 w 284"/>
                <a:gd name="T5" fmla="*/ 173 h 173"/>
                <a:gd name="T6" fmla="*/ 108 w 284"/>
                <a:gd name="T7" fmla="*/ 173 h 173"/>
                <a:gd name="T8" fmla="*/ 284 w 284"/>
                <a:gd name="T9" fmla="*/ 0 h 173"/>
                <a:gd name="T10" fmla="*/ 284 w 284"/>
                <a:gd name="T11" fmla="*/ 0 h 173"/>
                <a:gd name="T12" fmla="*/ 158 w 284"/>
                <a:gd name="T13" fmla="*/ 173 h 173"/>
                <a:gd name="T14" fmla="*/ 202 w 284"/>
                <a:gd name="T15" fmla="*/ 173 h 173"/>
                <a:gd name="T16" fmla="*/ 284 w 284"/>
                <a:gd name="T1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4" h="173">
                  <a:moveTo>
                    <a:pt x="0" y="173"/>
                  </a:moveTo>
                  <a:lnTo>
                    <a:pt x="284" y="0"/>
                  </a:lnTo>
                  <a:lnTo>
                    <a:pt x="58" y="173"/>
                  </a:lnTo>
                  <a:lnTo>
                    <a:pt x="108" y="173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158" y="173"/>
                  </a:lnTo>
                  <a:lnTo>
                    <a:pt x="202" y="173"/>
                  </a:lnTo>
                  <a:lnTo>
                    <a:pt x="284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" name="Freeform 197"/>
            <p:cNvSpPr>
              <a:spLocks/>
            </p:cNvSpPr>
            <p:nvPr/>
          </p:nvSpPr>
          <p:spPr bwMode="auto">
            <a:xfrm>
              <a:off x="3066897" y="6383986"/>
              <a:ext cx="450850" cy="274637"/>
            </a:xfrm>
            <a:custGeom>
              <a:avLst/>
              <a:gdLst>
                <a:gd name="T0" fmla="*/ 284 w 284"/>
                <a:gd name="T1" fmla="*/ 173 h 173"/>
                <a:gd name="T2" fmla="*/ 0 w 284"/>
                <a:gd name="T3" fmla="*/ 0 h 173"/>
                <a:gd name="T4" fmla="*/ 226 w 284"/>
                <a:gd name="T5" fmla="*/ 173 h 173"/>
                <a:gd name="T6" fmla="*/ 178 w 284"/>
                <a:gd name="T7" fmla="*/ 173 h 173"/>
                <a:gd name="T8" fmla="*/ 0 w 284"/>
                <a:gd name="T9" fmla="*/ 0 h 173"/>
                <a:gd name="T10" fmla="*/ 0 w 284"/>
                <a:gd name="T11" fmla="*/ 0 h 173"/>
                <a:gd name="T12" fmla="*/ 126 w 284"/>
                <a:gd name="T13" fmla="*/ 173 h 173"/>
                <a:gd name="T14" fmla="*/ 82 w 284"/>
                <a:gd name="T15" fmla="*/ 173 h 173"/>
                <a:gd name="T16" fmla="*/ 0 w 284"/>
                <a:gd name="T1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4" h="173">
                  <a:moveTo>
                    <a:pt x="284" y="173"/>
                  </a:moveTo>
                  <a:lnTo>
                    <a:pt x="0" y="0"/>
                  </a:lnTo>
                  <a:lnTo>
                    <a:pt x="226" y="173"/>
                  </a:lnTo>
                  <a:lnTo>
                    <a:pt x="178" y="173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6" y="173"/>
                  </a:lnTo>
                  <a:lnTo>
                    <a:pt x="82" y="173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" name="Freeform 198"/>
            <p:cNvSpPr>
              <a:spLocks/>
            </p:cNvSpPr>
            <p:nvPr/>
          </p:nvSpPr>
          <p:spPr bwMode="auto">
            <a:xfrm>
              <a:off x="3654272" y="6383986"/>
              <a:ext cx="450850" cy="274637"/>
            </a:xfrm>
            <a:custGeom>
              <a:avLst/>
              <a:gdLst>
                <a:gd name="T0" fmla="*/ 0 w 284"/>
                <a:gd name="T1" fmla="*/ 173 h 173"/>
                <a:gd name="T2" fmla="*/ 284 w 284"/>
                <a:gd name="T3" fmla="*/ 0 h 173"/>
                <a:gd name="T4" fmla="*/ 58 w 284"/>
                <a:gd name="T5" fmla="*/ 173 h 173"/>
                <a:gd name="T6" fmla="*/ 106 w 284"/>
                <a:gd name="T7" fmla="*/ 173 h 173"/>
                <a:gd name="T8" fmla="*/ 284 w 284"/>
                <a:gd name="T9" fmla="*/ 0 h 173"/>
                <a:gd name="T10" fmla="*/ 284 w 284"/>
                <a:gd name="T11" fmla="*/ 0 h 173"/>
                <a:gd name="T12" fmla="*/ 158 w 284"/>
                <a:gd name="T13" fmla="*/ 173 h 173"/>
                <a:gd name="T14" fmla="*/ 202 w 284"/>
                <a:gd name="T15" fmla="*/ 173 h 173"/>
                <a:gd name="T16" fmla="*/ 284 w 284"/>
                <a:gd name="T1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4" h="173">
                  <a:moveTo>
                    <a:pt x="0" y="173"/>
                  </a:moveTo>
                  <a:lnTo>
                    <a:pt x="284" y="0"/>
                  </a:lnTo>
                  <a:lnTo>
                    <a:pt x="58" y="173"/>
                  </a:lnTo>
                  <a:lnTo>
                    <a:pt x="106" y="173"/>
                  </a:lnTo>
                  <a:lnTo>
                    <a:pt x="284" y="0"/>
                  </a:lnTo>
                  <a:lnTo>
                    <a:pt x="284" y="0"/>
                  </a:lnTo>
                  <a:lnTo>
                    <a:pt x="158" y="173"/>
                  </a:lnTo>
                  <a:lnTo>
                    <a:pt x="202" y="173"/>
                  </a:lnTo>
                  <a:lnTo>
                    <a:pt x="284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" name="Freeform 199"/>
            <p:cNvSpPr>
              <a:spLocks/>
            </p:cNvSpPr>
            <p:nvPr/>
          </p:nvSpPr>
          <p:spPr bwMode="auto">
            <a:xfrm>
              <a:off x="4105122" y="6383986"/>
              <a:ext cx="450850" cy="274637"/>
            </a:xfrm>
            <a:custGeom>
              <a:avLst/>
              <a:gdLst>
                <a:gd name="T0" fmla="*/ 284 w 284"/>
                <a:gd name="T1" fmla="*/ 173 h 173"/>
                <a:gd name="T2" fmla="*/ 0 w 284"/>
                <a:gd name="T3" fmla="*/ 0 h 173"/>
                <a:gd name="T4" fmla="*/ 226 w 284"/>
                <a:gd name="T5" fmla="*/ 173 h 173"/>
                <a:gd name="T6" fmla="*/ 176 w 284"/>
                <a:gd name="T7" fmla="*/ 173 h 173"/>
                <a:gd name="T8" fmla="*/ 0 w 284"/>
                <a:gd name="T9" fmla="*/ 0 h 173"/>
                <a:gd name="T10" fmla="*/ 0 w 284"/>
                <a:gd name="T11" fmla="*/ 0 h 173"/>
                <a:gd name="T12" fmla="*/ 124 w 284"/>
                <a:gd name="T13" fmla="*/ 173 h 173"/>
                <a:gd name="T14" fmla="*/ 82 w 284"/>
                <a:gd name="T15" fmla="*/ 173 h 173"/>
                <a:gd name="T16" fmla="*/ 0 w 284"/>
                <a:gd name="T17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4" h="173">
                  <a:moveTo>
                    <a:pt x="284" y="173"/>
                  </a:moveTo>
                  <a:lnTo>
                    <a:pt x="0" y="0"/>
                  </a:lnTo>
                  <a:lnTo>
                    <a:pt x="226" y="173"/>
                  </a:lnTo>
                  <a:lnTo>
                    <a:pt x="176" y="173"/>
                  </a:lnTo>
                  <a:lnTo>
                    <a:pt x="0" y="0"/>
                  </a:lnTo>
                  <a:lnTo>
                    <a:pt x="0" y="0"/>
                  </a:lnTo>
                  <a:lnTo>
                    <a:pt x="124" y="173"/>
                  </a:lnTo>
                  <a:lnTo>
                    <a:pt x="82" y="173"/>
                  </a:lnTo>
                  <a:lnTo>
                    <a:pt x="0" y="0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" name="Freeform 203"/>
            <p:cNvSpPr>
              <a:spLocks/>
            </p:cNvSpPr>
            <p:nvPr/>
          </p:nvSpPr>
          <p:spPr bwMode="auto">
            <a:xfrm>
              <a:off x="7421035" y="6154433"/>
              <a:ext cx="1268412" cy="639763"/>
            </a:xfrm>
            <a:custGeom>
              <a:avLst/>
              <a:gdLst>
                <a:gd name="T0" fmla="*/ 769 w 799"/>
                <a:gd name="T1" fmla="*/ 182 h 403"/>
                <a:gd name="T2" fmla="*/ 737 w 799"/>
                <a:gd name="T3" fmla="*/ 182 h 403"/>
                <a:gd name="T4" fmla="*/ 696 w 799"/>
                <a:gd name="T5" fmla="*/ 243 h 403"/>
                <a:gd name="T6" fmla="*/ 719 w 799"/>
                <a:gd name="T7" fmla="*/ 250 h 403"/>
                <a:gd name="T8" fmla="*/ 681 w 799"/>
                <a:gd name="T9" fmla="*/ 261 h 403"/>
                <a:gd name="T10" fmla="*/ 639 w 799"/>
                <a:gd name="T11" fmla="*/ 240 h 403"/>
                <a:gd name="T12" fmla="*/ 606 w 799"/>
                <a:gd name="T13" fmla="*/ 213 h 403"/>
                <a:gd name="T14" fmla="*/ 577 w 799"/>
                <a:gd name="T15" fmla="*/ 185 h 403"/>
                <a:gd name="T16" fmla="*/ 517 w 799"/>
                <a:gd name="T17" fmla="*/ 149 h 403"/>
                <a:gd name="T18" fmla="*/ 437 w 799"/>
                <a:gd name="T19" fmla="*/ 129 h 403"/>
                <a:gd name="T20" fmla="*/ 452 w 799"/>
                <a:gd name="T21" fmla="*/ 99 h 403"/>
                <a:gd name="T22" fmla="*/ 456 w 799"/>
                <a:gd name="T23" fmla="*/ 91 h 403"/>
                <a:gd name="T24" fmla="*/ 460 w 799"/>
                <a:gd name="T25" fmla="*/ 88 h 403"/>
                <a:gd name="T26" fmla="*/ 459 w 799"/>
                <a:gd name="T27" fmla="*/ 79 h 403"/>
                <a:gd name="T28" fmla="*/ 444 w 799"/>
                <a:gd name="T29" fmla="*/ 79 h 403"/>
                <a:gd name="T30" fmla="*/ 422 w 799"/>
                <a:gd name="T31" fmla="*/ 71 h 403"/>
                <a:gd name="T32" fmla="*/ 411 w 799"/>
                <a:gd name="T33" fmla="*/ 53 h 403"/>
                <a:gd name="T34" fmla="*/ 410 w 799"/>
                <a:gd name="T35" fmla="*/ 47 h 403"/>
                <a:gd name="T36" fmla="*/ 404 w 799"/>
                <a:gd name="T37" fmla="*/ 43 h 403"/>
                <a:gd name="T38" fmla="*/ 403 w 799"/>
                <a:gd name="T39" fmla="*/ 12 h 403"/>
                <a:gd name="T40" fmla="*/ 406 w 799"/>
                <a:gd name="T41" fmla="*/ 9 h 403"/>
                <a:gd name="T42" fmla="*/ 407 w 799"/>
                <a:gd name="T43" fmla="*/ 3 h 403"/>
                <a:gd name="T44" fmla="*/ 403 w 799"/>
                <a:gd name="T45" fmla="*/ 0 h 403"/>
                <a:gd name="T46" fmla="*/ 399 w 799"/>
                <a:gd name="T47" fmla="*/ 0 h 403"/>
                <a:gd name="T48" fmla="*/ 395 w 799"/>
                <a:gd name="T49" fmla="*/ 7 h 403"/>
                <a:gd name="T50" fmla="*/ 397 w 799"/>
                <a:gd name="T51" fmla="*/ 11 h 403"/>
                <a:gd name="T52" fmla="*/ 400 w 799"/>
                <a:gd name="T53" fmla="*/ 43 h 403"/>
                <a:gd name="T54" fmla="*/ 393 w 799"/>
                <a:gd name="T55" fmla="*/ 49 h 403"/>
                <a:gd name="T56" fmla="*/ 392 w 799"/>
                <a:gd name="T57" fmla="*/ 71 h 403"/>
                <a:gd name="T58" fmla="*/ 377 w 799"/>
                <a:gd name="T59" fmla="*/ 71 h 403"/>
                <a:gd name="T60" fmla="*/ 351 w 799"/>
                <a:gd name="T61" fmla="*/ 79 h 403"/>
                <a:gd name="T62" fmla="*/ 340 w 799"/>
                <a:gd name="T63" fmla="*/ 79 h 403"/>
                <a:gd name="T64" fmla="*/ 339 w 799"/>
                <a:gd name="T65" fmla="*/ 88 h 403"/>
                <a:gd name="T66" fmla="*/ 343 w 799"/>
                <a:gd name="T67" fmla="*/ 91 h 403"/>
                <a:gd name="T68" fmla="*/ 351 w 799"/>
                <a:gd name="T69" fmla="*/ 110 h 403"/>
                <a:gd name="T70" fmla="*/ 365 w 799"/>
                <a:gd name="T71" fmla="*/ 129 h 403"/>
                <a:gd name="T72" fmla="*/ 308 w 799"/>
                <a:gd name="T73" fmla="*/ 140 h 403"/>
                <a:gd name="T74" fmla="*/ 240 w 799"/>
                <a:gd name="T75" fmla="*/ 172 h 403"/>
                <a:gd name="T76" fmla="*/ 191 w 799"/>
                <a:gd name="T77" fmla="*/ 213 h 403"/>
                <a:gd name="T78" fmla="*/ 170 w 799"/>
                <a:gd name="T79" fmla="*/ 232 h 403"/>
                <a:gd name="T80" fmla="*/ 121 w 799"/>
                <a:gd name="T81" fmla="*/ 261 h 403"/>
                <a:gd name="T82" fmla="*/ 92 w 799"/>
                <a:gd name="T83" fmla="*/ 250 h 403"/>
                <a:gd name="T84" fmla="*/ 103 w 799"/>
                <a:gd name="T85" fmla="*/ 231 h 403"/>
                <a:gd name="T86" fmla="*/ 73 w 799"/>
                <a:gd name="T87" fmla="*/ 182 h 403"/>
                <a:gd name="T88" fmla="*/ 41 w 799"/>
                <a:gd name="T89" fmla="*/ 182 h 403"/>
                <a:gd name="T90" fmla="*/ 0 w 799"/>
                <a:gd name="T91" fmla="*/ 243 h 403"/>
                <a:gd name="T92" fmla="*/ 19 w 799"/>
                <a:gd name="T93" fmla="*/ 250 h 403"/>
                <a:gd name="T94" fmla="*/ 784 w 799"/>
                <a:gd name="T95" fmla="*/ 250 h 403"/>
                <a:gd name="T96" fmla="*/ 799 w 799"/>
                <a:gd name="T97" fmla="*/ 243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99" h="403">
                  <a:moveTo>
                    <a:pt x="785" y="231"/>
                  </a:moveTo>
                  <a:lnTo>
                    <a:pt x="760" y="182"/>
                  </a:lnTo>
                  <a:lnTo>
                    <a:pt x="769" y="182"/>
                  </a:lnTo>
                  <a:lnTo>
                    <a:pt x="747" y="153"/>
                  </a:lnTo>
                  <a:lnTo>
                    <a:pt x="727" y="183"/>
                  </a:lnTo>
                  <a:lnTo>
                    <a:pt x="737" y="182"/>
                  </a:lnTo>
                  <a:lnTo>
                    <a:pt x="711" y="231"/>
                  </a:lnTo>
                  <a:lnTo>
                    <a:pt x="696" y="231"/>
                  </a:lnTo>
                  <a:lnTo>
                    <a:pt x="696" y="243"/>
                  </a:lnTo>
                  <a:lnTo>
                    <a:pt x="707" y="243"/>
                  </a:lnTo>
                  <a:lnTo>
                    <a:pt x="707" y="250"/>
                  </a:lnTo>
                  <a:lnTo>
                    <a:pt x="719" y="250"/>
                  </a:lnTo>
                  <a:lnTo>
                    <a:pt x="719" y="261"/>
                  </a:lnTo>
                  <a:lnTo>
                    <a:pt x="681" y="261"/>
                  </a:lnTo>
                  <a:lnTo>
                    <a:pt x="681" y="261"/>
                  </a:lnTo>
                  <a:lnTo>
                    <a:pt x="666" y="255"/>
                  </a:lnTo>
                  <a:lnTo>
                    <a:pt x="650" y="246"/>
                  </a:lnTo>
                  <a:lnTo>
                    <a:pt x="639" y="240"/>
                  </a:lnTo>
                  <a:lnTo>
                    <a:pt x="629" y="232"/>
                  </a:lnTo>
                  <a:lnTo>
                    <a:pt x="619" y="223"/>
                  </a:lnTo>
                  <a:lnTo>
                    <a:pt x="606" y="213"/>
                  </a:lnTo>
                  <a:lnTo>
                    <a:pt x="606" y="213"/>
                  </a:lnTo>
                  <a:lnTo>
                    <a:pt x="591" y="198"/>
                  </a:lnTo>
                  <a:lnTo>
                    <a:pt x="577" y="185"/>
                  </a:lnTo>
                  <a:lnTo>
                    <a:pt x="559" y="171"/>
                  </a:lnTo>
                  <a:lnTo>
                    <a:pt x="539" y="159"/>
                  </a:lnTo>
                  <a:lnTo>
                    <a:pt x="517" y="149"/>
                  </a:lnTo>
                  <a:lnTo>
                    <a:pt x="494" y="140"/>
                  </a:lnTo>
                  <a:lnTo>
                    <a:pt x="467" y="133"/>
                  </a:lnTo>
                  <a:lnTo>
                    <a:pt x="437" y="129"/>
                  </a:lnTo>
                  <a:lnTo>
                    <a:pt x="437" y="110"/>
                  </a:lnTo>
                  <a:lnTo>
                    <a:pt x="448" y="110"/>
                  </a:lnTo>
                  <a:lnTo>
                    <a:pt x="452" y="99"/>
                  </a:lnTo>
                  <a:lnTo>
                    <a:pt x="456" y="99"/>
                  </a:lnTo>
                  <a:lnTo>
                    <a:pt x="456" y="91"/>
                  </a:lnTo>
                  <a:lnTo>
                    <a:pt x="456" y="91"/>
                  </a:lnTo>
                  <a:lnTo>
                    <a:pt x="456" y="91"/>
                  </a:lnTo>
                  <a:lnTo>
                    <a:pt x="459" y="90"/>
                  </a:lnTo>
                  <a:lnTo>
                    <a:pt x="460" y="88"/>
                  </a:lnTo>
                  <a:lnTo>
                    <a:pt x="460" y="81"/>
                  </a:lnTo>
                  <a:lnTo>
                    <a:pt x="460" y="81"/>
                  </a:lnTo>
                  <a:lnTo>
                    <a:pt x="459" y="79"/>
                  </a:lnTo>
                  <a:lnTo>
                    <a:pt x="456" y="79"/>
                  </a:lnTo>
                  <a:lnTo>
                    <a:pt x="444" y="79"/>
                  </a:lnTo>
                  <a:lnTo>
                    <a:pt x="444" y="79"/>
                  </a:lnTo>
                  <a:lnTo>
                    <a:pt x="434" y="73"/>
                  </a:lnTo>
                  <a:lnTo>
                    <a:pt x="427" y="71"/>
                  </a:lnTo>
                  <a:lnTo>
                    <a:pt x="422" y="71"/>
                  </a:lnTo>
                  <a:lnTo>
                    <a:pt x="422" y="71"/>
                  </a:lnTo>
                  <a:lnTo>
                    <a:pt x="411" y="71"/>
                  </a:lnTo>
                  <a:lnTo>
                    <a:pt x="411" y="53"/>
                  </a:lnTo>
                  <a:lnTo>
                    <a:pt x="411" y="53"/>
                  </a:lnTo>
                  <a:lnTo>
                    <a:pt x="411" y="50"/>
                  </a:lnTo>
                  <a:lnTo>
                    <a:pt x="410" y="47"/>
                  </a:lnTo>
                  <a:lnTo>
                    <a:pt x="407" y="45"/>
                  </a:lnTo>
                  <a:lnTo>
                    <a:pt x="404" y="43"/>
                  </a:lnTo>
                  <a:lnTo>
                    <a:pt x="404" y="43"/>
                  </a:lnTo>
                  <a:lnTo>
                    <a:pt x="403" y="43"/>
                  </a:lnTo>
                  <a:lnTo>
                    <a:pt x="403" y="12"/>
                  </a:lnTo>
                  <a:lnTo>
                    <a:pt x="403" y="12"/>
                  </a:lnTo>
                  <a:lnTo>
                    <a:pt x="404" y="11"/>
                  </a:lnTo>
                  <a:lnTo>
                    <a:pt x="404" y="11"/>
                  </a:lnTo>
                  <a:lnTo>
                    <a:pt x="406" y="9"/>
                  </a:lnTo>
                  <a:lnTo>
                    <a:pt x="407" y="8"/>
                  </a:lnTo>
                  <a:lnTo>
                    <a:pt x="407" y="5"/>
                  </a:lnTo>
                  <a:lnTo>
                    <a:pt x="407" y="3"/>
                  </a:lnTo>
                  <a:lnTo>
                    <a:pt x="407" y="3"/>
                  </a:lnTo>
                  <a:lnTo>
                    <a:pt x="406" y="1"/>
                  </a:lnTo>
                  <a:lnTo>
                    <a:pt x="403" y="0"/>
                  </a:lnTo>
                  <a:lnTo>
                    <a:pt x="400" y="0"/>
                  </a:lnTo>
                  <a:lnTo>
                    <a:pt x="399" y="0"/>
                  </a:lnTo>
                  <a:lnTo>
                    <a:pt x="399" y="0"/>
                  </a:lnTo>
                  <a:lnTo>
                    <a:pt x="396" y="3"/>
                  </a:lnTo>
                  <a:lnTo>
                    <a:pt x="395" y="4"/>
                  </a:lnTo>
                  <a:lnTo>
                    <a:pt x="395" y="7"/>
                  </a:lnTo>
                  <a:lnTo>
                    <a:pt x="396" y="9"/>
                  </a:lnTo>
                  <a:lnTo>
                    <a:pt x="396" y="9"/>
                  </a:lnTo>
                  <a:lnTo>
                    <a:pt x="397" y="11"/>
                  </a:lnTo>
                  <a:lnTo>
                    <a:pt x="400" y="12"/>
                  </a:lnTo>
                  <a:lnTo>
                    <a:pt x="400" y="43"/>
                  </a:lnTo>
                  <a:lnTo>
                    <a:pt x="400" y="43"/>
                  </a:lnTo>
                  <a:lnTo>
                    <a:pt x="396" y="45"/>
                  </a:lnTo>
                  <a:lnTo>
                    <a:pt x="393" y="49"/>
                  </a:lnTo>
                  <a:lnTo>
                    <a:pt x="393" y="49"/>
                  </a:lnTo>
                  <a:lnTo>
                    <a:pt x="392" y="52"/>
                  </a:lnTo>
                  <a:lnTo>
                    <a:pt x="392" y="52"/>
                  </a:lnTo>
                  <a:lnTo>
                    <a:pt x="392" y="71"/>
                  </a:lnTo>
                  <a:lnTo>
                    <a:pt x="392" y="71"/>
                  </a:lnTo>
                  <a:lnTo>
                    <a:pt x="377" y="71"/>
                  </a:lnTo>
                  <a:lnTo>
                    <a:pt x="377" y="71"/>
                  </a:lnTo>
                  <a:lnTo>
                    <a:pt x="368" y="71"/>
                  </a:lnTo>
                  <a:lnTo>
                    <a:pt x="361" y="73"/>
                  </a:lnTo>
                  <a:lnTo>
                    <a:pt x="351" y="79"/>
                  </a:lnTo>
                  <a:lnTo>
                    <a:pt x="343" y="79"/>
                  </a:lnTo>
                  <a:lnTo>
                    <a:pt x="343" y="79"/>
                  </a:lnTo>
                  <a:lnTo>
                    <a:pt x="340" y="79"/>
                  </a:lnTo>
                  <a:lnTo>
                    <a:pt x="339" y="81"/>
                  </a:lnTo>
                  <a:lnTo>
                    <a:pt x="339" y="88"/>
                  </a:lnTo>
                  <a:lnTo>
                    <a:pt x="339" y="88"/>
                  </a:lnTo>
                  <a:lnTo>
                    <a:pt x="340" y="90"/>
                  </a:lnTo>
                  <a:lnTo>
                    <a:pt x="343" y="91"/>
                  </a:lnTo>
                  <a:lnTo>
                    <a:pt x="343" y="91"/>
                  </a:lnTo>
                  <a:lnTo>
                    <a:pt x="343" y="99"/>
                  </a:lnTo>
                  <a:lnTo>
                    <a:pt x="347" y="99"/>
                  </a:lnTo>
                  <a:lnTo>
                    <a:pt x="351" y="110"/>
                  </a:lnTo>
                  <a:lnTo>
                    <a:pt x="364" y="110"/>
                  </a:lnTo>
                  <a:lnTo>
                    <a:pt x="364" y="129"/>
                  </a:lnTo>
                  <a:lnTo>
                    <a:pt x="365" y="129"/>
                  </a:lnTo>
                  <a:lnTo>
                    <a:pt x="365" y="129"/>
                  </a:lnTo>
                  <a:lnTo>
                    <a:pt x="335" y="133"/>
                  </a:lnTo>
                  <a:lnTo>
                    <a:pt x="308" y="140"/>
                  </a:lnTo>
                  <a:lnTo>
                    <a:pt x="284" y="149"/>
                  </a:lnTo>
                  <a:lnTo>
                    <a:pt x="260" y="160"/>
                  </a:lnTo>
                  <a:lnTo>
                    <a:pt x="240" y="172"/>
                  </a:lnTo>
                  <a:lnTo>
                    <a:pt x="222" y="185"/>
                  </a:lnTo>
                  <a:lnTo>
                    <a:pt x="206" y="198"/>
                  </a:lnTo>
                  <a:lnTo>
                    <a:pt x="191" y="213"/>
                  </a:lnTo>
                  <a:lnTo>
                    <a:pt x="191" y="213"/>
                  </a:lnTo>
                  <a:lnTo>
                    <a:pt x="180" y="224"/>
                  </a:lnTo>
                  <a:lnTo>
                    <a:pt x="170" y="232"/>
                  </a:lnTo>
                  <a:lnTo>
                    <a:pt x="151" y="247"/>
                  </a:lnTo>
                  <a:lnTo>
                    <a:pt x="134" y="255"/>
                  </a:lnTo>
                  <a:lnTo>
                    <a:pt x="121" y="261"/>
                  </a:lnTo>
                  <a:lnTo>
                    <a:pt x="85" y="261"/>
                  </a:lnTo>
                  <a:lnTo>
                    <a:pt x="85" y="250"/>
                  </a:lnTo>
                  <a:lnTo>
                    <a:pt x="92" y="250"/>
                  </a:lnTo>
                  <a:lnTo>
                    <a:pt x="92" y="243"/>
                  </a:lnTo>
                  <a:lnTo>
                    <a:pt x="103" y="243"/>
                  </a:lnTo>
                  <a:lnTo>
                    <a:pt x="103" y="231"/>
                  </a:lnTo>
                  <a:lnTo>
                    <a:pt x="88" y="231"/>
                  </a:lnTo>
                  <a:lnTo>
                    <a:pt x="62" y="182"/>
                  </a:lnTo>
                  <a:lnTo>
                    <a:pt x="73" y="182"/>
                  </a:lnTo>
                  <a:lnTo>
                    <a:pt x="52" y="153"/>
                  </a:lnTo>
                  <a:lnTo>
                    <a:pt x="31" y="183"/>
                  </a:lnTo>
                  <a:lnTo>
                    <a:pt x="41" y="182"/>
                  </a:lnTo>
                  <a:lnTo>
                    <a:pt x="14" y="231"/>
                  </a:lnTo>
                  <a:lnTo>
                    <a:pt x="0" y="231"/>
                  </a:lnTo>
                  <a:lnTo>
                    <a:pt x="0" y="243"/>
                  </a:lnTo>
                  <a:lnTo>
                    <a:pt x="11" y="243"/>
                  </a:lnTo>
                  <a:lnTo>
                    <a:pt x="11" y="250"/>
                  </a:lnTo>
                  <a:lnTo>
                    <a:pt x="19" y="250"/>
                  </a:lnTo>
                  <a:lnTo>
                    <a:pt x="19" y="403"/>
                  </a:lnTo>
                  <a:lnTo>
                    <a:pt x="784" y="403"/>
                  </a:lnTo>
                  <a:lnTo>
                    <a:pt x="784" y="250"/>
                  </a:lnTo>
                  <a:lnTo>
                    <a:pt x="788" y="250"/>
                  </a:lnTo>
                  <a:lnTo>
                    <a:pt x="788" y="243"/>
                  </a:lnTo>
                  <a:lnTo>
                    <a:pt x="799" y="243"/>
                  </a:lnTo>
                  <a:lnTo>
                    <a:pt x="799" y="231"/>
                  </a:lnTo>
                  <a:lnTo>
                    <a:pt x="785" y="231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" name="Freeform 208"/>
            <p:cNvSpPr>
              <a:spLocks/>
            </p:cNvSpPr>
            <p:nvPr/>
          </p:nvSpPr>
          <p:spPr bwMode="auto">
            <a:xfrm>
              <a:off x="4731578" y="6210655"/>
              <a:ext cx="605993" cy="559017"/>
            </a:xfrm>
            <a:custGeom>
              <a:avLst/>
              <a:gdLst>
                <a:gd name="T0" fmla="*/ 486 w 516"/>
                <a:gd name="T1" fmla="*/ 372 h 476"/>
                <a:gd name="T2" fmla="*/ 486 w 516"/>
                <a:gd name="T3" fmla="*/ 330 h 476"/>
                <a:gd name="T4" fmla="*/ 486 w 516"/>
                <a:gd name="T5" fmla="*/ 228 h 476"/>
                <a:gd name="T6" fmla="*/ 486 w 516"/>
                <a:gd name="T7" fmla="*/ 172 h 476"/>
                <a:gd name="T8" fmla="*/ 486 w 516"/>
                <a:gd name="T9" fmla="*/ 172 h 476"/>
                <a:gd name="T10" fmla="*/ 486 w 516"/>
                <a:gd name="T11" fmla="*/ 170 h 476"/>
                <a:gd name="T12" fmla="*/ 484 w 516"/>
                <a:gd name="T13" fmla="*/ 168 h 476"/>
                <a:gd name="T14" fmla="*/ 482 w 516"/>
                <a:gd name="T15" fmla="*/ 168 h 476"/>
                <a:gd name="T16" fmla="*/ 478 w 516"/>
                <a:gd name="T17" fmla="*/ 168 h 476"/>
                <a:gd name="T18" fmla="*/ 418 w 516"/>
                <a:gd name="T19" fmla="*/ 226 h 476"/>
                <a:gd name="T20" fmla="*/ 410 w 516"/>
                <a:gd name="T21" fmla="*/ 68 h 476"/>
                <a:gd name="T22" fmla="*/ 370 w 516"/>
                <a:gd name="T23" fmla="*/ 68 h 476"/>
                <a:gd name="T24" fmla="*/ 366 w 516"/>
                <a:gd name="T25" fmla="*/ 172 h 476"/>
                <a:gd name="T26" fmla="*/ 304 w 516"/>
                <a:gd name="T27" fmla="*/ 228 h 476"/>
                <a:gd name="T28" fmla="*/ 304 w 516"/>
                <a:gd name="T29" fmla="*/ 228 h 476"/>
                <a:gd name="T30" fmla="*/ 298 w 516"/>
                <a:gd name="T31" fmla="*/ 0 h 476"/>
                <a:gd name="T32" fmla="*/ 266 w 516"/>
                <a:gd name="T33" fmla="*/ 0 h 476"/>
                <a:gd name="T34" fmla="*/ 262 w 516"/>
                <a:gd name="T35" fmla="*/ 168 h 476"/>
                <a:gd name="T36" fmla="*/ 262 w 516"/>
                <a:gd name="T37" fmla="*/ 168 h 476"/>
                <a:gd name="T38" fmla="*/ 260 w 516"/>
                <a:gd name="T39" fmla="*/ 168 h 476"/>
                <a:gd name="T40" fmla="*/ 258 w 516"/>
                <a:gd name="T41" fmla="*/ 168 h 476"/>
                <a:gd name="T42" fmla="*/ 194 w 516"/>
                <a:gd name="T43" fmla="*/ 228 h 476"/>
                <a:gd name="T44" fmla="*/ 146 w 516"/>
                <a:gd name="T45" fmla="*/ 228 h 476"/>
                <a:gd name="T46" fmla="*/ 138 w 516"/>
                <a:gd name="T47" fmla="*/ 42 h 476"/>
                <a:gd name="T48" fmla="*/ 92 w 516"/>
                <a:gd name="T49" fmla="*/ 42 h 476"/>
                <a:gd name="T50" fmla="*/ 84 w 516"/>
                <a:gd name="T51" fmla="*/ 228 h 476"/>
                <a:gd name="T52" fmla="*/ 28 w 516"/>
                <a:gd name="T53" fmla="*/ 228 h 476"/>
                <a:gd name="T54" fmla="*/ 28 w 516"/>
                <a:gd name="T55" fmla="*/ 312 h 476"/>
                <a:gd name="T56" fmla="*/ 0 w 516"/>
                <a:gd name="T57" fmla="*/ 312 h 476"/>
                <a:gd name="T58" fmla="*/ 0 w 516"/>
                <a:gd name="T59" fmla="*/ 476 h 476"/>
                <a:gd name="T60" fmla="*/ 104 w 516"/>
                <a:gd name="T61" fmla="*/ 476 h 476"/>
                <a:gd name="T62" fmla="*/ 162 w 516"/>
                <a:gd name="T63" fmla="*/ 476 h 476"/>
                <a:gd name="T64" fmla="*/ 516 w 516"/>
                <a:gd name="T65" fmla="*/ 476 h 476"/>
                <a:gd name="T66" fmla="*/ 516 w 516"/>
                <a:gd name="T67" fmla="*/ 372 h 476"/>
                <a:gd name="T68" fmla="*/ 486 w 516"/>
                <a:gd name="T69" fmla="*/ 372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6" h="476">
                  <a:moveTo>
                    <a:pt x="486" y="372"/>
                  </a:moveTo>
                  <a:lnTo>
                    <a:pt x="486" y="330"/>
                  </a:lnTo>
                  <a:lnTo>
                    <a:pt x="486" y="228"/>
                  </a:lnTo>
                  <a:lnTo>
                    <a:pt x="486" y="172"/>
                  </a:lnTo>
                  <a:lnTo>
                    <a:pt x="486" y="172"/>
                  </a:lnTo>
                  <a:lnTo>
                    <a:pt x="486" y="170"/>
                  </a:lnTo>
                  <a:lnTo>
                    <a:pt x="484" y="168"/>
                  </a:lnTo>
                  <a:lnTo>
                    <a:pt x="482" y="168"/>
                  </a:lnTo>
                  <a:lnTo>
                    <a:pt x="478" y="168"/>
                  </a:lnTo>
                  <a:lnTo>
                    <a:pt x="418" y="226"/>
                  </a:lnTo>
                  <a:lnTo>
                    <a:pt x="410" y="68"/>
                  </a:lnTo>
                  <a:lnTo>
                    <a:pt x="370" y="68"/>
                  </a:lnTo>
                  <a:lnTo>
                    <a:pt x="366" y="172"/>
                  </a:lnTo>
                  <a:lnTo>
                    <a:pt x="304" y="228"/>
                  </a:lnTo>
                  <a:lnTo>
                    <a:pt x="304" y="228"/>
                  </a:lnTo>
                  <a:lnTo>
                    <a:pt x="298" y="0"/>
                  </a:lnTo>
                  <a:lnTo>
                    <a:pt x="266" y="0"/>
                  </a:lnTo>
                  <a:lnTo>
                    <a:pt x="262" y="168"/>
                  </a:lnTo>
                  <a:lnTo>
                    <a:pt x="262" y="168"/>
                  </a:lnTo>
                  <a:lnTo>
                    <a:pt x="260" y="168"/>
                  </a:lnTo>
                  <a:lnTo>
                    <a:pt x="258" y="168"/>
                  </a:lnTo>
                  <a:lnTo>
                    <a:pt x="194" y="228"/>
                  </a:lnTo>
                  <a:lnTo>
                    <a:pt x="146" y="228"/>
                  </a:lnTo>
                  <a:lnTo>
                    <a:pt x="138" y="42"/>
                  </a:lnTo>
                  <a:lnTo>
                    <a:pt x="92" y="42"/>
                  </a:lnTo>
                  <a:lnTo>
                    <a:pt x="84" y="228"/>
                  </a:lnTo>
                  <a:lnTo>
                    <a:pt x="28" y="228"/>
                  </a:lnTo>
                  <a:lnTo>
                    <a:pt x="28" y="312"/>
                  </a:lnTo>
                  <a:lnTo>
                    <a:pt x="0" y="312"/>
                  </a:lnTo>
                  <a:lnTo>
                    <a:pt x="0" y="476"/>
                  </a:lnTo>
                  <a:lnTo>
                    <a:pt x="104" y="476"/>
                  </a:lnTo>
                  <a:lnTo>
                    <a:pt x="162" y="476"/>
                  </a:lnTo>
                  <a:lnTo>
                    <a:pt x="516" y="476"/>
                  </a:lnTo>
                  <a:lnTo>
                    <a:pt x="516" y="372"/>
                  </a:lnTo>
                  <a:lnTo>
                    <a:pt x="486" y="37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" name="Freeform 212"/>
            <p:cNvSpPr>
              <a:spLocks/>
            </p:cNvSpPr>
            <p:nvPr/>
          </p:nvSpPr>
          <p:spPr bwMode="auto">
            <a:xfrm>
              <a:off x="328613" y="5910911"/>
              <a:ext cx="663400" cy="921481"/>
            </a:xfrm>
            <a:custGeom>
              <a:avLst/>
              <a:gdLst>
                <a:gd name="T0" fmla="*/ 391 w 401"/>
                <a:gd name="T1" fmla="*/ 201 h 557"/>
                <a:gd name="T2" fmla="*/ 397 w 401"/>
                <a:gd name="T3" fmla="*/ 150 h 557"/>
                <a:gd name="T4" fmla="*/ 365 w 401"/>
                <a:gd name="T5" fmla="*/ 140 h 557"/>
                <a:gd name="T6" fmla="*/ 350 w 401"/>
                <a:gd name="T7" fmla="*/ 118 h 557"/>
                <a:gd name="T8" fmla="*/ 334 w 401"/>
                <a:gd name="T9" fmla="*/ 118 h 557"/>
                <a:gd name="T10" fmla="*/ 332 w 401"/>
                <a:gd name="T11" fmla="*/ 101 h 557"/>
                <a:gd name="T12" fmla="*/ 319 w 401"/>
                <a:gd name="T13" fmla="*/ 34 h 557"/>
                <a:gd name="T14" fmla="*/ 328 w 401"/>
                <a:gd name="T15" fmla="*/ 17 h 557"/>
                <a:gd name="T16" fmla="*/ 324 w 401"/>
                <a:gd name="T17" fmla="*/ 6 h 557"/>
                <a:gd name="T18" fmla="*/ 318 w 401"/>
                <a:gd name="T19" fmla="*/ 0 h 557"/>
                <a:gd name="T20" fmla="*/ 314 w 401"/>
                <a:gd name="T21" fmla="*/ 12 h 557"/>
                <a:gd name="T22" fmla="*/ 311 w 401"/>
                <a:gd name="T23" fmla="*/ 28 h 557"/>
                <a:gd name="T24" fmla="*/ 305 w 401"/>
                <a:gd name="T25" fmla="*/ 73 h 557"/>
                <a:gd name="T26" fmla="*/ 299 w 401"/>
                <a:gd name="T27" fmla="*/ 106 h 557"/>
                <a:gd name="T28" fmla="*/ 292 w 401"/>
                <a:gd name="T29" fmla="*/ 117 h 557"/>
                <a:gd name="T30" fmla="*/ 270 w 401"/>
                <a:gd name="T31" fmla="*/ 137 h 557"/>
                <a:gd name="T32" fmla="*/ 241 w 401"/>
                <a:gd name="T33" fmla="*/ 140 h 557"/>
                <a:gd name="T34" fmla="*/ 235 w 401"/>
                <a:gd name="T35" fmla="*/ 118 h 557"/>
                <a:gd name="T36" fmla="*/ 204 w 401"/>
                <a:gd name="T37" fmla="*/ 86 h 557"/>
                <a:gd name="T38" fmla="*/ 175 w 401"/>
                <a:gd name="T39" fmla="*/ 111 h 557"/>
                <a:gd name="T40" fmla="*/ 165 w 401"/>
                <a:gd name="T41" fmla="*/ 137 h 557"/>
                <a:gd name="T42" fmla="*/ 139 w 401"/>
                <a:gd name="T43" fmla="*/ 140 h 557"/>
                <a:gd name="T44" fmla="*/ 128 w 401"/>
                <a:gd name="T45" fmla="*/ 122 h 557"/>
                <a:gd name="T46" fmla="*/ 105 w 401"/>
                <a:gd name="T47" fmla="*/ 118 h 557"/>
                <a:gd name="T48" fmla="*/ 104 w 401"/>
                <a:gd name="T49" fmla="*/ 101 h 557"/>
                <a:gd name="T50" fmla="*/ 96 w 401"/>
                <a:gd name="T51" fmla="*/ 54 h 557"/>
                <a:gd name="T52" fmla="*/ 99 w 401"/>
                <a:gd name="T53" fmla="*/ 20 h 557"/>
                <a:gd name="T54" fmla="*/ 95 w 401"/>
                <a:gd name="T55" fmla="*/ 6 h 557"/>
                <a:gd name="T56" fmla="*/ 89 w 401"/>
                <a:gd name="T57" fmla="*/ 0 h 557"/>
                <a:gd name="T58" fmla="*/ 83 w 401"/>
                <a:gd name="T59" fmla="*/ 6 h 557"/>
                <a:gd name="T60" fmla="*/ 82 w 401"/>
                <a:gd name="T61" fmla="*/ 23 h 557"/>
                <a:gd name="T62" fmla="*/ 79 w 401"/>
                <a:gd name="T63" fmla="*/ 54 h 557"/>
                <a:gd name="T64" fmla="*/ 71 w 401"/>
                <a:gd name="T65" fmla="*/ 101 h 557"/>
                <a:gd name="T66" fmla="*/ 70 w 401"/>
                <a:gd name="T67" fmla="*/ 118 h 557"/>
                <a:gd name="T68" fmla="*/ 48 w 401"/>
                <a:gd name="T69" fmla="*/ 124 h 557"/>
                <a:gd name="T70" fmla="*/ 0 w 401"/>
                <a:gd name="T71" fmla="*/ 140 h 557"/>
                <a:gd name="T72" fmla="*/ 6 w 401"/>
                <a:gd name="T73" fmla="*/ 200 h 557"/>
                <a:gd name="T74" fmla="*/ 13 w 401"/>
                <a:gd name="T75" fmla="*/ 203 h 557"/>
                <a:gd name="T76" fmla="*/ 16 w 401"/>
                <a:gd name="T77" fmla="*/ 268 h 557"/>
                <a:gd name="T78" fmla="*/ 4 w 401"/>
                <a:gd name="T79" fmla="*/ 271 h 557"/>
                <a:gd name="T80" fmla="*/ 12 w 401"/>
                <a:gd name="T81" fmla="*/ 286 h 557"/>
                <a:gd name="T82" fmla="*/ 10 w 401"/>
                <a:gd name="T83" fmla="*/ 470 h 557"/>
                <a:gd name="T84" fmla="*/ 10 w 401"/>
                <a:gd name="T85" fmla="*/ 557 h 557"/>
                <a:gd name="T86" fmla="*/ 136 w 401"/>
                <a:gd name="T87" fmla="*/ 474 h 557"/>
                <a:gd name="T88" fmla="*/ 128 w 401"/>
                <a:gd name="T89" fmla="*/ 328 h 557"/>
                <a:gd name="T90" fmla="*/ 139 w 401"/>
                <a:gd name="T91" fmla="*/ 284 h 557"/>
                <a:gd name="T92" fmla="*/ 168 w 401"/>
                <a:gd name="T93" fmla="*/ 258 h 557"/>
                <a:gd name="T94" fmla="*/ 211 w 401"/>
                <a:gd name="T95" fmla="*/ 252 h 557"/>
                <a:gd name="T96" fmla="*/ 255 w 401"/>
                <a:gd name="T97" fmla="*/ 271 h 557"/>
                <a:gd name="T98" fmla="*/ 279 w 401"/>
                <a:gd name="T99" fmla="*/ 319 h 557"/>
                <a:gd name="T100" fmla="*/ 271 w 401"/>
                <a:gd name="T101" fmla="*/ 474 h 557"/>
                <a:gd name="T102" fmla="*/ 392 w 401"/>
                <a:gd name="T103" fmla="*/ 557 h 557"/>
                <a:gd name="T104" fmla="*/ 391 w 401"/>
                <a:gd name="T105" fmla="*/ 470 h 557"/>
                <a:gd name="T106" fmla="*/ 389 w 401"/>
                <a:gd name="T107" fmla="*/ 286 h 557"/>
                <a:gd name="T108" fmla="*/ 398 w 401"/>
                <a:gd name="T109" fmla="*/ 271 h 557"/>
                <a:gd name="T110" fmla="*/ 388 w 401"/>
                <a:gd name="T111" fmla="*/ 270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1" h="557">
                  <a:moveTo>
                    <a:pt x="388" y="220"/>
                  </a:moveTo>
                  <a:lnTo>
                    <a:pt x="388" y="203"/>
                  </a:lnTo>
                  <a:lnTo>
                    <a:pt x="388" y="203"/>
                  </a:lnTo>
                  <a:lnTo>
                    <a:pt x="389" y="201"/>
                  </a:lnTo>
                  <a:lnTo>
                    <a:pt x="391" y="201"/>
                  </a:lnTo>
                  <a:lnTo>
                    <a:pt x="395" y="200"/>
                  </a:lnTo>
                  <a:lnTo>
                    <a:pt x="395" y="200"/>
                  </a:lnTo>
                  <a:lnTo>
                    <a:pt x="397" y="200"/>
                  </a:lnTo>
                  <a:lnTo>
                    <a:pt x="397" y="198"/>
                  </a:lnTo>
                  <a:lnTo>
                    <a:pt x="397" y="150"/>
                  </a:lnTo>
                  <a:lnTo>
                    <a:pt x="401" y="149"/>
                  </a:lnTo>
                  <a:lnTo>
                    <a:pt x="401" y="140"/>
                  </a:lnTo>
                  <a:lnTo>
                    <a:pt x="367" y="140"/>
                  </a:lnTo>
                  <a:lnTo>
                    <a:pt x="367" y="140"/>
                  </a:lnTo>
                  <a:lnTo>
                    <a:pt x="365" y="140"/>
                  </a:lnTo>
                  <a:lnTo>
                    <a:pt x="365" y="137"/>
                  </a:lnTo>
                  <a:lnTo>
                    <a:pt x="365" y="137"/>
                  </a:lnTo>
                  <a:lnTo>
                    <a:pt x="362" y="130"/>
                  </a:lnTo>
                  <a:lnTo>
                    <a:pt x="357" y="122"/>
                  </a:lnTo>
                  <a:lnTo>
                    <a:pt x="350" y="118"/>
                  </a:lnTo>
                  <a:lnTo>
                    <a:pt x="343" y="117"/>
                  </a:lnTo>
                  <a:lnTo>
                    <a:pt x="343" y="117"/>
                  </a:lnTo>
                  <a:lnTo>
                    <a:pt x="338" y="117"/>
                  </a:lnTo>
                  <a:lnTo>
                    <a:pt x="334" y="118"/>
                  </a:lnTo>
                  <a:lnTo>
                    <a:pt x="334" y="118"/>
                  </a:lnTo>
                  <a:lnTo>
                    <a:pt x="334" y="111"/>
                  </a:lnTo>
                  <a:lnTo>
                    <a:pt x="334" y="111"/>
                  </a:lnTo>
                  <a:lnTo>
                    <a:pt x="334" y="106"/>
                  </a:lnTo>
                  <a:lnTo>
                    <a:pt x="332" y="101"/>
                  </a:lnTo>
                  <a:lnTo>
                    <a:pt x="332" y="101"/>
                  </a:lnTo>
                  <a:lnTo>
                    <a:pt x="332" y="101"/>
                  </a:lnTo>
                  <a:lnTo>
                    <a:pt x="332" y="101"/>
                  </a:lnTo>
                  <a:lnTo>
                    <a:pt x="328" y="73"/>
                  </a:lnTo>
                  <a:lnTo>
                    <a:pt x="325" y="54"/>
                  </a:lnTo>
                  <a:lnTo>
                    <a:pt x="319" y="34"/>
                  </a:lnTo>
                  <a:lnTo>
                    <a:pt x="327" y="34"/>
                  </a:lnTo>
                  <a:lnTo>
                    <a:pt x="322" y="29"/>
                  </a:lnTo>
                  <a:lnTo>
                    <a:pt x="322" y="23"/>
                  </a:lnTo>
                  <a:lnTo>
                    <a:pt x="327" y="20"/>
                  </a:lnTo>
                  <a:lnTo>
                    <a:pt x="328" y="17"/>
                  </a:lnTo>
                  <a:lnTo>
                    <a:pt x="337" y="12"/>
                  </a:lnTo>
                  <a:lnTo>
                    <a:pt x="322" y="12"/>
                  </a:lnTo>
                  <a:lnTo>
                    <a:pt x="322" y="12"/>
                  </a:lnTo>
                  <a:lnTo>
                    <a:pt x="324" y="6"/>
                  </a:lnTo>
                  <a:lnTo>
                    <a:pt x="324" y="6"/>
                  </a:lnTo>
                  <a:lnTo>
                    <a:pt x="324" y="3"/>
                  </a:lnTo>
                  <a:lnTo>
                    <a:pt x="322" y="1"/>
                  </a:lnTo>
                  <a:lnTo>
                    <a:pt x="321" y="0"/>
                  </a:lnTo>
                  <a:lnTo>
                    <a:pt x="318" y="0"/>
                  </a:lnTo>
                  <a:lnTo>
                    <a:pt x="318" y="0"/>
                  </a:lnTo>
                  <a:lnTo>
                    <a:pt x="314" y="0"/>
                  </a:lnTo>
                  <a:lnTo>
                    <a:pt x="312" y="1"/>
                  </a:lnTo>
                  <a:lnTo>
                    <a:pt x="312" y="6"/>
                  </a:lnTo>
                  <a:lnTo>
                    <a:pt x="312" y="6"/>
                  </a:lnTo>
                  <a:lnTo>
                    <a:pt x="314" y="12"/>
                  </a:lnTo>
                  <a:lnTo>
                    <a:pt x="299" y="12"/>
                  </a:lnTo>
                  <a:lnTo>
                    <a:pt x="305" y="17"/>
                  </a:lnTo>
                  <a:lnTo>
                    <a:pt x="306" y="20"/>
                  </a:lnTo>
                  <a:lnTo>
                    <a:pt x="309" y="23"/>
                  </a:lnTo>
                  <a:lnTo>
                    <a:pt x="311" y="28"/>
                  </a:lnTo>
                  <a:lnTo>
                    <a:pt x="305" y="34"/>
                  </a:lnTo>
                  <a:lnTo>
                    <a:pt x="314" y="34"/>
                  </a:lnTo>
                  <a:lnTo>
                    <a:pt x="314" y="34"/>
                  </a:lnTo>
                  <a:lnTo>
                    <a:pt x="308" y="54"/>
                  </a:lnTo>
                  <a:lnTo>
                    <a:pt x="305" y="73"/>
                  </a:lnTo>
                  <a:lnTo>
                    <a:pt x="300" y="101"/>
                  </a:lnTo>
                  <a:lnTo>
                    <a:pt x="300" y="101"/>
                  </a:lnTo>
                  <a:lnTo>
                    <a:pt x="300" y="101"/>
                  </a:lnTo>
                  <a:lnTo>
                    <a:pt x="300" y="101"/>
                  </a:lnTo>
                  <a:lnTo>
                    <a:pt x="299" y="106"/>
                  </a:lnTo>
                  <a:lnTo>
                    <a:pt x="299" y="111"/>
                  </a:lnTo>
                  <a:lnTo>
                    <a:pt x="299" y="111"/>
                  </a:lnTo>
                  <a:lnTo>
                    <a:pt x="299" y="118"/>
                  </a:lnTo>
                  <a:lnTo>
                    <a:pt x="299" y="118"/>
                  </a:lnTo>
                  <a:lnTo>
                    <a:pt x="292" y="117"/>
                  </a:lnTo>
                  <a:lnTo>
                    <a:pt x="292" y="117"/>
                  </a:lnTo>
                  <a:lnTo>
                    <a:pt x="284" y="118"/>
                  </a:lnTo>
                  <a:lnTo>
                    <a:pt x="277" y="122"/>
                  </a:lnTo>
                  <a:lnTo>
                    <a:pt x="273" y="130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40"/>
                  </a:lnTo>
                  <a:lnTo>
                    <a:pt x="268" y="140"/>
                  </a:lnTo>
                  <a:lnTo>
                    <a:pt x="241" y="140"/>
                  </a:lnTo>
                  <a:lnTo>
                    <a:pt x="241" y="140"/>
                  </a:lnTo>
                  <a:lnTo>
                    <a:pt x="239" y="140"/>
                  </a:lnTo>
                  <a:lnTo>
                    <a:pt x="238" y="137"/>
                  </a:lnTo>
                  <a:lnTo>
                    <a:pt x="238" y="137"/>
                  </a:lnTo>
                  <a:lnTo>
                    <a:pt x="238" y="127"/>
                  </a:lnTo>
                  <a:lnTo>
                    <a:pt x="235" y="118"/>
                  </a:lnTo>
                  <a:lnTo>
                    <a:pt x="232" y="114"/>
                  </a:lnTo>
                  <a:lnTo>
                    <a:pt x="227" y="108"/>
                  </a:lnTo>
                  <a:lnTo>
                    <a:pt x="227" y="108"/>
                  </a:lnTo>
                  <a:lnTo>
                    <a:pt x="204" y="86"/>
                  </a:lnTo>
                  <a:lnTo>
                    <a:pt x="204" y="86"/>
                  </a:lnTo>
                  <a:lnTo>
                    <a:pt x="203" y="86"/>
                  </a:lnTo>
                  <a:lnTo>
                    <a:pt x="201" y="86"/>
                  </a:lnTo>
                  <a:lnTo>
                    <a:pt x="201" y="86"/>
                  </a:lnTo>
                  <a:lnTo>
                    <a:pt x="190" y="96"/>
                  </a:lnTo>
                  <a:lnTo>
                    <a:pt x="175" y="111"/>
                  </a:lnTo>
                  <a:lnTo>
                    <a:pt x="175" y="111"/>
                  </a:lnTo>
                  <a:lnTo>
                    <a:pt x="169" y="118"/>
                  </a:lnTo>
                  <a:lnTo>
                    <a:pt x="166" y="125"/>
                  </a:lnTo>
                  <a:lnTo>
                    <a:pt x="165" y="133"/>
                  </a:lnTo>
                  <a:lnTo>
                    <a:pt x="165" y="137"/>
                  </a:lnTo>
                  <a:lnTo>
                    <a:pt x="165" y="137"/>
                  </a:lnTo>
                  <a:lnTo>
                    <a:pt x="165" y="139"/>
                  </a:lnTo>
                  <a:lnTo>
                    <a:pt x="163" y="140"/>
                  </a:lnTo>
                  <a:lnTo>
                    <a:pt x="139" y="140"/>
                  </a:lnTo>
                  <a:lnTo>
                    <a:pt x="139" y="140"/>
                  </a:lnTo>
                  <a:lnTo>
                    <a:pt x="137" y="140"/>
                  </a:lnTo>
                  <a:lnTo>
                    <a:pt x="136" y="137"/>
                  </a:lnTo>
                  <a:lnTo>
                    <a:pt x="136" y="137"/>
                  </a:lnTo>
                  <a:lnTo>
                    <a:pt x="133" y="130"/>
                  </a:lnTo>
                  <a:lnTo>
                    <a:pt x="128" y="122"/>
                  </a:lnTo>
                  <a:lnTo>
                    <a:pt x="121" y="118"/>
                  </a:lnTo>
                  <a:lnTo>
                    <a:pt x="114" y="117"/>
                  </a:lnTo>
                  <a:lnTo>
                    <a:pt x="114" y="117"/>
                  </a:lnTo>
                  <a:lnTo>
                    <a:pt x="109" y="117"/>
                  </a:lnTo>
                  <a:lnTo>
                    <a:pt x="105" y="118"/>
                  </a:lnTo>
                  <a:lnTo>
                    <a:pt x="105" y="118"/>
                  </a:lnTo>
                  <a:lnTo>
                    <a:pt x="105" y="111"/>
                  </a:lnTo>
                  <a:lnTo>
                    <a:pt x="105" y="111"/>
                  </a:lnTo>
                  <a:lnTo>
                    <a:pt x="105" y="106"/>
                  </a:lnTo>
                  <a:lnTo>
                    <a:pt x="104" y="101"/>
                  </a:lnTo>
                  <a:lnTo>
                    <a:pt x="104" y="101"/>
                  </a:lnTo>
                  <a:lnTo>
                    <a:pt x="104" y="101"/>
                  </a:lnTo>
                  <a:lnTo>
                    <a:pt x="104" y="101"/>
                  </a:lnTo>
                  <a:lnTo>
                    <a:pt x="101" y="73"/>
                  </a:lnTo>
                  <a:lnTo>
                    <a:pt x="96" y="54"/>
                  </a:lnTo>
                  <a:lnTo>
                    <a:pt x="90" y="34"/>
                  </a:lnTo>
                  <a:lnTo>
                    <a:pt x="98" y="34"/>
                  </a:lnTo>
                  <a:lnTo>
                    <a:pt x="95" y="29"/>
                  </a:lnTo>
                  <a:lnTo>
                    <a:pt x="95" y="23"/>
                  </a:lnTo>
                  <a:lnTo>
                    <a:pt x="99" y="20"/>
                  </a:lnTo>
                  <a:lnTo>
                    <a:pt x="99" y="17"/>
                  </a:lnTo>
                  <a:lnTo>
                    <a:pt x="108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5" y="3"/>
                  </a:lnTo>
                  <a:lnTo>
                    <a:pt x="93" y="1"/>
                  </a:lnTo>
                  <a:lnTo>
                    <a:pt x="92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85" y="0"/>
                  </a:lnTo>
                  <a:lnTo>
                    <a:pt x="83" y="1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5" y="12"/>
                  </a:lnTo>
                  <a:lnTo>
                    <a:pt x="70" y="12"/>
                  </a:lnTo>
                  <a:lnTo>
                    <a:pt x="77" y="17"/>
                  </a:lnTo>
                  <a:lnTo>
                    <a:pt x="77" y="20"/>
                  </a:lnTo>
                  <a:lnTo>
                    <a:pt x="82" y="23"/>
                  </a:lnTo>
                  <a:lnTo>
                    <a:pt x="83" y="28"/>
                  </a:lnTo>
                  <a:lnTo>
                    <a:pt x="77" y="34"/>
                  </a:lnTo>
                  <a:lnTo>
                    <a:pt x="85" y="34"/>
                  </a:lnTo>
                  <a:lnTo>
                    <a:pt x="85" y="34"/>
                  </a:lnTo>
                  <a:lnTo>
                    <a:pt x="79" y="54"/>
                  </a:lnTo>
                  <a:lnTo>
                    <a:pt x="76" y="73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0" y="106"/>
                  </a:lnTo>
                  <a:lnTo>
                    <a:pt x="70" y="111"/>
                  </a:lnTo>
                  <a:lnTo>
                    <a:pt x="70" y="111"/>
                  </a:lnTo>
                  <a:lnTo>
                    <a:pt x="70" y="118"/>
                  </a:lnTo>
                  <a:lnTo>
                    <a:pt x="70" y="118"/>
                  </a:lnTo>
                  <a:lnTo>
                    <a:pt x="64" y="117"/>
                  </a:lnTo>
                  <a:lnTo>
                    <a:pt x="64" y="117"/>
                  </a:lnTo>
                  <a:lnTo>
                    <a:pt x="60" y="117"/>
                  </a:lnTo>
                  <a:lnTo>
                    <a:pt x="55" y="118"/>
                  </a:lnTo>
                  <a:lnTo>
                    <a:pt x="48" y="124"/>
                  </a:lnTo>
                  <a:lnTo>
                    <a:pt x="44" y="131"/>
                  </a:lnTo>
                  <a:lnTo>
                    <a:pt x="42" y="136"/>
                  </a:lnTo>
                  <a:lnTo>
                    <a:pt x="41" y="140"/>
                  </a:lnTo>
                  <a:lnTo>
                    <a:pt x="41" y="140"/>
                  </a:lnTo>
                  <a:lnTo>
                    <a:pt x="0" y="140"/>
                  </a:lnTo>
                  <a:lnTo>
                    <a:pt x="0" y="149"/>
                  </a:lnTo>
                  <a:lnTo>
                    <a:pt x="4" y="150"/>
                  </a:lnTo>
                  <a:lnTo>
                    <a:pt x="4" y="198"/>
                  </a:lnTo>
                  <a:lnTo>
                    <a:pt x="4" y="198"/>
                  </a:lnTo>
                  <a:lnTo>
                    <a:pt x="6" y="200"/>
                  </a:lnTo>
                  <a:lnTo>
                    <a:pt x="7" y="200"/>
                  </a:lnTo>
                  <a:lnTo>
                    <a:pt x="12" y="201"/>
                  </a:lnTo>
                  <a:lnTo>
                    <a:pt x="12" y="201"/>
                  </a:lnTo>
                  <a:lnTo>
                    <a:pt x="13" y="201"/>
                  </a:lnTo>
                  <a:lnTo>
                    <a:pt x="13" y="203"/>
                  </a:lnTo>
                  <a:lnTo>
                    <a:pt x="13" y="220"/>
                  </a:lnTo>
                  <a:lnTo>
                    <a:pt x="16" y="220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6" y="268"/>
                  </a:lnTo>
                  <a:lnTo>
                    <a:pt x="15" y="270"/>
                  </a:lnTo>
                  <a:lnTo>
                    <a:pt x="6" y="270"/>
                  </a:lnTo>
                  <a:lnTo>
                    <a:pt x="6" y="270"/>
                  </a:lnTo>
                  <a:lnTo>
                    <a:pt x="4" y="270"/>
                  </a:lnTo>
                  <a:lnTo>
                    <a:pt x="4" y="271"/>
                  </a:lnTo>
                  <a:lnTo>
                    <a:pt x="4" y="279"/>
                  </a:lnTo>
                  <a:lnTo>
                    <a:pt x="4" y="279"/>
                  </a:lnTo>
                  <a:lnTo>
                    <a:pt x="7" y="280"/>
                  </a:lnTo>
                  <a:lnTo>
                    <a:pt x="10" y="281"/>
                  </a:lnTo>
                  <a:lnTo>
                    <a:pt x="12" y="286"/>
                  </a:lnTo>
                  <a:lnTo>
                    <a:pt x="12" y="299"/>
                  </a:lnTo>
                  <a:lnTo>
                    <a:pt x="16" y="299"/>
                  </a:lnTo>
                  <a:lnTo>
                    <a:pt x="16" y="461"/>
                  </a:lnTo>
                  <a:lnTo>
                    <a:pt x="10" y="461"/>
                  </a:lnTo>
                  <a:lnTo>
                    <a:pt x="10" y="470"/>
                  </a:lnTo>
                  <a:lnTo>
                    <a:pt x="7" y="474"/>
                  </a:lnTo>
                  <a:lnTo>
                    <a:pt x="7" y="554"/>
                  </a:lnTo>
                  <a:lnTo>
                    <a:pt x="7" y="554"/>
                  </a:lnTo>
                  <a:lnTo>
                    <a:pt x="9" y="556"/>
                  </a:lnTo>
                  <a:lnTo>
                    <a:pt x="10" y="557"/>
                  </a:lnTo>
                  <a:lnTo>
                    <a:pt x="133" y="557"/>
                  </a:lnTo>
                  <a:lnTo>
                    <a:pt x="133" y="557"/>
                  </a:lnTo>
                  <a:lnTo>
                    <a:pt x="136" y="556"/>
                  </a:lnTo>
                  <a:lnTo>
                    <a:pt x="136" y="554"/>
                  </a:lnTo>
                  <a:lnTo>
                    <a:pt x="136" y="474"/>
                  </a:lnTo>
                  <a:lnTo>
                    <a:pt x="133" y="470"/>
                  </a:lnTo>
                  <a:lnTo>
                    <a:pt x="133" y="461"/>
                  </a:lnTo>
                  <a:lnTo>
                    <a:pt x="128" y="461"/>
                  </a:lnTo>
                  <a:lnTo>
                    <a:pt x="128" y="461"/>
                  </a:lnTo>
                  <a:lnTo>
                    <a:pt x="128" y="328"/>
                  </a:lnTo>
                  <a:lnTo>
                    <a:pt x="128" y="328"/>
                  </a:lnTo>
                  <a:lnTo>
                    <a:pt x="128" y="319"/>
                  </a:lnTo>
                  <a:lnTo>
                    <a:pt x="130" y="309"/>
                  </a:lnTo>
                  <a:lnTo>
                    <a:pt x="133" y="296"/>
                  </a:lnTo>
                  <a:lnTo>
                    <a:pt x="139" y="284"/>
                  </a:lnTo>
                  <a:lnTo>
                    <a:pt x="141" y="277"/>
                  </a:lnTo>
                  <a:lnTo>
                    <a:pt x="147" y="271"/>
                  </a:lnTo>
                  <a:lnTo>
                    <a:pt x="152" y="267"/>
                  </a:lnTo>
                  <a:lnTo>
                    <a:pt x="159" y="261"/>
                  </a:lnTo>
                  <a:lnTo>
                    <a:pt x="168" y="258"/>
                  </a:lnTo>
                  <a:lnTo>
                    <a:pt x="176" y="255"/>
                  </a:lnTo>
                  <a:lnTo>
                    <a:pt x="187" y="252"/>
                  </a:lnTo>
                  <a:lnTo>
                    <a:pt x="200" y="252"/>
                  </a:lnTo>
                  <a:lnTo>
                    <a:pt x="200" y="252"/>
                  </a:lnTo>
                  <a:lnTo>
                    <a:pt x="211" y="252"/>
                  </a:lnTo>
                  <a:lnTo>
                    <a:pt x="223" y="255"/>
                  </a:lnTo>
                  <a:lnTo>
                    <a:pt x="232" y="258"/>
                  </a:lnTo>
                  <a:lnTo>
                    <a:pt x="241" y="261"/>
                  </a:lnTo>
                  <a:lnTo>
                    <a:pt x="248" y="265"/>
                  </a:lnTo>
                  <a:lnTo>
                    <a:pt x="255" y="271"/>
                  </a:lnTo>
                  <a:lnTo>
                    <a:pt x="261" y="277"/>
                  </a:lnTo>
                  <a:lnTo>
                    <a:pt x="265" y="283"/>
                  </a:lnTo>
                  <a:lnTo>
                    <a:pt x="273" y="296"/>
                  </a:lnTo>
                  <a:lnTo>
                    <a:pt x="276" y="308"/>
                  </a:lnTo>
                  <a:lnTo>
                    <a:pt x="279" y="319"/>
                  </a:lnTo>
                  <a:lnTo>
                    <a:pt x="279" y="328"/>
                  </a:lnTo>
                  <a:lnTo>
                    <a:pt x="279" y="461"/>
                  </a:lnTo>
                  <a:lnTo>
                    <a:pt x="274" y="461"/>
                  </a:lnTo>
                  <a:lnTo>
                    <a:pt x="274" y="470"/>
                  </a:lnTo>
                  <a:lnTo>
                    <a:pt x="271" y="474"/>
                  </a:lnTo>
                  <a:lnTo>
                    <a:pt x="271" y="554"/>
                  </a:lnTo>
                  <a:lnTo>
                    <a:pt x="271" y="554"/>
                  </a:lnTo>
                  <a:lnTo>
                    <a:pt x="271" y="556"/>
                  </a:lnTo>
                  <a:lnTo>
                    <a:pt x="274" y="557"/>
                  </a:lnTo>
                  <a:lnTo>
                    <a:pt x="392" y="557"/>
                  </a:lnTo>
                  <a:lnTo>
                    <a:pt x="392" y="557"/>
                  </a:lnTo>
                  <a:lnTo>
                    <a:pt x="394" y="556"/>
                  </a:lnTo>
                  <a:lnTo>
                    <a:pt x="395" y="554"/>
                  </a:lnTo>
                  <a:lnTo>
                    <a:pt x="395" y="474"/>
                  </a:lnTo>
                  <a:lnTo>
                    <a:pt x="391" y="470"/>
                  </a:lnTo>
                  <a:lnTo>
                    <a:pt x="391" y="461"/>
                  </a:lnTo>
                  <a:lnTo>
                    <a:pt x="386" y="461"/>
                  </a:lnTo>
                  <a:lnTo>
                    <a:pt x="386" y="299"/>
                  </a:lnTo>
                  <a:lnTo>
                    <a:pt x="389" y="299"/>
                  </a:lnTo>
                  <a:lnTo>
                    <a:pt x="389" y="286"/>
                  </a:lnTo>
                  <a:lnTo>
                    <a:pt x="389" y="286"/>
                  </a:lnTo>
                  <a:lnTo>
                    <a:pt x="392" y="281"/>
                  </a:lnTo>
                  <a:lnTo>
                    <a:pt x="394" y="280"/>
                  </a:lnTo>
                  <a:lnTo>
                    <a:pt x="398" y="279"/>
                  </a:lnTo>
                  <a:lnTo>
                    <a:pt x="398" y="271"/>
                  </a:lnTo>
                  <a:lnTo>
                    <a:pt x="398" y="271"/>
                  </a:lnTo>
                  <a:lnTo>
                    <a:pt x="397" y="270"/>
                  </a:lnTo>
                  <a:lnTo>
                    <a:pt x="395" y="270"/>
                  </a:lnTo>
                  <a:lnTo>
                    <a:pt x="388" y="270"/>
                  </a:lnTo>
                  <a:lnTo>
                    <a:pt x="388" y="270"/>
                  </a:lnTo>
                  <a:lnTo>
                    <a:pt x="386" y="268"/>
                  </a:lnTo>
                  <a:lnTo>
                    <a:pt x="385" y="267"/>
                  </a:lnTo>
                  <a:lnTo>
                    <a:pt x="385" y="220"/>
                  </a:lnTo>
                  <a:lnTo>
                    <a:pt x="388" y="22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" name="Freeform 217"/>
            <p:cNvSpPr>
              <a:spLocks/>
            </p:cNvSpPr>
            <p:nvPr/>
          </p:nvSpPr>
          <p:spPr bwMode="auto">
            <a:xfrm>
              <a:off x="1152525" y="6092521"/>
              <a:ext cx="411163" cy="650875"/>
            </a:xfrm>
            <a:custGeom>
              <a:avLst/>
              <a:gdLst>
                <a:gd name="T0" fmla="*/ 240 w 259"/>
                <a:gd name="T1" fmla="*/ 374 h 410"/>
                <a:gd name="T2" fmla="*/ 238 w 259"/>
                <a:gd name="T3" fmla="*/ 362 h 410"/>
                <a:gd name="T4" fmla="*/ 234 w 259"/>
                <a:gd name="T5" fmla="*/ 354 h 410"/>
                <a:gd name="T6" fmla="*/ 225 w 259"/>
                <a:gd name="T7" fmla="*/ 349 h 410"/>
                <a:gd name="T8" fmla="*/ 222 w 259"/>
                <a:gd name="T9" fmla="*/ 348 h 410"/>
                <a:gd name="T10" fmla="*/ 216 w 259"/>
                <a:gd name="T11" fmla="*/ 340 h 410"/>
                <a:gd name="T12" fmla="*/ 216 w 259"/>
                <a:gd name="T13" fmla="*/ 331 h 410"/>
                <a:gd name="T14" fmla="*/ 214 w 259"/>
                <a:gd name="T15" fmla="*/ 327 h 410"/>
                <a:gd name="T16" fmla="*/ 204 w 259"/>
                <a:gd name="T17" fmla="*/ 315 h 410"/>
                <a:gd name="T18" fmla="*/ 201 w 259"/>
                <a:gd name="T19" fmla="*/ 310 h 410"/>
                <a:gd name="T20" fmla="*/ 186 w 259"/>
                <a:gd name="T21" fmla="*/ 310 h 410"/>
                <a:gd name="T22" fmla="*/ 173 w 259"/>
                <a:gd name="T23" fmla="*/ 310 h 410"/>
                <a:gd name="T24" fmla="*/ 173 w 259"/>
                <a:gd name="T25" fmla="*/ 287 h 410"/>
                <a:gd name="T26" fmla="*/ 165 w 259"/>
                <a:gd name="T27" fmla="*/ 278 h 410"/>
                <a:gd name="T28" fmla="*/ 158 w 259"/>
                <a:gd name="T29" fmla="*/ 217 h 410"/>
                <a:gd name="T30" fmla="*/ 131 w 259"/>
                <a:gd name="T31" fmla="*/ 198 h 410"/>
                <a:gd name="T32" fmla="*/ 131 w 259"/>
                <a:gd name="T33" fmla="*/ 195 h 410"/>
                <a:gd name="T34" fmla="*/ 125 w 259"/>
                <a:gd name="T35" fmla="*/ 190 h 410"/>
                <a:gd name="T36" fmla="*/ 121 w 259"/>
                <a:gd name="T37" fmla="*/ 189 h 410"/>
                <a:gd name="T38" fmla="*/ 118 w 259"/>
                <a:gd name="T39" fmla="*/ 42 h 410"/>
                <a:gd name="T40" fmla="*/ 124 w 259"/>
                <a:gd name="T41" fmla="*/ 34 h 410"/>
                <a:gd name="T42" fmla="*/ 131 w 259"/>
                <a:gd name="T43" fmla="*/ 18 h 410"/>
                <a:gd name="T44" fmla="*/ 130 w 259"/>
                <a:gd name="T45" fmla="*/ 16 h 410"/>
                <a:gd name="T46" fmla="*/ 121 w 259"/>
                <a:gd name="T47" fmla="*/ 16 h 410"/>
                <a:gd name="T48" fmla="*/ 116 w 259"/>
                <a:gd name="T49" fmla="*/ 4 h 410"/>
                <a:gd name="T50" fmla="*/ 109 w 259"/>
                <a:gd name="T51" fmla="*/ 0 h 410"/>
                <a:gd name="T52" fmla="*/ 104 w 259"/>
                <a:gd name="T53" fmla="*/ 1 h 410"/>
                <a:gd name="T54" fmla="*/ 98 w 259"/>
                <a:gd name="T55" fmla="*/ 10 h 410"/>
                <a:gd name="T56" fmla="*/ 86 w 259"/>
                <a:gd name="T57" fmla="*/ 16 h 410"/>
                <a:gd name="T58" fmla="*/ 85 w 259"/>
                <a:gd name="T59" fmla="*/ 18 h 410"/>
                <a:gd name="T60" fmla="*/ 89 w 259"/>
                <a:gd name="T61" fmla="*/ 28 h 410"/>
                <a:gd name="T62" fmla="*/ 98 w 259"/>
                <a:gd name="T63" fmla="*/ 42 h 410"/>
                <a:gd name="T64" fmla="*/ 97 w 259"/>
                <a:gd name="T65" fmla="*/ 189 h 410"/>
                <a:gd name="T66" fmla="*/ 92 w 259"/>
                <a:gd name="T67" fmla="*/ 190 h 410"/>
                <a:gd name="T68" fmla="*/ 88 w 259"/>
                <a:gd name="T69" fmla="*/ 195 h 410"/>
                <a:gd name="T70" fmla="*/ 79 w 259"/>
                <a:gd name="T71" fmla="*/ 198 h 410"/>
                <a:gd name="T72" fmla="*/ 71 w 259"/>
                <a:gd name="T73" fmla="*/ 245 h 410"/>
                <a:gd name="T74" fmla="*/ 64 w 259"/>
                <a:gd name="T75" fmla="*/ 256 h 410"/>
                <a:gd name="T76" fmla="*/ 48 w 259"/>
                <a:gd name="T77" fmla="*/ 306 h 410"/>
                <a:gd name="T78" fmla="*/ 36 w 259"/>
                <a:gd name="T79" fmla="*/ 351 h 410"/>
                <a:gd name="T80" fmla="*/ 24 w 259"/>
                <a:gd name="T81" fmla="*/ 373 h 410"/>
                <a:gd name="T82" fmla="*/ 259 w 259"/>
                <a:gd name="T83" fmla="*/ 410 h 410"/>
                <a:gd name="T84" fmla="*/ 259 w 259"/>
                <a:gd name="T85" fmla="*/ 388 h 410"/>
                <a:gd name="T86" fmla="*/ 243 w 259"/>
                <a:gd name="T87" fmla="*/ 377 h 410"/>
                <a:gd name="T88" fmla="*/ 240 w 259"/>
                <a:gd name="T89" fmla="*/ 374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59" h="410">
                  <a:moveTo>
                    <a:pt x="240" y="374"/>
                  </a:moveTo>
                  <a:lnTo>
                    <a:pt x="240" y="374"/>
                  </a:lnTo>
                  <a:lnTo>
                    <a:pt x="240" y="370"/>
                  </a:lnTo>
                  <a:lnTo>
                    <a:pt x="238" y="362"/>
                  </a:lnTo>
                  <a:lnTo>
                    <a:pt x="235" y="358"/>
                  </a:lnTo>
                  <a:lnTo>
                    <a:pt x="234" y="354"/>
                  </a:lnTo>
                  <a:lnTo>
                    <a:pt x="229" y="351"/>
                  </a:lnTo>
                  <a:lnTo>
                    <a:pt x="225" y="349"/>
                  </a:lnTo>
                  <a:lnTo>
                    <a:pt x="225" y="349"/>
                  </a:lnTo>
                  <a:lnTo>
                    <a:pt x="222" y="348"/>
                  </a:lnTo>
                  <a:lnTo>
                    <a:pt x="219" y="346"/>
                  </a:lnTo>
                  <a:lnTo>
                    <a:pt x="216" y="340"/>
                  </a:lnTo>
                  <a:lnTo>
                    <a:pt x="216" y="336"/>
                  </a:lnTo>
                  <a:lnTo>
                    <a:pt x="216" y="331"/>
                  </a:lnTo>
                  <a:lnTo>
                    <a:pt x="216" y="331"/>
                  </a:lnTo>
                  <a:lnTo>
                    <a:pt x="214" y="327"/>
                  </a:lnTo>
                  <a:lnTo>
                    <a:pt x="210" y="321"/>
                  </a:lnTo>
                  <a:lnTo>
                    <a:pt x="204" y="315"/>
                  </a:lnTo>
                  <a:lnTo>
                    <a:pt x="201" y="310"/>
                  </a:lnTo>
                  <a:lnTo>
                    <a:pt x="201" y="310"/>
                  </a:lnTo>
                  <a:lnTo>
                    <a:pt x="195" y="310"/>
                  </a:lnTo>
                  <a:lnTo>
                    <a:pt x="186" y="310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287"/>
                  </a:lnTo>
                  <a:lnTo>
                    <a:pt x="173" y="287"/>
                  </a:lnTo>
                  <a:lnTo>
                    <a:pt x="170" y="284"/>
                  </a:lnTo>
                  <a:lnTo>
                    <a:pt x="165" y="278"/>
                  </a:lnTo>
                  <a:lnTo>
                    <a:pt x="158" y="272"/>
                  </a:lnTo>
                  <a:lnTo>
                    <a:pt x="158" y="217"/>
                  </a:lnTo>
                  <a:lnTo>
                    <a:pt x="147" y="198"/>
                  </a:lnTo>
                  <a:lnTo>
                    <a:pt x="131" y="198"/>
                  </a:lnTo>
                  <a:lnTo>
                    <a:pt x="131" y="198"/>
                  </a:lnTo>
                  <a:lnTo>
                    <a:pt x="131" y="195"/>
                  </a:lnTo>
                  <a:lnTo>
                    <a:pt x="128" y="192"/>
                  </a:lnTo>
                  <a:lnTo>
                    <a:pt x="125" y="190"/>
                  </a:lnTo>
                  <a:lnTo>
                    <a:pt x="121" y="189"/>
                  </a:lnTo>
                  <a:lnTo>
                    <a:pt x="121" y="189"/>
                  </a:lnTo>
                  <a:lnTo>
                    <a:pt x="116" y="42"/>
                  </a:lnTo>
                  <a:lnTo>
                    <a:pt x="118" y="42"/>
                  </a:lnTo>
                  <a:lnTo>
                    <a:pt x="118" y="42"/>
                  </a:lnTo>
                  <a:lnTo>
                    <a:pt x="124" y="34"/>
                  </a:lnTo>
                  <a:lnTo>
                    <a:pt x="127" y="2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0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19" y="10"/>
                  </a:lnTo>
                  <a:lnTo>
                    <a:pt x="116" y="4"/>
                  </a:lnTo>
                  <a:lnTo>
                    <a:pt x="113" y="1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4" y="1"/>
                  </a:lnTo>
                  <a:lnTo>
                    <a:pt x="101" y="4"/>
                  </a:lnTo>
                  <a:lnTo>
                    <a:pt x="98" y="10"/>
                  </a:lnTo>
                  <a:lnTo>
                    <a:pt x="97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9" y="28"/>
                  </a:lnTo>
                  <a:lnTo>
                    <a:pt x="92" y="34"/>
                  </a:lnTo>
                  <a:lnTo>
                    <a:pt x="98" y="42"/>
                  </a:lnTo>
                  <a:lnTo>
                    <a:pt x="98" y="42"/>
                  </a:lnTo>
                  <a:lnTo>
                    <a:pt x="97" y="189"/>
                  </a:lnTo>
                  <a:lnTo>
                    <a:pt x="97" y="189"/>
                  </a:lnTo>
                  <a:lnTo>
                    <a:pt x="92" y="190"/>
                  </a:lnTo>
                  <a:lnTo>
                    <a:pt x="89" y="192"/>
                  </a:lnTo>
                  <a:lnTo>
                    <a:pt x="88" y="195"/>
                  </a:lnTo>
                  <a:lnTo>
                    <a:pt x="88" y="198"/>
                  </a:lnTo>
                  <a:lnTo>
                    <a:pt x="79" y="198"/>
                  </a:lnTo>
                  <a:lnTo>
                    <a:pt x="79" y="241"/>
                  </a:lnTo>
                  <a:lnTo>
                    <a:pt x="71" y="245"/>
                  </a:lnTo>
                  <a:lnTo>
                    <a:pt x="71" y="256"/>
                  </a:lnTo>
                  <a:lnTo>
                    <a:pt x="64" y="256"/>
                  </a:lnTo>
                  <a:lnTo>
                    <a:pt x="64" y="288"/>
                  </a:lnTo>
                  <a:lnTo>
                    <a:pt x="48" y="306"/>
                  </a:lnTo>
                  <a:lnTo>
                    <a:pt x="48" y="339"/>
                  </a:lnTo>
                  <a:lnTo>
                    <a:pt x="36" y="351"/>
                  </a:lnTo>
                  <a:lnTo>
                    <a:pt x="36" y="373"/>
                  </a:lnTo>
                  <a:lnTo>
                    <a:pt x="24" y="373"/>
                  </a:lnTo>
                  <a:lnTo>
                    <a:pt x="0" y="406"/>
                  </a:lnTo>
                  <a:lnTo>
                    <a:pt x="259" y="410"/>
                  </a:lnTo>
                  <a:lnTo>
                    <a:pt x="259" y="388"/>
                  </a:lnTo>
                  <a:lnTo>
                    <a:pt x="259" y="388"/>
                  </a:lnTo>
                  <a:lnTo>
                    <a:pt x="250" y="382"/>
                  </a:lnTo>
                  <a:lnTo>
                    <a:pt x="243" y="377"/>
                  </a:lnTo>
                  <a:lnTo>
                    <a:pt x="240" y="374"/>
                  </a:lnTo>
                  <a:lnTo>
                    <a:pt x="240" y="3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8" name="Freeform 222"/>
            <p:cNvSpPr>
              <a:spLocks noEditPoints="1"/>
            </p:cNvSpPr>
            <p:nvPr/>
          </p:nvSpPr>
          <p:spPr bwMode="auto">
            <a:xfrm>
              <a:off x="8717002" y="5950427"/>
              <a:ext cx="1365732" cy="783443"/>
            </a:xfrm>
            <a:custGeom>
              <a:avLst/>
              <a:gdLst>
                <a:gd name="T0" fmla="*/ 570 w 1032"/>
                <a:gd name="T1" fmla="*/ 204 h 592"/>
                <a:gd name="T2" fmla="*/ 602 w 1032"/>
                <a:gd name="T3" fmla="*/ 192 h 592"/>
                <a:gd name="T4" fmla="*/ 588 w 1032"/>
                <a:gd name="T5" fmla="*/ 160 h 592"/>
                <a:gd name="T6" fmla="*/ 548 w 1032"/>
                <a:gd name="T7" fmla="*/ 104 h 592"/>
                <a:gd name="T8" fmla="*/ 540 w 1032"/>
                <a:gd name="T9" fmla="*/ 80 h 592"/>
                <a:gd name="T10" fmla="*/ 526 w 1032"/>
                <a:gd name="T11" fmla="*/ 64 h 592"/>
                <a:gd name="T12" fmla="*/ 474 w 1032"/>
                <a:gd name="T13" fmla="*/ 2 h 592"/>
                <a:gd name="T14" fmla="*/ 494 w 1032"/>
                <a:gd name="T15" fmla="*/ 76 h 592"/>
                <a:gd name="T16" fmla="*/ 462 w 1032"/>
                <a:gd name="T17" fmla="*/ 104 h 592"/>
                <a:gd name="T18" fmla="*/ 510 w 1032"/>
                <a:gd name="T19" fmla="*/ 116 h 592"/>
                <a:gd name="T20" fmla="*/ 476 w 1032"/>
                <a:gd name="T21" fmla="*/ 120 h 592"/>
                <a:gd name="T22" fmla="*/ 464 w 1032"/>
                <a:gd name="T23" fmla="*/ 148 h 592"/>
                <a:gd name="T24" fmla="*/ 456 w 1032"/>
                <a:gd name="T25" fmla="*/ 184 h 592"/>
                <a:gd name="T26" fmla="*/ 434 w 1032"/>
                <a:gd name="T27" fmla="*/ 204 h 592"/>
                <a:gd name="T28" fmla="*/ 0 w 1032"/>
                <a:gd name="T29" fmla="*/ 278 h 592"/>
                <a:gd name="T30" fmla="*/ 60 w 1032"/>
                <a:gd name="T31" fmla="*/ 344 h 592"/>
                <a:gd name="T32" fmla="*/ 70 w 1032"/>
                <a:gd name="T33" fmla="*/ 532 h 592"/>
                <a:gd name="T34" fmla="*/ 56 w 1032"/>
                <a:gd name="T35" fmla="*/ 554 h 592"/>
                <a:gd name="T36" fmla="*/ 970 w 1032"/>
                <a:gd name="T37" fmla="*/ 546 h 592"/>
                <a:gd name="T38" fmla="*/ 958 w 1032"/>
                <a:gd name="T39" fmla="*/ 370 h 592"/>
                <a:gd name="T40" fmla="*/ 988 w 1032"/>
                <a:gd name="T41" fmla="*/ 330 h 592"/>
                <a:gd name="T42" fmla="*/ 158 w 1032"/>
                <a:gd name="T43" fmla="*/ 532 h 592"/>
                <a:gd name="T44" fmla="*/ 142 w 1032"/>
                <a:gd name="T45" fmla="*/ 546 h 592"/>
                <a:gd name="T46" fmla="*/ 112 w 1032"/>
                <a:gd name="T47" fmla="*/ 538 h 592"/>
                <a:gd name="T48" fmla="*/ 108 w 1032"/>
                <a:gd name="T49" fmla="*/ 362 h 592"/>
                <a:gd name="T50" fmla="*/ 158 w 1032"/>
                <a:gd name="T51" fmla="*/ 532 h 592"/>
                <a:gd name="T52" fmla="*/ 228 w 1032"/>
                <a:gd name="T53" fmla="*/ 546 h 592"/>
                <a:gd name="T54" fmla="*/ 196 w 1032"/>
                <a:gd name="T55" fmla="*/ 542 h 592"/>
                <a:gd name="T56" fmla="*/ 190 w 1032"/>
                <a:gd name="T57" fmla="*/ 362 h 592"/>
                <a:gd name="T58" fmla="*/ 240 w 1032"/>
                <a:gd name="T59" fmla="*/ 370 h 592"/>
                <a:gd name="T60" fmla="*/ 310 w 1032"/>
                <a:gd name="T61" fmla="*/ 542 h 592"/>
                <a:gd name="T62" fmla="*/ 282 w 1032"/>
                <a:gd name="T63" fmla="*/ 542 h 592"/>
                <a:gd name="T64" fmla="*/ 272 w 1032"/>
                <a:gd name="T65" fmla="*/ 370 h 592"/>
                <a:gd name="T66" fmla="*/ 320 w 1032"/>
                <a:gd name="T67" fmla="*/ 370 h 592"/>
                <a:gd name="T68" fmla="*/ 574 w 1032"/>
                <a:gd name="T69" fmla="*/ 170 h 592"/>
                <a:gd name="T70" fmla="*/ 556 w 1032"/>
                <a:gd name="T71" fmla="*/ 174 h 592"/>
                <a:gd name="T72" fmla="*/ 546 w 1032"/>
                <a:gd name="T73" fmla="*/ 130 h 592"/>
                <a:gd name="T74" fmla="*/ 544 w 1032"/>
                <a:gd name="T75" fmla="*/ 110 h 592"/>
                <a:gd name="T76" fmla="*/ 548 w 1032"/>
                <a:gd name="T77" fmla="*/ 162 h 592"/>
                <a:gd name="T78" fmla="*/ 552 w 1032"/>
                <a:gd name="T79" fmla="*/ 150 h 592"/>
                <a:gd name="T80" fmla="*/ 496 w 1032"/>
                <a:gd name="T81" fmla="*/ 152 h 592"/>
                <a:gd name="T82" fmla="*/ 514 w 1032"/>
                <a:gd name="T83" fmla="*/ 170 h 592"/>
                <a:gd name="T84" fmla="*/ 490 w 1032"/>
                <a:gd name="T85" fmla="*/ 152 h 592"/>
                <a:gd name="T86" fmla="*/ 502 w 1032"/>
                <a:gd name="T87" fmla="*/ 180 h 592"/>
                <a:gd name="T88" fmla="*/ 486 w 1032"/>
                <a:gd name="T89" fmla="*/ 178 h 592"/>
                <a:gd name="T90" fmla="*/ 464 w 1032"/>
                <a:gd name="T91" fmla="*/ 180 h 592"/>
                <a:gd name="T92" fmla="*/ 588 w 1032"/>
                <a:gd name="T93" fmla="*/ 554 h 592"/>
                <a:gd name="T94" fmla="*/ 464 w 1032"/>
                <a:gd name="T95" fmla="*/ 336 h 592"/>
                <a:gd name="T96" fmla="*/ 542 w 1032"/>
                <a:gd name="T97" fmla="*/ 314 h 592"/>
                <a:gd name="T98" fmla="*/ 588 w 1032"/>
                <a:gd name="T99" fmla="*/ 380 h 592"/>
                <a:gd name="T100" fmla="*/ 752 w 1032"/>
                <a:gd name="T101" fmla="*/ 538 h 592"/>
                <a:gd name="T102" fmla="*/ 726 w 1032"/>
                <a:gd name="T103" fmla="*/ 546 h 592"/>
                <a:gd name="T104" fmla="*/ 710 w 1032"/>
                <a:gd name="T105" fmla="*/ 532 h 592"/>
                <a:gd name="T106" fmla="*/ 756 w 1032"/>
                <a:gd name="T107" fmla="*/ 362 h 592"/>
                <a:gd name="T108" fmla="*/ 840 w 1032"/>
                <a:gd name="T109" fmla="*/ 538 h 592"/>
                <a:gd name="T110" fmla="*/ 806 w 1032"/>
                <a:gd name="T111" fmla="*/ 554 h 592"/>
                <a:gd name="T112" fmla="*/ 794 w 1032"/>
                <a:gd name="T113" fmla="*/ 532 h 592"/>
                <a:gd name="T114" fmla="*/ 838 w 1032"/>
                <a:gd name="T115" fmla="*/ 344 h 592"/>
                <a:gd name="T116" fmla="*/ 924 w 1032"/>
                <a:gd name="T117" fmla="*/ 532 h 592"/>
                <a:gd name="T118" fmla="*/ 912 w 1032"/>
                <a:gd name="T119" fmla="*/ 554 h 592"/>
                <a:gd name="T120" fmla="*/ 876 w 1032"/>
                <a:gd name="T121" fmla="*/ 538 h 592"/>
                <a:gd name="T122" fmla="*/ 878 w 1032"/>
                <a:gd name="T123" fmla="*/ 344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32" h="592">
                  <a:moveTo>
                    <a:pt x="686" y="278"/>
                  </a:moveTo>
                  <a:lnTo>
                    <a:pt x="686" y="218"/>
                  </a:lnTo>
                  <a:lnTo>
                    <a:pt x="690" y="218"/>
                  </a:lnTo>
                  <a:lnTo>
                    <a:pt x="690" y="210"/>
                  </a:lnTo>
                  <a:lnTo>
                    <a:pt x="698" y="210"/>
                  </a:lnTo>
                  <a:lnTo>
                    <a:pt x="698" y="204"/>
                  </a:lnTo>
                  <a:lnTo>
                    <a:pt x="570" y="204"/>
                  </a:lnTo>
                  <a:lnTo>
                    <a:pt x="570" y="204"/>
                  </a:lnTo>
                  <a:lnTo>
                    <a:pt x="582" y="184"/>
                  </a:lnTo>
                  <a:lnTo>
                    <a:pt x="582" y="184"/>
                  </a:lnTo>
                  <a:lnTo>
                    <a:pt x="588" y="172"/>
                  </a:lnTo>
                  <a:lnTo>
                    <a:pt x="600" y="190"/>
                  </a:lnTo>
                  <a:lnTo>
                    <a:pt x="600" y="190"/>
                  </a:lnTo>
                  <a:lnTo>
                    <a:pt x="602" y="192"/>
                  </a:lnTo>
                  <a:lnTo>
                    <a:pt x="602" y="192"/>
                  </a:lnTo>
                  <a:lnTo>
                    <a:pt x="604" y="192"/>
                  </a:lnTo>
                  <a:lnTo>
                    <a:pt x="604" y="192"/>
                  </a:lnTo>
                  <a:lnTo>
                    <a:pt x="606" y="190"/>
                  </a:lnTo>
                  <a:lnTo>
                    <a:pt x="606" y="188"/>
                  </a:lnTo>
                  <a:lnTo>
                    <a:pt x="588" y="160"/>
                  </a:lnTo>
                  <a:lnTo>
                    <a:pt x="588" y="160"/>
                  </a:lnTo>
                  <a:lnTo>
                    <a:pt x="586" y="152"/>
                  </a:lnTo>
                  <a:lnTo>
                    <a:pt x="586" y="152"/>
                  </a:lnTo>
                  <a:lnTo>
                    <a:pt x="584" y="144"/>
                  </a:lnTo>
                  <a:lnTo>
                    <a:pt x="580" y="142"/>
                  </a:lnTo>
                  <a:lnTo>
                    <a:pt x="578" y="140"/>
                  </a:lnTo>
                  <a:lnTo>
                    <a:pt x="574" y="142"/>
                  </a:lnTo>
                  <a:lnTo>
                    <a:pt x="548" y="104"/>
                  </a:lnTo>
                  <a:lnTo>
                    <a:pt x="548" y="104"/>
                  </a:lnTo>
                  <a:lnTo>
                    <a:pt x="550" y="98"/>
                  </a:lnTo>
                  <a:lnTo>
                    <a:pt x="548" y="90"/>
                  </a:lnTo>
                  <a:lnTo>
                    <a:pt x="548" y="90"/>
                  </a:lnTo>
                  <a:lnTo>
                    <a:pt x="548" y="88"/>
                  </a:lnTo>
                  <a:lnTo>
                    <a:pt x="546" y="84"/>
                  </a:lnTo>
                  <a:lnTo>
                    <a:pt x="540" y="80"/>
                  </a:lnTo>
                  <a:lnTo>
                    <a:pt x="532" y="78"/>
                  </a:lnTo>
                  <a:lnTo>
                    <a:pt x="532" y="78"/>
                  </a:lnTo>
                  <a:lnTo>
                    <a:pt x="534" y="72"/>
                  </a:lnTo>
                  <a:lnTo>
                    <a:pt x="532" y="68"/>
                  </a:lnTo>
                  <a:lnTo>
                    <a:pt x="530" y="66"/>
                  </a:lnTo>
                  <a:lnTo>
                    <a:pt x="526" y="64"/>
                  </a:lnTo>
                  <a:lnTo>
                    <a:pt x="526" y="64"/>
                  </a:lnTo>
                  <a:lnTo>
                    <a:pt x="522" y="64"/>
                  </a:lnTo>
                  <a:lnTo>
                    <a:pt x="478" y="2"/>
                  </a:lnTo>
                  <a:lnTo>
                    <a:pt x="478" y="2"/>
                  </a:lnTo>
                  <a:lnTo>
                    <a:pt x="476" y="0"/>
                  </a:lnTo>
                  <a:lnTo>
                    <a:pt x="474" y="0"/>
                  </a:lnTo>
                  <a:lnTo>
                    <a:pt x="474" y="0"/>
                  </a:lnTo>
                  <a:lnTo>
                    <a:pt x="474" y="2"/>
                  </a:lnTo>
                  <a:lnTo>
                    <a:pt x="474" y="4"/>
                  </a:lnTo>
                  <a:lnTo>
                    <a:pt x="516" y="68"/>
                  </a:lnTo>
                  <a:lnTo>
                    <a:pt x="516" y="68"/>
                  </a:lnTo>
                  <a:lnTo>
                    <a:pt x="512" y="74"/>
                  </a:lnTo>
                  <a:lnTo>
                    <a:pt x="512" y="74"/>
                  </a:lnTo>
                  <a:lnTo>
                    <a:pt x="502" y="74"/>
                  </a:lnTo>
                  <a:lnTo>
                    <a:pt x="494" y="76"/>
                  </a:lnTo>
                  <a:lnTo>
                    <a:pt x="482" y="84"/>
                  </a:lnTo>
                  <a:lnTo>
                    <a:pt x="482" y="84"/>
                  </a:lnTo>
                  <a:lnTo>
                    <a:pt x="464" y="98"/>
                  </a:lnTo>
                  <a:lnTo>
                    <a:pt x="460" y="102"/>
                  </a:lnTo>
                  <a:lnTo>
                    <a:pt x="460" y="104"/>
                  </a:lnTo>
                  <a:lnTo>
                    <a:pt x="462" y="104"/>
                  </a:lnTo>
                  <a:lnTo>
                    <a:pt x="462" y="104"/>
                  </a:lnTo>
                  <a:lnTo>
                    <a:pt x="472" y="104"/>
                  </a:lnTo>
                  <a:lnTo>
                    <a:pt x="484" y="104"/>
                  </a:lnTo>
                  <a:lnTo>
                    <a:pt x="502" y="100"/>
                  </a:lnTo>
                  <a:lnTo>
                    <a:pt x="502" y="100"/>
                  </a:lnTo>
                  <a:lnTo>
                    <a:pt x="502" y="106"/>
                  </a:lnTo>
                  <a:lnTo>
                    <a:pt x="504" y="110"/>
                  </a:lnTo>
                  <a:lnTo>
                    <a:pt x="510" y="116"/>
                  </a:lnTo>
                  <a:lnTo>
                    <a:pt x="510" y="116"/>
                  </a:lnTo>
                  <a:lnTo>
                    <a:pt x="510" y="116"/>
                  </a:lnTo>
                  <a:lnTo>
                    <a:pt x="510" y="118"/>
                  </a:lnTo>
                  <a:lnTo>
                    <a:pt x="504" y="118"/>
                  </a:lnTo>
                  <a:lnTo>
                    <a:pt x="484" y="120"/>
                  </a:lnTo>
                  <a:lnTo>
                    <a:pt x="484" y="120"/>
                  </a:lnTo>
                  <a:lnTo>
                    <a:pt x="476" y="120"/>
                  </a:lnTo>
                  <a:lnTo>
                    <a:pt x="470" y="124"/>
                  </a:lnTo>
                  <a:lnTo>
                    <a:pt x="466" y="130"/>
                  </a:lnTo>
                  <a:lnTo>
                    <a:pt x="464" y="136"/>
                  </a:lnTo>
                  <a:lnTo>
                    <a:pt x="464" y="136"/>
                  </a:lnTo>
                  <a:lnTo>
                    <a:pt x="464" y="138"/>
                  </a:lnTo>
                  <a:lnTo>
                    <a:pt x="464" y="138"/>
                  </a:lnTo>
                  <a:lnTo>
                    <a:pt x="464" y="148"/>
                  </a:lnTo>
                  <a:lnTo>
                    <a:pt x="460" y="156"/>
                  </a:lnTo>
                  <a:lnTo>
                    <a:pt x="452" y="168"/>
                  </a:lnTo>
                  <a:lnTo>
                    <a:pt x="452" y="168"/>
                  </a:lnTo>
                  <a:lnTo>
                    <a:pt x="450" y="172"/>
                  </a:lnTo>
                  <a:lnTo>
                    <a:pt x="452" y="176"/>
                  </a:lnTo>
                  <a:lnTo>
                    <a:pt x="454" y="184"/>
                  </a:lnTo>
                  <a:lnTo>
                    <a:pt x="456" y="184"/>
                  </a:lnTo>
                  <a:lnTo>
                    <a:pt x="456" y="184"/>
                  </a:lnTo>
                  <a:lnTo>
                    <a:pt x="448" y="188"/>
                  </a:lnTo>
                  <a:lnTo>
                    <a:pt x="448" y="188"/>
                  </a:lnTo>
                  <a:lnTo>
                    <a:pt x="444" y="188"/>
                  </a:lnTo>
                  <a:lnTo>
                    <a:pt x="442" y="192"/>
                  </a:lnTo>
                  <a:lnTo>
                    <a:pt x="434" y="204"/>
                  </a:lnTo>
                  <a:lnTo>
                    <a:pt x="434" y="204"/>
                  </a:lnTo>
                  <a:lnTo>
                    <a:pt x="338" y="204"/>
                  </a:lnTo>
                  <a:lnTo>
                    <a:pt x="338" y="210"/>
                  </a:lnTo>
                  <a:lnTo>
                    <a:pt x="346" y="210"/>
                  </a:lnTo>
                  <a:lnTo>
                    <a:pt x="346" y="218"/>
                  </a:lnTo>
                  <a:lnTo>
                    <a:pt x="350" y="218"/>
                  </a:lnTo>
                  <a:lnTo>
                    <a:pt x="350" y="278"/>
                  </a:lnTo>
                  <a:lnTo>
                    <a:pt x="0" y="278"/>
                  </a:lnTo>
                  <a:lnTo>
                    <a:pt x="0" y="290"/>
                  </a:lnTo>
                  <a:lnTo>
                    <a:pt x="18" y="304"/>
                  </a:lnTo>
                  <a:lnTo>
                    <a:pt x="34" y="304"/>
                  </a:lnTo>
                  <a:lnTo>
                    <a:pt x="44" y="314"/>
                  </a:lnTo>
                  <a:lnTo>
                    <a:pt x="44" y="330"/>
                  </a:lnTo>
                  <a:lnTo>
                    <a:pt x="60" y="330"/>
                  </a:lnTo>
                  <a:lnTo>
                    <a:pt x="60" y="344"/>
                  </a:lnTo>
                  <a:lnTo>
                    <a:pt x="68" y="344"/>
                  </a:lnTo>
                  <a:lnTo>
                    <a:pt x="68" y="362"/>
                  </a:lnTo>
                  <a:lnTo>
                    <a:pt x="72" y="362"/>
                  </a:lnTo>
                  <a:lnTo>
                    <a:pt x="72" y="370"/>
                  </a:lnTo>
                  <a:lnTo>
                    <a:pt x="74" y="370"/>
                  </a:lnTo>
                  <a:lnTo>
                    <a:pt x="74" y="532"/>
                  </a:lnTo>
                  <a:lnTo>
                    <a:pt x="70" y="532"/>
                  </a:lnTo>
                  <a:lnTo>
                    <a:pt x="70" y="538"/>
                  </a:lnTo>
                  <a:lnTo>
                    <a:pt x="64" y="538"/>
                  </a:lnTo>
                  <a:lnTo>
                    <a:pt x="64" y="542"/>
                  </a:lnTo>
                  <a:lnTo>
                    <a:pt x="60" y="542"/>
                  </a:lnTo>
                  <a:lnTo>
                    <a:pt x="60" y="546"/>
                  </a:lnTo>
                  <a:lnTo>
                    <a:pt x="56" y="546"/>
                  </a:lnTo>
                  <a:lnTo>
                    <a:pt x="56" y="554"/>
                  </a:lnTo>
                  <a:lnTo>
                    <a:pt x="34" y="554"/>
                  </a:lnTo>
                  <a:lnTo>
                    <a:pt x="34" y="592"/>
                  </a:lnTo>
                  <a:lnTo>
                    <a:pt x="1004" y="592"/>
                  </a:lnTo>
                  <a:lnTo>
                    <a:pt x="1004" y="554"/>
                  </a:lnTo>
                  <a:lnTo>
                    <a:pt x="974" y="554"/>
                  </a:lnTo>
                  <a:lnTo>
                    <a:pt x="974" y="546"/>
                  </a:lnTo>
                  <a:lnTo>
                    <a:pt x="970" y="546"/>
                  </a:lnTo>
                  <a:lnTo>
                    <a:pt x="970" y="542"/>
                  </a:lnTo>
                  <a:lnTo>
                    <a:pt x="966" y="542"/>
                  </a:lnTo>
                  <a:lnTo>
                    <a:pt x="966" y="538"/>
                  </a:lnTo>
                  <a:lnTo>
                    <a:pt x="962" y="538"/>
                  </a:lnTo>
                  <a:lnTo>
                    <a:pt x="962" y="532"/>
                  </a:lnTo>
                  <a:lnTo>
                    <a:pt x="958" y="532"/>
                  </a:lnTo>
                  <a:lnTo>
                    <a:pt x="958" y="370"/>
                  </a:lnTo>
                  <a:lnTo>
                    <a:pt x="960" y="370"/>
                  </a:lnTo>
                  <a:lnTo>
                    <a:pt x="960" y="362"/>
                  </a:lnTo>
                  <a:lnTo>
                    <a:pt x="964" y="362"/>
                  </a:lnTo>
                  <a:lnTo>
                    <a:pt x="964" y="344"/>
                  </a:lnTo>
                  <a:lnTo>
                    <a:pt x="972" y="344"/>
                  </a:lnTo>
                  <a:lnTo>
                    <a:pt x="972" y="330"/>
                  </a:lnTo>
                  <a:lnTo>
                    <a:pt x="988" y="330"/>
                  </a:lnTo>
                  <a:lnTo>
                    <a:pt x="988" y="314"/>
                  </a:lnTo>
                  <a:lnTo>
                    <a:pt x="998" y="304"/>
                  </a:lnTo>
                  <a:lnTo>
                    <a:pt x="1014" y="304"/>
                  </a:lnTo>
                  <a:lnTo>
                    <a:pt x="1032" y="290"/>
                  </a:lnTo>
                  <a:lnTo>
                    <a:pt x="1032" y="278"/>
                  </a:lnTo>
                  <a:lnTo>
                    <a:pt x="686" y="278"/>
                  </a:lnTo>
                  <a:close/>
                  <a:moveTo>
                    <a:pt x="158" y="532"/>
                  </a:moveTo>
                  <a:lnTo>
                    <a:pt x="154" y="532"/>
                  </a:lnTo>
                  <a:lnTo>
                    <a:pt x="154" y="538"/>
                  </a:lnTo>
                  <a:lnTo>
                    <a:pt x="150" y="538"/>
                  </a:lnTo>
                  <a:lnTo>
                    <a:pt x="150" y="542"/>
                  </a:lnTo>
                  <a:lnTo>
                    <a:pt x="146" y="542"/>
                  </a:lnTo>
                  <a:lnTo>
                    <a:pt x="146" y="546"/>
                  </a:lnTo>
                  <a:lnTo>
                    <a:pt x="142" y="546"/>
                  </a:lnTo>
                  <a:lnTo>
                    <a:pt x="142" y="554"/>
                  </a:lnTo>
                  <a:lnTo>
                    <a:pt x="120" y="554"/>
                  </a:lnTo>
                  <a:lnTo>
                    <a:pt x="120" y="546"/>
                  </a:lnTo>
                  <a:lnTo>
                    <a:pt x="116" y="546"/>
                  </a:lnTo>
                  <a:lnTo>
                    <a:pt x="116" y="542"/>
                  </a:lnTo>
                  <a:lnTo>
                    <a:pt x="112" y="542"/>
                  </a:lnTo>
                  <a:lnTo>
                    <a:pt x="112" y="538"/>
                  </a:lnTo>
                  <a:lnTo>
                    <a:pt x="106" y="538"/>
                  </a:lnTo>
                  <a:lnTo>
                    <a:pt x="106" y="532"/>
                  </a:lnTo>
                  <a:lnTo>
                    <a:pt x="102" y="532"/>
                  </a:lnTo>
                  <a:lnTo>
                    <a:pt x="102" y="370"/>
                  </a:lnTo>
                  <a:lnTo>
                    <a:pt x="104" y="370"/>
                  </a:lnTo>
                  <a:lnTo>
                    <a:pt x="104" y="362"/>
                  </a:lnTo>
                  <a:lnTo>
                    <a:pt x="108" y="362"/>
                  </a:lnTo>
                  <a:lnTo>
                    <a:pt x="108" y="344"/>
                  </a:lnTo>
                  <a:lnTo>
                    <a:pt x="152" y="344"/>
                  </a:lnTo>
                  <a:lnTo>
                    <a:pt x="152" y="362"/>
                  </a:lnTo>
                  <a:lnTo>
                    <a:pt x="156" y="362"/>
                  </a:lnTo>
                  <a:lnTo>
                    <a:pt x="156" y="370"/>
                  </a:lnTo>
                  <a:lnTo>
                    <a:pt x="158" y="370"/>
                  </a:lnTo>
                  <a:lnTo>
                    <a:pt x="158" y="532"/>
                  </a:lnTo>
                  <a:close/>
                  <a:moveTo>
                    <a:pt x="240" y="532"/>
                  </a:moveTo>
                  <a:lnTo>
                    <a:pt x="238" y="532"/>
                  </a:lnTo>
                  <a:lnTo>
                    <a:pt x="238" y="538"/>
                  </a:lnTo>
                  <a:lnTo>
                    <a:pt x="232" y="538"/>
                  </a:lnTo>
                  <a:lnTo>
                    <a:pt x="232" y="542"/>
                  </a:lnTo>
                  <a:lnTo>
                    <a:pt x="228" y="542"/>
                  </a:lnTo>
                  <a:lnTo>
                    <a:pt x="228" y="546"/>
                  </a:lnTo>
                  <a:lnTo>
                    <a:pt x="224" y="546"/>
                  </a:lnTo>
                  <a:lnTo>
                    <a:pt x="224" y="554"/>
                  </a:lnTo>
                  <a:lnTo>
                    <a:pt x="204" y="554"/>
                  </a:lnTo>
                  <a:lnTo>
                    <a:pt x="204" y="546"/>
                  </a:lnTo>
                  <a:lnTo>
                    <a:pt x="200" y="546"/>
                  </a:lnTo>
                  <a:lnTo>
                    <a:pt x="200" y="542"/>
                  </a:lnTo>
                  <a:lnTo>
                    <a:pt x="196" y="542"/>
                  </a:lnTo>
                  <a:lnTo>
                    <a:pt x="196" y="538"/>
                  </a:lnTo>
                  <a:lnTo>
                    <a:pt x="192" y="538"/>
                  </a:lnTo>
                  <a:lnTo>
                    <a:pt x="192" y="532"/>
                  </a:lnTo>
                  <a:lnTo>
                    <a:pt x="188" y="532"/>
                  </a:lnTo>
                  <a:lnTo>
                    <a:pt x="188" y="370"/>
                  </a:lnTo>
                  <a:lnTo>
                    <a:pt x="190" y="370"/>
                  </a:lnTo>
                  <a:lnTo>
                    <a:pt x="190" y="362"/>
                  </a:lnTo>
                  <a:lnTo>
                    <a:pt x="194" y="362"/>
                  </a:lnTo>
                  <a:lnTo>
                    <a:pt x="194" y="344"/>
                  </a:lnTo>
                  <a:lnTo>
                    <a:pt x="236" y="344"/>
                  </a:lnTo>
                  <a:lnTo>
                    <a:pt x="236" y="362"/>
                  </a:lnTo>
                  <a:lnTo>
                    <a:pt x="238" y="362"/>
                  </a:lnTo>
                  <a:lnTo>
                    <a:pt x="238" y="370"/>
                  </a:lnTo>
                  <a:lnTo>
                    <a:pt x="240" y="370"/>
                  </a:lnTo>
                  <a:lnTo>
                    <a:pt x="240" y="532"/>
                  </a:lnTo>
                  <a:close/>
                  <a:moveTo>
                    <a:pt x="322" y="532"/>
                  </a:moveTo>
                  <a:lnTo>
                    <a:pt x="318" y="532"/>
                  </a:lnTo>
                  <a:lnTo>
                    <a:pt x="318" y="538"/>
                  </a:lnTo>
                  <a:lnTo>
                    <a:pt x="312" y="538"/>
                  </a:lnTo>
                  <a:lnTo>
                    <a:pt x="312" y="542"/>
                  </a:lnTo>
                  <a:lnTo>
                    <a:pt x="310" y="542"/>
                  </a:lnTo>
                  <a:lnTo>
                    <a:pt x="310" y="546"/>
                  </a:lnTo>
                  <a:lnTo>
                    <a:pt x="306" y="546"/>
                  </a:lnTo>
                  <a:lnTo>
                    <a:pt x="306" y="554"/>
                  </a:lnTo>
                  <a:lnTo>
                    <a:pt x="286" y="554"/>
                  </a:lnTo>
                  <a:lnTo>
                    <a:pt x="286" y="546"/>
                  </a:lnTo>
                  <a:lnTo>
                    <a:pt x="282" y="546"/>
                  </a:lnTo>
                  <a:lnTo>
                    <a:pt x="282" y="542"/>
                  </a:lnTo>
                  <a:lnTo>
                    <a:pt x="280" y="542"/>
                  </a:lnTo>
                  <a:lnTo>
                    <a:pt x="280" y="538"/>
                  </a:lnTo>
                  <a:lnTo>
                    <a:pt x="274" y="538"/>
                  </a:lnTo>
                  <a:lnTo>
                    <a:pt x="274" y="532"/>
                  </a:lnTo>
                  <a:lnTo>
                    <a:pt x="270" y="532"/>
                  </a:lnTo>
                  <a:lnTo>
                    <a:pt x="270" y="370"/>
                  </a:lnTo>
                  <a:lnTo>
                    <a:pt x="272" y="370"/>
                  </a:lnTo>
                  <a:lnTo>
                    <a:pt x="272" y="362"/>
                  </a:lnTo>
                  <a:lnTo>
                    <a:pt x="276" y="362"/>
                  </a:lnTo>
                  <a:lnTo>
                    <a:pt x="276" y="344"/>
                  </a:lnTo>
                  <a:lnTo>
                    <a:pt x="316" y="344"/>
                  </a:lnTo>
                  <a:lnTo>
                    <a:pt x="316" y="362"/>
                  </a:lnTo>
                  <a:lnTo>
                    <a:pt x="320" y="362"/>
                  </a:lnTo>
                  <a:lnTo>
                    <a:pt x="320" y="370"/>
                  </a:lnTo>
                  <a:lnTo>
                    <a:pt x="322" y="370"/>
                  </a:lnTo>
                  <a:lnTo>
                    <a:pt x="322" y="532"/>
                  </a:lnTo>
                  <a:close/>
                  <a:moveTo>
                    <a:pt x="570" y="146"/>
                  </a:moveTo>
                  <a:lnTo>
                    <a:pt x="570" y="146"/>
                  </a:lnTo>
                  <a:lnTo>
                    <a:pt x="574" y="164"/>
                  </a:lnTo>
                  <a:lnTo>
                    <a:pt x="574" y="164"/>
                  </a:lnTo>
                  <a:lnTo>
                    <a:pt x="574" y="170"/>
                  </a:lnTo>
                  <a:lnTo>
                    <a:pt x="570" y="176"/>
                  </a:lnTo>
                  <a:lnTo>
                    <a:pt x="562" y="184"/>
                  </a:lnTo>
                  <a:lnTo>
                    <a:pt x="562" y="184"/>
                  </a:lnTo>
                  <a:lnTo>
                    <a:pt x="558" y="186"/>
                  </a:lnTo>
                  <a:lnTo>
                    <a:pt x="556" y="186"/>
                  </a:lnTo>
                  <a:lnTo>
                    <a:pt x="554" y="182"/>
                  </a:lnTo>
                  <a:lnTo>
                    <a:pt x="556" y="174"/>
                  </a:lnTo>
                  <a:lnTo>
                    <a:pt x="556" y="174"/>
                  </a:lnTo>
                  <a:lnTo>
                    <a:pt x="558" y="170"/>
                  </a:lnTo>
                  <a:lnTo>
                    <a:pt x="560" y="166"/>
                  </a:lnTo>
                  <a:lnTo>
                    <a:pt x="562" y="158"/>
                  </a:lnTo>
                  <a:lnTo>
                    <a:pt x="560" y="152"/>
                  </a:lnTo>
                  <a:lnTo>
                    <a:pt x="560" y="150"/>
                  </a:lnTo>
                  <a:lnTo>
                    <a:pt x="546" y="130"/>
                  </a:lnTo>
                  <a:lnTo>
                    <a:pt x="546" y="130"/>
                  </a:lnTo>
                  <a:lnTo>
                    <a:pt x="546" y="130"/>
                  </a:lnTo>
                  <a:lnTo>
                    <a:pt x="542" y="128"/>
                  </a:lnTo>
                  <a:lnTo>
                    <a:pt x="540" y="126"/>
                  </a:lnTo>
                  <a:lnTo>
                    <a:pt x="542" y="112"/>
                  </a:lnTo>
                  <a:lnTo>
                    <a:pt x="542" y="112"/>
                  </a:lnTo>
                  <a:lnTo>
                    <a:pt x="544" y="110"/>
                  </a:lnTo>
                  <a:lnTo>
                    <a:pt x="570" y="146"/>
                  </a:lnTo>
                  <a:close/>
                  <a:moveTo>
                    <a:pt x="554" y="166"/>
                  </a:moveTo>
                  <a:lnTo>
                    <a:pt x="554" y="166"/>
                  </a:lnTo>
                  <a:lnTo>
                    <a:pt x="554" y="166"/>
                  </a:lnTo>
                  <a:lnTo>
                    <a:pt x="554" y="166"/>
                  </a:lnTo>
                  <a:lnTo>
                    <a:pt x="550" y="164"/>
                  </a:lnTo>
                  <a:lnTo>
                    <a:pt x="548" y="162"/>
                  </a:lnTo>
                  <a:lnTo>
                    <a:pt x="544" y="162"/>
                  </a:lnTo>
                  <a:lnTo>
                    <a:pt x="536" y="148"/>
                  </a:lnTo>
                  <a:lnTo>
                    <a:pt x="536" y="148"/>
                  </a:lnTo>
                  <a:lnTo>
                    <a:pt x="538" y="148"/>
                  </a:lnTo>
                  <a:lnTo>
                    <a:pt x="544" y="144"/>
                  </a:lnTo>
                  <a:lnTo>
                    <a:pt x="544" y="144"/>
                  </a:lnTo>
                  <a:lnTo>
                    <a:pt x="552" y="150"/>
                  </a:lnTo>
                  <a:lnTo>
                    <a:pt x="556" y="156"/>
                  </a:lnTo>
                  <a:lnTo>
                    <a:pt x="556" y="160"/>
                  </a:lnTo>
                  <a:lnTo>
                    <a:pt x="554" y="166"/>
                  </a:lnTo>
                  <a:lnTo>
                    <a:pt x="554" y="166"/>
                  </a:lnTo>
                  <a:close/>
                  <a:moveTo>
                    <a:pt x="490" y="152"/>
                  </a:moveTo>
                  <a:lnTo>
                    <a:pt x="490" y="152"/>
                  </a:lnTo>
                  <a:lnTo>
                    <a:pt x="496" y="152"/>
                  </a:lnTo>
                  <a:lnTo>
                    <a:pt x="500" y="150"/>
                  </a:lnTo>
                  <a:lnTo>
                    <a:pt x="508" y="146"/>
                  </a:lnTo>
                  <a:lnTo>
                    <a:pt x="508" y="146"/>
                  </a:lnTo>
                  <a:lnTo>
                    <a:pt x="522" y="148"/>
                  </a:lnTo>
                  <a:lnTo>
                    <a:pt x="526" y="164"/>
                  </a:lnTo>
                  <a:lnTo>
                    <a:pt x="522" y="168"/>
                  </a:lnTo>
                  <a:lnTo>
                    <a:pt x="514" y="170"/>
                  </a:lnTo>
                  <a:lnTo>
                    <a:pt x="506" y="174"/>
                  </a:lnTo>
                  <a:lnTo>
                    <a:pt x="506" y="174"/>
                  </a:lnTo>
                  <a:lnTo>
                    <a:pt x="506" y="176"/>
                  </a:lnTo>
                  <a:lnTo>
                    <a:pt x="506" y="176"/>
                  </a:lnTo>
                  <a:lnTo>
                    <a:pt x="496" y="164"/>
                  </a:lnTo>
                  <a:lnTo>
                    <a:pt x="490" y="152"/>
                  </a:lnTo>
                  <a:lnTo>
                    <a:pt x="490" y="152"/>
                  </a:lnTo>
                  <a:lnTo>
                    <a:pt x="490" y="152"/>
                  </a:lnTo>
                  <a:lnTo>
                    <a:pt x="490" y="152"/>
                  </a:lnTo>
                  <a:close/>
                  <a:moveTo>
                    <a:pt x="462" y="166"/>
                  </a:moveTo>
                  <a:lnTo>
                    <a:pt x="462" y="166"/>
                  </a:lnTo>
                  <a:lnTo>
                    <a:pt x="470" y="158"/>
                  </a:lnTo>
                  <a:lnTo>
                    <a:pt x="502" y="180"/>
                  </a:lnTo>
                  <a:lnTo>
                    <a:pt x="502" y="180"/>
                  </a:lnTo>
                  <a:lnTo>
                    <a:pt x="498" y="184"/>
                  </a:lnTo>
                  <a:lnTo>
                    <a:pt x="498" y="184"/>
                  </a:lnTo>
                  <a:lnTo>
                    <a:pt x="496" y="184"/>
                  </a:lnTo>
                  <a:lnTo>
                    <a:pt x="494" y="184"/>
                  </a:lnTo>
                  <a:lnTo>
                    <a:pt x="490" y="182"/>
                  </a:lnTo>
                  <a:lnTo>
                    <a:pt x="490" y="182"/>
                  </a:lnTo>
                  <a:lnTo>
                    <a:pt x="486" y="178"/>
                  </a:lnTo>
                  <a:lnTo>
                    <a:pt x="480" y="174"/>
                  </a:lnTo>
                  <a:lnTo>
                    <a:pt x="480" y="174"/>
                  </a:lnTo>
                  <a:lnTo>
                    <a:pt x="478" y="174"/>
                  </a:lnTo>
                  <a:lnTo>
                    <a:pt x="474" y="174"/>
                  </a:lnTo>
                  <a:lnTo>
                    <a:pt x="468" y="178"/>
                  </a:lnTo>
                  <a:lnTo>
                    <a:pt x="468" y="178"/>
                  </a:lnTo>
                  <a:lnTo>
                    <a:pt x="464" y="180"/>
                  </a:lnTo>
                  <a:lnTo>
                    <a:pt x="460" y="180"/>
                  </a:lnTo>
                  <a:lnTo>
                    <a:pt x="460" y="180"/>
                  </a:lnTo>
                  <a:lnTo>
                    <a:pt x="460" y="176"/>
                  </a:lnTo>
                  <a:lnTo>
                    <a:pt x="460" y="172"/>
                  </a:lnTo>
                  <a:lnTo>
                    <a:pt x="462" y="166"/>
                  </a:lnTo>
                  <a:lnTo>
                    <a:pt x="462" y="166"/>
                  </a:lnTo>
                  <a:close/>
                  <a:moveTo>
                    <a:pt x="588" y="554"/>
                  </a:moveTo>
                  <a:lnTo>
                    <a:pt x="448" y="554"/>
                  </a:lnTo>
                  <a:lnTo>
                    <a:pt x="448" y="380"/>
                  </a:lnTo>
                  <a:lnTo>
                    <a:pt x="448" y="380"/>
                  </a:lnTo>
                  <a:lnTo>
                    <a:pt x="448" y="370"/>
                  </a:lnTo>
                  <a:lnTo>
                    <a:pt x="452" y="358"/>
                  </a:lnTo>
                  <a:lnTo>
                    <a:pt x="456" y="346"/>
                  </a:lnTo>
                  <a:lnTo>
                    <a:pt x="464" y="336"/>
                  </a:lnTo>
                  <a:lnTo>
                    <a:pt x="472" y="326"/>
                  </a:lnTo>
                  <a:lnTo>
                    <a:pt x="484" y="320"/>
                  </a:lnTo>
                  <a:lnTo>
                    <a:pt x="496" y="314"/>
                  </a:lnTo>
                  <a:lnTo>
                    <a:pt x="510" y="310"/>
                  </a:lnTo>
                  <a:lnTo>
                    <a:pt x="528" y="310"/>
                  </a:lnTo>
                  <a:lnTo>
                    <a:pt x="528" y="310"/>
                  </a:lnTo>
                  <a:lnTo>
                    <a:pt x="542" y="314"/>
                  </a:lnTo>
                  <a:lnTo>
                    <a:pt x="554" y="320"/>
                  </a:lnTo>
                  <a:lnTo>
                    <a:pt x="564" y="326"/>
                  </a:lnTo>
                  <a:lnTo>
                    <a:pt x="574" y="336"/>
                  </a:lnTo>
                  <a:lnTo>
                    <a:pt x="580" y="346"/>
                  </a:lnTo>
                  <a:lnTo>
                    <a:pt x="584" y="358"/>
                  </a:lnTo>
                  <a:lnTo>
                    <a:pt x="588" y="370"/>
                  </a:lnTo>
                  <a:lnTo>
                    <a:pt x="588" y="380"/>
                  </a:lnTo>
                  <a:lnTo>
                    <a:pt x="588" y="380"/>
                  </a:lnTo>
                  <a:lnTo>
                    <a:pt x="588" y="554"/>
                  </a:lnTo>
                  <a:lnTo>
                    <a:pt x="588" y="554"/>
                  </a:lnTo>
                  <a:close/>
                  <a:moveTo>
                    <a:pt x="760" y="532"/>
                  </a:moveTo>
                  <a:lnTo>
                    <a:pt x="758" y="532"/>
                  </a:lnTo>
                  <a:lnTo>
                    <a:pt x="758" y="538"/>
                  </a:lnTo>
                  <a:lnTo>
                    <a:pt x="752" y="538"/>
                  </a:lnTo>
                  <a:lnTo>
                    <a:pt x="752" y="542"/>
                  </a:lnTo>
                  <a:lnTo>
                    <a:pt x="748" y="542"/>
                  </a:lnTo>
                  <a:lnTo>
                    <a:pt x="748" y="546"/>
                  </a:lnTo>
                  <a:lnTo>
                    <a:pt x="744" y="546"/>
                  </a:lnTo>
                  <a:lnTo>
                    <a:pt x="744" y="554"/>
                  </a:lnTo>
                  <a:lnTo>
                    <a:pt x="726" y="554"/>
                  </a:lnTo>
                  <a:lnTo>
                    <a:pt x="726" y="546"/>
                  </a:lnTo>
                  <a:lnTo>
                    <a:pt x="722" y="546"/>
                  </a:lnTo>
                  <a:lnTo>
                    <a:pt x="722" y="542"/>
                  </a:lnTo>
                  <a:lnTo>
                    <a:pt x="718" y="542"/>
                  </a:lnTo>
                  <a:lnTo>
                    <a:pt x="718" y="538"/>
                  </a:lnTo>
                  <a:lnTo>
                    <a:pt x="714" y="538"/>
                  </a:lnTo>
                  <a:lnTo>
                    <a:pt x="714" y="532"/>
                  </a:lnTo>
                  <a:lnTo>
                    <a:pt x="710" y="532"/>
                  </a:lnTo>
                  <a:lnTo>
                    <a:pt x="710" y="370"/>
                  </a:lnTo>
                  <a:lnTo>
                    <a:pt x="712" y="370"/>
                  </a:lnTo>
                  <a:lnTo>
                    <a:pt x="712" y="362"/>
                  </a:lnTo>
                  <a:lnTo>
                    <a:pt x="716" y="362"/>
                  </a:lnTo>
                  <a:lnTo>
                    <a:pt x="716" y="344"/>
                  </a:lnTo>
                  <a:lnTo>
                    <a:pt x="756" y="344"/>
                  </a:lnTo>
                  <a:lnTo>
                    <a:pt x="756" y="362"/>
                  </a:lnTo>
                  <a:lnTo>
                    <a:pt x="758" y="362"/>
                  </a:lnTo>
                  <a:lnTo>
                    <a:pt x="758" y="370"/>
                  </a:lnTo>
                  <a:lnTo>
                    <a:pt x="760" y="370"/>
                  </a:lnTo>
                  <a:lnTo>
                    <a:pt x="760" y="532"/>
                  </a:lnTo>
                  <a:close/>
                  <a:moveTo>
                    <a:pt x="844" y="532"/>
                  </a:moveTo>
                  <a:lnTo>
                    <a:pt x="840" y="532"/>
                  </a:lnTo>
                  <a:lnTo>
                    <a:pt x="840" y="538"/>
                  </a:lnTo>
                  <a:lnTo>
                    <a:pt x="834" y="538"/>
                  </a:lnTo>
                  <a:lnTo>
                    <a:pt x="834" y="542"/>
                  </a:lnTo>
                  <a:lnTo>
                    <a:pt x="832" y="542"/>
                  </a:lnTo>
                  <a:lnTo>
                    <a:pt x="832" y="546"/>
                  </a:lnTo>
                  <a:lnTo>
                    <a:pt x="828" y="546"/>
                  </a:lnTo>
                  <a:lnTo>
                    <a:pt x="828" y="554"/>
                  </a:lnTo>
                  <a:lnTo>
                    <a:pt x="806" y="554"/>
                  </a:lnTo>
                  <a:lnTo>
                    <a:pt x="806" y="546"/>
                  </a:lnTo>
                  <a:lnTo>
                    <a:pt x="802" y="546"/>
                  </a:lnTo>
                  <a:lnTo>
                    <a:pt x="802" y="542"/>
                  </a:lnTo>
                  <a:lnTo>
                    <a:pt x="800" y="542"/>
                  </a:lnTo>
                  <a:lnTo>
                    <a:pt x="800" y="538"/>
                  </a:lnTo>
                  <a:lnTo>
                    <a:pt x="794" y="538"/>
                  </a:lnTo>
                  <a:lnTo>
                    <a:pt x="794" y="532"/>
                  </a:lnTo>
                  <a:lnTo>
                    <a:pt x="790" y="532"/>
                  </a:lnTo>
                  <a:lnTo>
                    <a:pt x="790" y="370"/>
                  </a:lnTo>
                  <a:lnTo>
                    <a:pt x="792" y="370"/>
                  </a:lnTo>
                  <a:lnTo>
                    <a:pt x="792" y="362"/>
                  </a:lnTo>
                  <a:lnTo>
                    <a:pt x="796" y="362"/>
                  </a:lnTo>
                  <a:lnTo>
                    <a:pt x="796" y="344"/>
                  </a:lnTo>
                  <a:lnTo>
                    <a:pt x="838" y="344"/>
                  </a:lnTo>
                  <a:lnTo>
                    <a:pt x="838" y="362"/>
                  </a:lnTo>
                  <a:lnTo>
                    <a:pt x="842" y="362"/>
                  </a:lnTo>
                  <a:lnTo>
                    <a:pt x="842" y="370"/>
                  </a:lnTo>
                  <a:lnTo>
                    <a:pt x="844" y="370"/>
                  </a:lnTo>
                  <a:lnTo>
                    <a:pt x="844" y="532"/>
                  </a:lnTo>
                  <a:close/>
                  <a:moveTo>
                    <a:pt x="928" y="532"/>
                  </a:moveTo>
                  <a:lnTo>
                    <a:pt x="924" y="532"/>
                  </a:lnTo>
                  <a:lnTo>
                    <a:pt x="924" y="538"/>
                  </a:lnTo>
                  <a:lnTo>
                    <a:pt x="920" y="538"/>
                  </a:lnTo>
                  <a:lnTo>
                    <a:pt x="920" y="542"/>
                  </a:lnTo>
                  <a:lnTo>
                    <a:pt x="916" y="542"/>
                  </a:lnTo>
                  <a:lnTo>
                    <a:pt x="916" y="546"/>
                  </a:lnTo>
                  <a:lnTo>
                    <a:pt x="912" y="546"/>
                  </a:lnTo>
                  <a:lnTo>
                    <a:pt x="912" y="554"/>
                  </a:lnTo>
                  <a:lnTo>
                    <a:pt x="890" y="554"/>
                  </a:lnTo>
                  <a:lnTo>
                    <a:pt x="890" y="546"/>
                  </a:lnTo>
                  <a:lnTo>
                    <a:pt x="886" y="546"/>
                  </a:lnTo>
                  <a:lnTo>
                    <a:pt x="886" y="542"/>
                  </a:lnTo>
                  <a:lnTo>
                    <a:pt x="882" y="542"/>
                  </a:lnTo>
                  <a:lnTo>
                    <a:pt x="882" y="538"/>
                  </a:lnTo>
                  <a:lnTo>
                    <a:pt x="876" y="538"/>
                  </a:lnTo>
                  <a:lnTo>
                    <a:pt x="876" y="532"/>
                  </a:lnTo>
                  <a:lnTo>
                    <a:pt x="874" y="532"/>
                  </a:lnTo>
                  <a:lnTo>
                    <a:pt x="874" y="370"/>
                  </a:lnTo>
                  <a:lnTo>
                    <a:pt x="876" y="370"/>
                  </a:lnTo>
                  <a:lnTo>
                    <a:pt x="876" y="362"/>
                  </a:lnTo>
                  <a:lnTo>
                    <a:pt x="878" y="362"/>
                  </a:lnTo>
                  <a:lnTo>
                    <a:pt x="878" y="344"/>
                  </a:lnTo>
                  <a:lnTo>
                    <a:pt x="922" y="344"/>
                  </a:lnTo>
                  <a:lnTo>
                    <a:pt x="922" y="362"/>
                  </a:lnTo>
                  <a:lnTo>
                    <a:pt x="926" y="362"/>
                  </a:lnTo>
                  <a:lnTo>
                    <a:pt x="926" y="370"/>
                  </a:lnTo>
                  <a:lnTo>
                    <a:pt x="928" y="370"/>
                  </a:lnTo>
                  <a:lnTo>
                    <a:pt x="928" y="532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9" name="Freeform 223"/>
            <p:cNvSpPr>
              <a:spLocks/>
            </p:cNvSpPr>
            <p:nvPr/>
          </p:nvSpPr>
          <p:spPr bwMode="auto">
            <a:xfrm>
              <a:off x="9304843" y="6109403"/>
              <a:ext cx="42348" cy="37055"/>
            </a:xfrm>
            <a:custGeom>
              <a:avLst/>
              <a:gdLst>
                <a:gd name="T0" fmla="*/ 26 w 32"/>
                <a:gd name="T1" fmla="*/ 6 h 28"/>
                <a:gd name="T2" fmla="*/ 32 w 32"/>
                <a:gd name="T3" fmla="*/ 0 h 28"/>
                <a:gd name="T4" fmla="*/ 32 w 32"/>
                <a:gd name="T5" fmla="*/ 0 h 28"/>
                <a:gd name="T6" fmla="*/ 26 w 32"/>
                <a:gd name="T7" fmla="*/ 0 h 28"/>
                <a:gd name="T8" fmla="*/ 20 w 32"/>
                <a:gd name="T9" fmla="*/ 2 h 28"/>
                <a:gd name="T10" fmla="*/ 18 w 32"/>
                <a:gd name="T11" fmla="*/ 8 h 28"/>
                <a:gd name="T12" fmla="*/ 16 w 32"/>
                <a:gd name="T13" fmla="*/ 14 h 28"/>
                <a:gd name="T14" fmla="*/ 16 w 32"/>
                <a:gd name="T15" fmla="*/ 14 h 28"/>
                <a:gd name="T16" fmla="*/ 12 w 32"/>
                <a:gd name="T17" fmla="*/ 20 h 28"/>
                <a:gd name="T18" fmla="*/ 6 w 32"/>
                <a:gd name="T19" fmla="*/ 22 h 28"/>
                <a:gd name="T20" fmla="*/ 0 w 32"/>
                <a:gd name="T21" fmla="*/ 24 h 28"/>
                <a:gd name="T22" fmla="*/ 0 w 32"/>
                <a:gd name="T23" fmla="*/ 24 h 28"/>
                <a:gd name="T24" fmla="*/ 8 w 32"/>
                <a:gd name="T25" fmla="*/ 28 h 28"/>
                <a:gd name="T26" fmla="*/ 14 w 32"/>
                <a:gd name="T27" fmla="*/ 28 h 28"/>
                <a:gd name="T28" fmla="*/ 18 w 32"/>
                <a:gd name="T29" fmla="*/ 24 h 28"/>
                <a:gd name="T30" fmla="*/ 22 w 32"/>
                <a:gd name="T31" fmla="*/ 20 h 28"/>
                <a:gd name="T32" fmla="*/ 24 w 32"/>
                <a:gd name="T33" fmla="*/ 10 h 28"/>
                <a:gd name="T34" fmla="*/ 26 w 32"/>
                <a:gd name="T35" fmla="*/ 6 h 28"/>
                <a:gd name="T36" fmla="*/ 26 w 32"/>
                <a:gd name="T37" fmla="*/ 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28">
                  <a:moveTo>
                    <a:pt x="26" y="6"/>
                  </a:moveTo>
                  <a:lnTo>
                    <a:pt x="32" y="0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20" y="2"/>
                  </a:lnTo>
                  <a:lnTo>
                    <a:pt x="18" y="8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2" y="20"/>
                  </a:lnTo>
                  <a:lnTo>
                    <a:pt x="6" y="2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8" y="28"/>
                  </a:lnTo>
                  <a:lnTo>
                    <a:pt x="14" y="28"/>
                  </a:lnTo>
                  <a:lnTo>
                    <a:pt x="18" y="24"/>
                  </a:lnTo>
                  <a:lnTo>
                    <a:pt x="22" y="20"/>
                  </a:lnTo>
                  <a:lnTo>
                    <a:pt x="24" y="10"/>
                  </a:lnTo>
                  <a:lnTo>
                    <a:pt x="26" y="6"/>
                  </a:lnTo>
                  <a:lnTo>
                    <a:pt x="26" y="6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0" name="Freeform 227"/>
            <p:cNvSpPr>
              <a:spLocks/>
            </p:cNvSpPr>
            <p:nvPr/>
          </p:nvSpPr>
          <p:spPr bwMode="auto">
            <a:xfrm>
              <a:off x="10546837" y="5900738"/>
              <a:ext cx="933450" cy="841375"/>
            </a:xfrm>
            <a:custGeom>
              <a:avLst/>
              <a:gdLst>
                <a:gd name="T0" fmla="*/ 4 w 588"/>
                <a:gd name="T1" fmla="*/ 530 h 530"/>
                <a:gd name="T2" fmla="*/ 0 w 588"/>
                <a:gd name="T3" fmla="*/ 528 h 530"/>
                <a:gd name="T4" fmla="*/ 0 w 588"/>
                <a:gd name="T5" fmla="*/ 525 h 530"/>
                <a:gd name="T6" fmla="*/ 23 w 588"/>
                <a:gd name="T7" fmla="*/ 487 h 530"/>
                <a:gd name="T8" fmla="*/ 57 w 588"/>
                <a:gd name="T9" fmla="*/ 453 h 530"/>
                <a:gd name="T10" fmla="*/ 74 w 588"/>
                <a:gd name="T11" fmla="*/ 32 h 530"/>
                <a:gd name="T12" fmla="*/ 97 w 588"/>
                <a:gd name="T13" fmla="*/ 9 h 530"/>
                <a:gd name="T14" fmla="*/ 99 w 588"/>
                <a:gd name="T15" fmla="*/ 7 h 530"/>
                <a:gd name="T16" fmla="*/ 100 w 588"/>
                <a:gd name="T17" fmla="*/ 7 h 530"/>
                <a:gd name="T18" fmla="*/ 104 w 588"/>
                <a:gd name="T19" fmla="*/ 11 h 530"/>
                <a:gd name="T20" fmla="*/ 117 w 588"/>
                <a:gd name="T21" fmla="*/ 423 h 530"/>
                <a:gd name="T22" fmla="*/ 151 w 588"/>
                <a:gd name="T23" fmla="*/ 414 h 530"/>
                <a:gd name="T24" fmla="*/ 186 w 588"/>
                <a:gd name="T25" fmla="*/ 410 h 530"/>
                <a:gd name="T26" fmla="*/ 213 w 588"/>
                <a:gd name="T27" fmla="*/ 410 h 530"/>
                <a:gd name="T28" fmla="*/ 222 w 588"/>
                <a:gd name="T29" fmla="*/ 390 h 530"/>
                <a:gd name="T30" fmla="*/ 238 w 588"/>
                <a:gd name="T31" fmla="*/ 374 h 530"/>
                <a:gd name="T32" fmla="*/ 260 w 588"/>
                <a:gd name="T33" fmla="*/ 363 h 530"/>
                <a:gd name="T34" fmla="*/ 285 w 588"/>
                <a:gd name="T35" fmla="*/ 358 h 530"/>
                <a:gd name="T36" fmla="*/ 290 w 588"/>
                <a:gd name="T37" fmla="*/ 310 h 530"/>
                <a:gd name="T38" fmla="*/ 294 w 588"/>
                <a:gd name="T39" fmla="*/ 306 h 530"/>
                <a:gd name="T40" fmla="*/ 294 w 588"/>
                <a:gd name="T41" fmla="*/ 306 h 530"/>
                <a:gd name="T42" fmla="*/ 296 w 588"/>
                <a:gd name="T43" fmla="*/ 308 h 530"/>
                <a:gd name="T44" fmla="*/ 301 w 588"/>
                <a:gd name="T45" fmla="*/ 358 h 530"/>
                <a:gd name="T46" fmla="*/ 314 w 588"/>
                <a:gd name="T47" fmla="*/ 360 h 530"/>
                <a:gd name="T48" fmla="*/ 337 w 588"/>
                <a:gd name="T49" fmla="*/ 367 h 530"/>
                <a:gd name="T50" fmla="*/ 357 w 588"/>
                <a:gd name="T51" fmla="*/ 381 h 530"/>
                <a:gd name="T52" fmla="*/ 369 w 588"/>
                <a:gd name="T53" fmla="*/ 401 h 530"/>
                <a:gd name="T54" fmla="*/ 391 w 588"/>
                <a:gd name="T55" fmla="*/ 410 h 530"/>
                <a:gd name="T56" fmla="*/ 402 w 588"/>
                <a:gd name="T57" fmla="*/ 46 h 530"/>
                <a:gd name="T58" fmla="*/ 430 w 588"/>
                <a:gd name="T59" fmla="*/ 25 h 530"/>
                <a:gd name="T60" fmla="*/ 434 w 588"/>
                <a:gd name="T61" fmla="*/ 25 h 530"/>
                <a:gd name="T62" fmla="*/ 436 w 588"/>
                <a:gd name="T63" fmla="*/ 28 h 530"/>
                <a:gd name="T64" fmla="*/ 443 w 588"/>
                <a:gd name="T65" fmla="*/ 415 h 530"/>
                <a:gd name="T66" fmla="*/ 477 w 588"/>
                <a:gd name="T67" fmla="*/ 424 h 530"/>
                <a:gd name="T68" fmla="*/ 480 w 588"/>
                <a:gd name="T69" fmla="*/ 2 h 530"/>
                <a:gd name="T70" fmla="*/ 482 w 588"/>
                <a:gd name="T71" fmla="*/ 0 h 530"/>
                <a:gd name="T72" fmla="*/ 516 w 588"/>
                <a:gd name="T73" fmla="*/ 23 h 530"/>
                <a:gd name="T74" fmla="*/ 518 w 588"/>
                <a:gd name="T75" fmla="*/ 25 h 530"/>
                <a:gd name="T76" fmla="*/ 532 w 588"/>
                <a:gd name="T77" fmla="*/ 455 h 530"/>
                <a:gd name="T78" fmla="*/ 565 w 588"/>
                <a:gd name="T79" fmla="*/ 487 h 530"/>
                <a:gd name="T80" fmla="*/ 588 w 588"/>
                <a:gd name="T81" fmla="*/ 525 h 530"/>
                <a:gd name="T82" fmla="*/ 588 w 588"/>
                <a:gd name="T83" fmla="*/ 528 h 530"/>
                <a:gd name="T84" fmla="*/ 584 w 588"/>
                <a:gd name="T85" fmla="*/ 528 h 530"/>
                <a:gd name="T86" fmla="*/ 4 w 588"/>
                <a:gd name="T87" fmla="*/ 53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88" h="530">
                  <a:moveTo>
                    <a:pt x="4" y="530"/>
                  </a:moveTo>
                  <a:lnTo>
                    <a:pt x="4" y="530"/>
                  </a:lnTo>
                  <a:lnTo>
                    <a:pt x="0" y="528"/>
                  </a:lnTo>
                  <a:lnTo>
                    <a:pt x="0" y="528"/>
                  </a:lnTo>
                  <a:lnTo>
                    <a:pt x="0" y="525"/>
                  </a:lnTo>
                  <a:lnTo>
                    <a:pt x="0" y="525"/>
                  </a:lnTo>
                  <a:lnTo>
                    <a:pt x="11" y="505"/>
                  </a:lnTo>
                  <a:lnTo>
                    <a:pt x="23" y="487"/>
                  </a:lnTo>
                  <a:lnTo>
                    <a:pt x="39" y="469"/>
                  </a:lnTo>
                  <a:lnTo>
                    <a:pt x="57" y="453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5" y="28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9" y="7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2" y="9"/>
                  </a:lnTo>
                  <a:lnTo>
                    <a:pt x="104" y="11"/>
                  </a:lnTo>
                  <a:lnTo>
                    <a:pt x="117" y="423"/>
                  </a:lnTo>
                  <a:lnTo>
                    <a:pt x="117" y="423"/>
                  </a:lnTo>
                  <a:lnTo>
                    <a:pt x="134" y="417"/>
                  </a:lnTo>
                  <a:lnTo>
                    <a:pt x="151" y="414"/>
                  </a:lnTo>
                  <a:lnTo>
                    <a:pt x="169" y="412"/>
                  </a:lnTo>
                  <a:lnTo>
                    <a:pt x="186" y="410"/>
                  </a:lnTo>
                  <a:lnTo>
                    <a:pt x="213" y="410"/>
                  </a:lnTo>
                  <a:lnTo>
                    <a:pt x="213" y="410"/>
                  </a:lnTo>
                  <a:lnTo>
                    <a:pt x="217" y="401"/>
                  </a:lnTo>
                  <a:lnTo>
                    <a:pt x="222" y="390"/>
                  </a:lnTo>
                  <a:lnTo>
                    <a:pt x="229" y="381"/>
                  </a:lnTo>
                  <a:lnTo>
                    <a:pt x="238" y="374"/>
                  </a:lnTo>
                  <a:lnTo>
                    <a:pt x="249" y="369"/>
                  </a:lnTo>
                  <a:lnTo>
                    <a:pt x="260" y="363"/>
                  </a:lnTo>
                  <a:lnTo>
                    <a:pt x="272" y="360"/>
                  </a:lnTo>
                  <a:lnTo>
                    <a:pt x="285" y="358"/>
                  </a:lnTo>
                  <a:lnTo>
                    <a:pt x="290" y="310"/>
                  </a:lnTo>
                  <a:lnTo>
                    <a:pt x="290" y="310"/>
                  </a:lnTo>
                  <a:lnTo>
                    <a:pt x="290" y="308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4" y="306"/>
                  </a:lnTo>
                  <a:lnTo>
                    <a:pt x="296" y="308"/>
                  </a:lnTo>
                  <a:lnTo>
                    <a:pt x="298" y="310"/>
                  </a:lnTo>
                  <a:lnTo>
                    <a:pt x="301" y="358"/>
                  </a:lnTo>
                  <a:lnTo>
                    <a:pt x="301" y="358"/>
                  </a:lnTo>
                  <a:lnTo>
                    <a:pt x="314" y="360"/>
                  </a:lnTo>
                  <a:lnTo>
                    <a:pt x="326" y="363"/>
                  </a:lnTo>
                  <a:lnTo>
                    <a:pt x="337" y="367"/>
                  </a:lnTo>
                  <a:lnTo>
                    <a:pt x="348" y="374"/>
                  </a:lnTo>
                  <a:lnTo>
                    <a:pt x="357" y="381"/>
                  </a:lnTo>
                  <a:lnTo>
                    <a:pt x="364" y="390"/>
                  </a:lnTo>
                  <a:lnTo>
                    <a:pt x="369" y="401"/>
                  </a:lnTo>
                  <a:lnTo>
                    <a:pt x="375" y="410"/>
                  </a:lnTo>
                  <a:lnTo>
                    <a:pt x="391" y="410"/>
                  </a:lnTo>
                  <a:lnTo>
                    <a:pt x="402" y="46"/>
                  </a:lnTo>
                  <a:lnTo>
                    <a:pt x="402" y="46"/>
                  </a:lnTo>
                  <a:lnTo>
                    <a:pt x="403" y="43"/>
                  </a:lnTo>
                  <a:lnTo>
                    <a:pt x="430" y="25"/>
                  </a:lnTo>
                  <a:lnTo>
                    <a:pt x="430" y="25"/>
                  </a:lnTo>
                  <a:lnTo>
                    <a:pt x="434" y="25"/>
                  </a:lnTo>
                  <a:lnTo>
                    <a:pt x="434" y="25"/>
                  </a:lnTo>
                  <a:lnTo>
                    <a:pt x="436" y="28"/>
                  </a:lnTo>
                  <a:lnTo>
                    <a:pt x="443" y="415"/>
                  </a:lnTo>
                  <a:lnTo>
                    <a:pt x="443" y="415"/>
                  </a:lnTo>
                  <a:lnTo>
                    <a:pt x="459" y="419"/>
                  </a:lnTo>
                  <a:lnTo>
                    <a:pt x="477" y="424"/>
                  </a:lnTo>
                  <a:lnTo>
                    <a:pt x="480" y="2"/>
                  </a:lnTo>
                  <a:lnTo>
                    <a:pt x="480" y="2"/>
                  </a:lnTo>
                  <a:lnTo>
                    <a:pt x="482" y="0"/>
                  </a:lnTo>
                  <a:lnTo>
                    <a:pt x="482" y="0"/>
                  </a:lnTo>
                  <a:lnTo>
                    <a:pt x="486" y="0"/>
                  </a:lnTo>
                  <a:lnTo>
                    <a:pt x="516" y="23"/>
                  </a:lnTo>
                  <a:lnTo>
                    <a:pt x="516" y="23"/>
                  </a:lnTo>
                  <a:lnTo>
                    <a:pt x="518" y="25"/>
                  </a:lnTo>
                  <a:lnTo>
                    <a:pt x="532" y="455"/>
                  </a:lnTo>
                  <a:lnTo>
                    <a:pt x="532" y="455"/>
                  </a:lnTo>
                  <a:lnTo>
                    <a:pt x="549" y="469"/>
                  </a:lnTo>
                  <a:lnTo>
                    <a:pt x="565" y="487"/>
                  </a:lnTo>
                  <a:lnTo>
                    <a:pt x="577" y="505"/>
                  </a:lnTo>
                  <a:lnTo>
                    <a:pt x="588" y="525"/>
                  </a:lnTo>
                  <a:lnTo>
                    <a:pt x="588" y="525"/>
                  </a:lnTo>
                  <a:lnTo>
                    <a:pt x="588" y="528"/>
                  </a:lnTo>
                  <a:lnTo>
                    <a:pt x="588" y="528"/>
                  </a:lnTo>
                  <a:lnTo>
                    <a:pt x="584" y="528"/>
                  </a:lnTo>
                  <a:lnTo>
                    <a:pt x="4" y="530"/>
                  </a:lnTo>
                  <a:lnTo>
                    <a:pt x="4" y="530"/>
                  </a:ln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5770878" y="6726459"/>
              <a:ext cx="6678253" cy="198851"/>
            </a:xfrm>
            <a:prstGeom prst="rect">
              <a:avLst/>
            </a:prstGeom>
            <a:solidFill>
              <a:srgbClr val="84E0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373518" y="4453811"/>
            <a:ext cx="4135268" cy="646331"/>
          </a:xfrm>
          <a:prstGeom prst="rect">
            <a:avLst/>
          </a:prstGeom>
          <a:noFill/>
          <a:ln w="28575">
            <a:solidFill>
              <a:srgbClr val="84E0F7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3600" spc="7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8 800 100 </a:t>
            </a:r>
            <a:r>
              <a:rPr lang="ru-RU" sz="3600" spc="7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11 00</a:t>
            </a:r>
            <a:endParaRPr lang="ru-RU" sz="3600" spc="7" dirty="0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449206"/>
            <a:ext cx="604745" cy="322513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454712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625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Прямоугольник 62"/>
          <p:cNvSpPr/>
          <p:nvPr/>
        </p:nvSpPr>
        <p:spPr>
          <a:xfrm>
            <a:off x="7149391" y="4488381"/>
            <a:ext cx="4461367" cy="535531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419918" y="4162039"/>
            <a:ext cx="3695546" cy="1183072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/>
          <p:cNvSpPr/>
          <p:nvPr/>
        </p:nvSpPr>
        <p:spPr>
          <a:xfrm>
            <a:off x="373839" y="2042981"/>
            <a:ext cx="2964584" cy="925422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1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Номер слайда 1"/>
          <p:cNvSpPr txBox="1">
            <a:spLocks/>
          </p:cNvSpPr>
          <p:nvPr/>
        </p:nvSpPr>
        <p:spPr>
          <a:xfrm>
            <a:off x="11100911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355907" y="858030"/>
            <a:ext cx="10702359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200" spc="7" dirty="0">
                <a:latin typeface="Segoe UI" panose="020B0502040204020203" pitchFamily="34" charset="0"/>
                <a:cs typeface="Segoe UI" panose="020B0502040204020203" pitchFamily="34" charset="0"/>
              </a:rPr>
              <a:t>Л</a:t>
            </a:r>
            <a:r>
              <a:rPr lang="ru-RU" sz="22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ьготное кредитование </a:t>
            </a:r>
            <a:r>
              <a:rPr lang="ru-RU" sz="2200" spc="7" dirty="0">
                <a:latin typeface="Segoe UI" panose="020B0502040204020203" pitchFamily="34" charset="0"/>
                <a:cs typeface="Segoe UI" panose="020B0502040204020203" pitchFamily="34" charset="0"/>
              </a:rPr>
              <a:t>субъектов МСП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640253" y="2351803"/>
            <a:ext cx="2431756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>
              <a:defRPr/>
            </a:pPr>
            <a:r>
              <a:rPr lang="ru-RU" sz="2000" spc="-1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грамма </a:t>
            </a:r>
            <a:r>
              <a:rPr lang="ru-RU" sz="2000" spc="-1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«ПСК»</a:t>
            </a:r>
          </a:p>
        </p:txBody>
      </p:sp>
      <p:grpSp>
        <p:nvGrpSpPr>
          <p:cNvPr id="57" name="Группа 56"/>
          <p:cNvGrpSpPr/>
          <p:nvPr/>
        </p:nvGrpSpPr>
        <p:grpSpPr>
          <a:xfrm>
            <a:off x="355907" y="1581803"/>
            <a:ext cx="1891006" cy="299463"/>
            <a:chOff x="220453" y="1224457"/>
            <a:chExt cx="1891006" cy="299463"/>
          </a:xfrm>
        </p:grpSpPr>
        <p:pic>
          <p:nvPicPr>
            <p:cNvPr id="58" name="Рисунок 57">
              <a:extLst>
                <a:ext uri="{FF2B5EF4-FFF2-40B4-BE49-F238E27FC236}">
                  <a16:creationId xmlns:a16="http://schemas.microsoft.com/office/drawing/2014/main" xmlns="" id="{3BA5C8E5-A681-0D47-9286-EF54BA71D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38646" y="1224457"/>
              <a:ext cx="572813" cy="299463"/>
            </a:xfrm>
            <a:prstGeom prst="rect">
              <a:avLst/>
            </a:prstGeom>
          </p:spPr>
        </p:pic>
        <p:pic>
          <p:nvPicPr>
            <p:cNvPr id="59" name="Рисунок 58">
              <a:extLst>
                <a:ext uri="{FF2B5EF4-FFF2-40B4-BE49-F238E27FC236}">
                  <a16:creationId xmlns:a16="http://schemas.microsoft.com/office/drawing/2014/main" xmlns="" id="{4784DF0D-E9E9-9445-A0ED-50461945F9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15" t="24187" r="6517" b="22612"/>
            <a:stretch/>
          </p:blipFill>
          <p:spPr>
            <a:xfrm>
              <a:off x="220453" y="1234710"/>
              <a:ext cx="1143957" cy="278956"/>
            </a:xfrm>
            <a:prstGeom prst="rect">
              <a:avLst/>
            </a:prstGeom>
          </p:spPr>
        </p:pic>
      </p:grpSp>
      <p:grpSp>
        <p:nvGrpSpPr>
          <p:cNvPr id="60" name="Группа 59"/>
          <p:cNvGrpSpPr/>
          <p:nvPr/>
        </p:nvGrpSpPr>
        <p:grpSpPr>
          <a:xfrm>
            <a:off x="6143513" y="1581803"/>
            <a:ext cx="1873501" cy="299463"/>
            <a:chOff x="5158001" y="470013"/>
            <a:chExt cx="1873501" cy="299463"/>
          </a:xfrm>
        </p:grpSpPr>
        <p:pic>
          <p:nvPicPr>
            <p:cNvPr id="61" name="Изображение" descr="Изображение">
              <a:extLst>
                <a:ext uri="{FF2B5EF4-FFF2-40B4-BE49-F238E27FC236}">
                  <a16:creationId xmlns:a16="http://schemas.microsoft.com/office/drawing/2014/main" xmlns="" id="{D719681A-D559-8A44-B064-392B6CA97FE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/>
          </p:blipFill>
          <p:spPr>
            <a:xfrm>
              <a:off x="5158001" y="493744"/>
              <a:ext cx="1041990" cy="252000"/>
            </a:xfrm>
            <a:prstGeom prst="rect">
              <a:avLst/>
            </a:prstGeom>
            <a:ln w="12600">
              <a:noFill/>
            </a:ln>
          </p:spPr>
        </p:pic>
        <p:pic>
          <p:nvPicPr>
            <p:cNvPr id="62" name="Рисунок 61">
              <a:extLst>
                <a:ext uri="{FF2B5EF4-FFF2-40B4-BE49-F238E27FC236}">
                  <a16:creationId xmlns:a16="http://schemas.microsoft.com/office/drawing/2014/main" xmlns="" id="{3BA5C8E5-A681-0D47-9286-EF54BA71D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58689" y="470013"/>
              <a:ext cx="572813" cy="299463"/>
            </a:xfrm>
            <a:prstGeom prst="rect">
              <a:avLst/>
            </a:prstGeom>
          </p:spPr>
        </p:pic>
      </p:grpSp>
      <p:sp>
        <p:nvSpPr>
          <p:cNvPr id="23" name="Прямоугольник 22"/>
          <p:cNvSpPr/>
          <p:nvPr/>
        </p:nvSpPr>
        <p:spPr>
          <a:xfrm>
            <a:off x="263658" y="319141"/>
            <a:ext cx="3204161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355907" y="319141"/>
            <a:ext cx="934881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457200">
              <a:lnSpc>
                <a:spcPts val="3600"/>
              </a:lnSpc>
              <a:defRPr/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Финансовые меры поддержки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419918" y="3349783"/>
            <a:ext cx="2585836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</a:t>
            </a:r>
            <a:r>
              <a:rPr lang="ru-RU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en-US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0</a:t>
            </a:r>
            <a:r>
              <a:rPr lang="ru-RU" kern="0" spc="-3" dirty="0" smtClean="0">
                <a:solidFill>
                  <a:srgbClr val="29292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н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en-US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</a:t>
            </a:r>
            <a:r>
              <a:rPr lang="ru-RU" sz="1600" kern="0" spc="-3" dirty="0" smtClean="0">
                <a:solidFill>
                  <a:srgbClr val="29292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рд руб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.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08221" y="3349783"/>
            <a:ext cx="12393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умма </a:t>
            </a:r>
            <a:b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кредита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373839" y="4050083"/>
            <a:ext cx="474162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/>
          <p:cNvSpPr/>
          <p:nvPr/>
        </p:nvSpPr>
        <p:spPr>
          <a:xfrm>
            <a:off x="1419918" y="4974900"/>
            <a:ext cx="2626040" cy="4370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0,5%</a:t>
            </a:r>
            <a:r>
              <a:rPr lang="ru-RU" sz="28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ля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редних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308221" y="4667880"/>
            <a:ext cx="12393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тавка</a:t>
            </a:r>
            <a:endParaRPr lang="ru-RU" sz="1400" spc="-12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>
            <a:off x="373839" y="5452922"/>
            <a:ext cx="474162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419918" y="5609482"/>
            <a:ext cx="403197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</a:t>
            </a: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инвестиционные, оборотные, </a:t>
            </a:r>
            <a:b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рефинансирование ранее </a:t>
            </a:r>
            <a:b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полученных кредитов и на развитие предпринимательской деятельности</a:t>
            </a:r>
            <a:endParaRPr lang="ru-RU" sz="1400" kern="0" spc="-3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308221" y="5630257"/>
            <a:ext cx="12393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цели</a:t>
            </a:r>
            <a:endParaRPr lang="ru-RU" sz="1400" spc="-12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Овал 40"/>
          <p:cNvSpPr/>
          <p:nvPr/>
        </p:nvSpPr>
        <p:spPr>
          <a:xfrm>
            <a:off x="6110431" y="2042981"/>
            <a:ext cx="2964584" cy="925422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рямоугольник 41"/>
          <p:cNvSpPr/>
          <p:nvPr/>
        </p:nvSpPr>
        <p:spPr>
          <a:xfrm>
            <a:off x="6376845" y="2351803"/>
            <a:ext cx="2476960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>
              <a:defRPr/>
            </a:pPr>
            <a:r>
              <a:rPr lang="ru-RU" sz="2000" spc="-1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грамма «1764»</a:t>
            </a:r>
            <a:endParaRPr lang="ru-RU" sz="2000" spc="-1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7149392" y="3349783"/>
            <a:ext cx="3001334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</a:t>
            </a: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0,5</a:t>
            </a:r>
            <a:r>
              <a:rPr lang="ru-RU" kern="0" spc="-3" dirty="0" smtClean="0">
                <a:solidFill>
                  <a:srgbClr val="29292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н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</a:t>
            </a:r>
            <a:r>
              <a:rPr lang="ru-RU" sz="1600" kern="0" spc="-3" dirty="0" smtClean="0">
                <a:solidFill>
                  <a:srgbClr val="29292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рд руб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.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037695" y="3349783"/>
            <a:ext cx="12393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умма </a:t>
            </a:r>
            <a:b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кредита</a:t>
            </a:r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>
            <a:off x="6103313" y="4050083"/>
            <a:ext cx="550744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Прямоугольник 46"/>
          <p:cNvSpPr/>
          <p:nvPr/>
        </p:nvSpPr>
        <p:spPr>
          <a:xfrm>
            <a:off x="7149392" y="4514259"/>
            <a:ext cx="4530407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0,25%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ля микро/малых и средних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6037695" y="4667880"/>
            <a:ext cx="12393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тавка</a:t>
            </a:r>
            <a:endParaRPr lang="ru-RU" sz="1400" spc="-12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>
            <a:off x="6103313" y="5452922"/>
            <a:ext cx="5507446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50"/>
          <p:cNvSpPr/>
          <p:nvPr/>
        </p:nvSpPr>
        <p:spPr>
          <a:xfrm>
            <a:off x="6037695" y="5630257"/>
            <a:ext cx="12393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цели</a:t>
            </a:r>
            <a:endParaRPr lang="ru-RU" sz="1400" spc="-12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1422684" y="4570348"/>
            <a:ext cx="2441374" cy="4370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1,5%</a:t>
            </a:r>
            <a:r>
              <a:rPr lang="ru-RU" sz="28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ля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алых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425452" y="4140858"/>
            <a:ext cx="2150910" cy="4370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2%</a:t>
            </a:r>
            <a:r>
              <a:rPr lang="ru-RU" sz="28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ля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икро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7161955" y="5599654"/>
            <a:ext cx="403197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</a:t>
            </a: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инвестиционные, оборотные, </a:t>
            </a:r>
            <a:b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рефинансирование ранее </a:t>
            </a:r>
            <a:b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полученных кредитов и на развитие предпринимательской деятельности</a:t>
            </a:r>
            <a:endParaRPr lang="ru-RU" sz="1400" kern="0" spc="-3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0" name="Овал 49"/>
          <p:cNvSpPr/>
          <p:nvPr/>
        </p:nvSpPr>
        <p:spPr>
          <a:xfrm>
            <a:off x="3411094" y="1916222"/>
            <a:ext cx="1162740" cy="1102285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Прямоугольник 53"/>
          <p:cNvSpPr/>
          <p:nvPr/>
        </p:nvSpPr>
        <p:spPr>
          <a:xfrm>
            <a:off x="3511965" y="2031740"/>
            <a:ext cx="960997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28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50</a:t>
            </a:r>
            <a:endParaRPr lang="ru-RU" sz="1100" kern="0" spc="-5" dirty="0">
              <a:solidFill>
                <a:srgbClr val="84E0F7"/>
              </a:solidFill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3535975" y="2421787"/>
            <a:ext cx="960997" cy="39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1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банков-</a:t>
            </a:r>
            <a:br>
              <a:rPr lang="ru-RU" sz="11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1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участников</a:t>
            </a:r>
            <a:endParaRPr lang="ru-RU" sz="1100" kern="0" spc="-5" dirty="0">
              <a:solidFill>
                <a:schemeClr val="bg1"/>
              </a:solidFill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37125" name="Picture 261" descr="http://qrcoder.ru/code/?https%3A%2F%2Fcorpmsp.ru%2Fbankam%2Fprogramma_stimulir%2F&amp;4&amp;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8606" y="2052089"/>
            <a:ext cx="911259" cy="911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449206"/>
            <a:ext cx="604745" cy="32251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454712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93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7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Номер слайда 1"/>
          <p:cNvSpPr txBox="1">
            <a:spLocks/>
          </p:cNvSpPr>
          <p:nvPr/>
        </p:nvSpPr>
        <p:spPr>
          <a:xfrm>
            <a:off x="11100911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-20848" y="2"/>
            <a:ext cx="12212848" cy="15278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6072189" y="319141"/>
            <a:ext cx="2958886" cy="401484"/>
            <a:chOff x="7732409" y="260660"/>
            <a:chExt cx="2958886" cy="401484"/>
          </a:xfrm>
        </p:grpSpPr>
        <p:pic>
          <p:nvPicPr>
            <p:cNvPr id="52" name="Рисунок 5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83566" y="260660"/>
              <a:ext cx="1607729" cy="401484"/>
            </a:xfrm>
            <a:prstGeom prst="rect">
              <a:avLst/>
            </a:prstGeom>
          </p:spPr>
        </p:pic>
        <p:pic>
          <p:nvPicPr>
            <p:cNvPr id="54" name="Рисунок 5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32409" y="326730"/>
              <a:ext cx="1074855" cy="269345"/>
            </a:xfrm>
            <a:prstGeom prst="rect">
              <a:avLst/>
            </a:prstGeom>
          </p:spPr>
        </p:pic>
      </p:grpSp>
      <p:sp>
        <p:nvSpPr>
          <p:cNvPr id="23" name="Прямоугольник 22"/>
          <p:cNvSpPr/>
          <p:nvPr/>
        </p:nvSpPr>
        <p:spPr>
          <a:xfrm>
            <a:off x="2851176" y="366054"/>
            <a:ext cx="2485337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 63"/>
          <p:cNvSpPr/>
          <p:nvPr/>
        </p:nvSpPr>
        <p:spPr>
          <a:xfrm>
            <a:off x="355907" y="1748994"/>
            <a:ext cx="10323595" cy="93102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3000"/>
              </a:lnSpc>
            </a:pPr>
            <a:r>
              <a:rPr lang="ru-RU" sz="28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ддержка инвестиционного и проектного финансирования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4951553" y="2954996"/>
            <a:ext cx="4310434" cy="1815882"/>
          </a:xfrm>
          <a:prstGeom prst="rect">
            <a:avLst/>
          </a:prstGeom>
        </p:spPr>
        <p:txBody>
          <a:bodyPr wrap="square" lIns="0" tIns="0" rIns="0" bIns="0" numCol="1" spcCol="144000">
            <a:spAutoFit/>
          </a:bodyPr>
          <a:lstStyle/>
          <a:p>
            <a:pPr marR="2216">
              <a:buClr>
                <a:schemeClr val="tx2"/>
              </a:buClr>
            </a:pPr>
            <a:r>
              <a:rPr lang="ru-RU" sz="1600" spc="5" dirty="0" smtClean="0">
                <a:latin typeface="Segoe UI" panose="020B0502040204020203" pitchFamily="34" charset="0"/>
                <a:cs typeface="Segoe UI" panose="020B0502040204020203" pitchFamily="34" charset="0"/>
              </a:rPr>
              <a:t>Совмещение Программы </a:t>
            </a:r>
            <a:r>
              <a:rPr lang="ru-RU" sz="1600" spc="5" dirty="0">
                <a:latin typeface="Segoe UI" panose="020B0502040204020203" pitchFamily="34" charset="0"/>
                <a:cs typeface="Segoe UI" panose="020B0502040204020203" pitchFamily="34" charset="0"/>
              </a:rPr>
              <a:t>субсидирования Минэкономразвития </a:t>
            </a:r>
            <a:r>
              <a:rPr lang="ru-RU" sz="1600" spc="5" dirty="0" smtClean="0">
                <a:latin typeface="Segoe UI" panose="020B0502040204020203" pitchFamily="34" charset="0"/>
                <a:cs typeface="Segoe UI" panose="020B0502040204020203" pitchFamily="34" charset="0"/>
              </a:rPr>
              <a:t>1764 с </a:t>
            </a:r>
            <a:r>
              <a:rPr lang="ru-RU" sz="1600" spc="5" dirty="0">
                <a:latin typeface="Segoe UI" panose="020B0502040204020203" pitchFamily="34" charset="0"/>
                <a:cs typeface="Segoe UI" panose="020B0502040204020203" pitchFamily="34" charset="0"/>
              </a:rPr>
              <a:t>Программой стимулирования кредитования Банка России </a:t>
            </a:r>
            <a:r>
              <a:rPr lang="ru-RU" sz="1600" spc="5" dirty="0" smtClean="0">
                <a:latin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1600" spc="5" dirty="0">
                <a:latin typeface="Segoe UI" panose="020B0502040204020203" pitchFamily="34" charset="0"/>
                <a:cs typeface="Segoe UI" panose="020B0502040204020203" pitchFamily="34" charset="0"/>
              </a:rPr>
              <a:t>Корпорации МСП (Программа «ПСК») – </a:t>
            </a:r>
            <a:r>
              <a:rPr lang="ru-RU" spc="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гарантированная </a:t>
            </a:r>
            <a:r>
              <a:rPr lang="ru-RU" spc="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льготная процентная ставка </a:t>
            </a:r>
            <a:r>
              <a:rPr lang="ru-RU" spc="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/>
            </a:r>
            <a:br>
              <a:rPr lang="ru-RU" spc="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pc="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</a:t>
            </a:r>
            <a:r>
              <a:rPr lang="ru-RU" spc="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заемщика на 5 </a:t>
            </a:r>
            <a:r>
              <a:rPr lang="ru-RU" spc="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лет</a:t>
            </a:r>
            <a:endParaRPr lang="ru-RU" spc="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419918" y="3948349"/>
            <a:ext cx="2660344" cy="535531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1419918" y="2903276"/>
            <a:ext cx="2862515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</a:t>
            </a:r>
            <a:r>
              <a:rPr lang="ru-RU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50</a:t>
            </a:r>
            <a:r>
              <a:rPr lang="ru-RU" kern="0" spc="-3" dirty="0" smtClean="0">
                <a:solidFill>
                  <a:srgbClr val="29292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н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en-US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</a:t>
            </a:r>
            <a:r>
              <a:rPr lang="ru-RU" sz="1600" kern="0" spc="-3" dirty="0" smtClean="0">
                <a:solidFill>
                  <a:srgbClr val="29292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рд руб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.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78269" y="2903276"/>
            <a:ext cx="12393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умма </a:t>
            </a:r>
            <a:b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кредита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73839" y="3670906"/>
            <a:ext cx="370642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1419918" y="3974227"/>
            <a:ext cx="2721579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4%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ля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икро/малых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78269" y="3891017"/>
            <a:ext cx="12393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тавка</a:t>
            </a:r>
            <a:endParaRPr lang="ru-RU" sz="1400" spc="-12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419918" y="4583044"/>
            <a:ext cx="2660344" cy="535531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1419918" y="4608920"/>
            <a:ext cx="2660344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,5%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ля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редних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9691096" y="2923277"/>
            <a:ext cx="2050143" cy="2050143"/>
            <a:chOff x="4949534" y="5004847"/>
            <a:chExt cx="1540303" cy="1540303"/>
          </a:xfrm>
        </p:grpSpPr>
        <p:sp>
          <p:nvSpPr>
            <p:cNvPr id="8" name="Овал 7"/>
            <p:cNvSpPr/>
            <p:nvPr/>
          </p:nvSpPr>
          <p:spPr>
            <a:xfrm>
              <a:off x="4949534" y="5004847"/>
              <a:ext cx="1540303" cy="154030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5359623" y="5325647"/>
              <a:ext cx="701420" cy="5688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ru-RU" sz="4800" kern="0" spc="-5" dirty="0" smtClean="0">
                  <a:solidFill>
                    <a:srgbClr val="84E0F7"/>
                  </a:solidFill>
                  <a:latin typeface="Segoe UI Black" panose="020B0A02040204020203" pitchFamily="34" charset="0"/>
                  <a:ea typeface="Segoe UI Black" panose="020B0A02040204020203" pitchFamily="34" charset="0"/>
                  <a:cs typeface="Segoe UI Semibold" panose="020B0702040204020203" pitchFamily="34" charset="0"/>
                </a:rPr>
                <a:t>49</a:t>
              </a:r>
              <a:endParaRPr lang="ru-RU" sz="2000" kern="0" spc="-5" dirty="0">
                <a:solidFill>
                  <a:srgbClr val="84E0F7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endParaRP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5138702" y="5861666"/>
              <a:ext cx="1143262" cy="4801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ru-RU" sz="1400" kern="0" spc="-5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банков-</a:t>
              </a:r>
              <a:br>
                <a:rPr lang="ru-RU" sz="1400" kern="0" spc="-5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</a:br>
              <a:r>
                <a:rPr lang="ru-RU" sz="1400" kern="0" spc="-5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 Light" panose="020B0203020202020204" pitchFamily="34" charset="-52"/>
                  <a:cs typeface="Segoe UI Semibold" panose="020B0702040204020203" pitchFamily="34" charset="0"/>
                </a:rPr>
                <a:t>участников</a:t>
              </a:r>
              <a:endParaRPr lang="ru-RU" sz="14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endParaRPr>
            </a:p>
          </p:txBody>
        </p:sp>
      </p:grpSp>
      <p:sp>
        <p:nvSpPr>
          <p:cNvPr id="6" name="Прямоугольник 5"/>
          <p:cNvSpPr/>
          <p:nvPr/>
        </p:nvSpPr>
        <p:spPr>
          <a:xfrm>
            <a:off x="4948220" y="5195847"/>
            <a:ext cx="7243780" cy="1115605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5070529" y="5354815"/>
            <a:ext cx="7121471" cy="7899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ru-RU" sz="1400" spc="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иоритетные </a:t>
            </a:r>
            <a:r>
              <a:rPr lang="ru-RU" sz="1400" spc="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трасли</a:t>
            </a:r>
            <a:endParaRPr lang="ru-RU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>
              <a:spcAft>
                <a:spcPts val="400"/>
              </a:spcAft>
            </a:pP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обрабатывающее производство / логистика</a:t>
            </a: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/ гостиничный бизнес </a:t>
            </a:r>
            <a:r>
              <a:rPr lang="en-US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/</a:t>
            </a: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b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деятельность </a:t>
            </a: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профессиональная, научная и техническая 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278269" y="5355318"/>
            <a:ext cx="12393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цели</a:t>
            </a:r>
            <a:endParaRPr lang="ru-RU" sz="1400" spc="-12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414877" y="5354815"/>
            <a:ext cx="21760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</a:t>
            </a:r>
            <a:r>
              <a:rPr lang="ru-RU" sz="14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инвестиционные</a:t>
            </a:r>
            <a:endParaRPr lang="ru-RU" sz="1400" kern="0" spc="-3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78269" y="5927423"/>
            <a:ext cx="12393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л</a:t>
            </a:r>
            <a:r>
              <a:rPr lang="ru-RU" sz="1400" spc="-12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имит на 2023 год</a:t>
            </a:r>
            <a:endParaRPr lang="ru-RU" sz="1400" spc="-12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1414877" y="5928306"/>
            <a:ext cx="1859740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00</a:t>
            </a:r>
            <a:r>
              <a:rPr lang="ru-RU" kern="0" spc="-3" dirty="0" smtClean="0">
                <a:solidFill>
                  <a:srgbClr val="29292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лрд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руб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.</a:t>
            </a:r>
            <a:endParaRPr lang="ru-RU" sz="14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256503" y="846604"/>
            <a:ext cx="3553497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355907" y="319141"/>
            <a:ext cx="11186236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еханизм </a:t>
            </a: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льготного</a:t>
            </a:r>
            <a:b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редитования  </a:t>
            </a: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иоритетных </a:t>
            </a: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траслей </a:t>
            </a: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2879" y="377111"/>
            <a:ext cx="2111389" cy="409703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233877" y="385446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133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1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Номер слайда 1"/>
          <p:cNvSpPr txBox="1">
            <a:spLocks/>
          </p:cNvSpPr>
          <p:nvPr/>
        </p:nvSpPr>
        <p:spPr>
          <a:xfrm>
            <a:off x="11100911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-20848" y="2"/>
            <a:ext cx="12212848" cy="152780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969719" y="399362"/>
            <a:ext cx="2751910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 63"/>
          <p:cNvSpPr/>
          <p:nvPr/>
        </p:nvSpPr>
        <p:spPr>
          <a:xfrm>
            <a:off x="367072" y="1925999"/>
            <a:ext cx="10486556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Центр создан Корпорацией МСП для помощи предпринимателям, которые хотят взять кредит на реализацию инвестиционных проектов или развитие действующего производства. </a:t>
            </a:r>
          </a:p>
        </p:txBody>
      </p:sp>
      <p:pic>
        <p:nvPicPr>
          <p:cNvPr id="34" name="Picture 2" descr="http://qrcoder.ru/code/?https%3A%2F%2Fxn--l1agf.xn--p1ai%2Fservices%2Fcompetence-credit%2Fpromo%2F&amp;4&amp;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3679" y="1559776"/>
            <a:ext cx="1183380" cy="1183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Прямоугольник 31"/>
          <p:cNvSpPr/>
          <p:nvPr/>
        </p:nvSpPr>
        <p:spPr>
          <a:xfrm>
            <a:off x="3229197" y="2994079"/>
            <a:ext cx="32864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юридическое лицо, присутствующее в Едином реестре субъектов МСП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274722" y="2975029"/>
            <a:ext cx="2942931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убъект МСП</a:t>
            </a:r>
            <a:endParaRPr lang="ru-RU" sz="11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62512" y="880985"/>
            <a:ext cx="3461343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392950" y="350911"/>
            <a:ext cx="11186236" cy="9746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Центр </a:t>
            </a: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ддержки</a:t>
            </a: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инвестиционного </a:t>
            </a: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редитования</a:t>
            </a: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Корпорации МСП </a:t>
            </a:r>
            <a:endParaRPr lang="ru-RU" sz="3600" dirty="0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3229197" y="4192449"/>
            <a:ext cx="1749838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400" kern="0" spc="-5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т </a:t>
            </a:r>
            <a:r>
              <a:rPr lang="ru-RU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50</a:t>
            </a:r>
            <a:r>
              <a:rPr lang="ru-RU" sz="1400" kern="0" spc="-5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млн руб.</a:t>
            </a:r>
            <a:endParaRPr lang="ru-RU" sz="7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3229196" y="5457531"/>
            <a:ext cx="366602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инвестиционные цели или проектное финансирование </a:t>
            </a:r>
            <a:r>
              <a:rPr lang="ru-RU" sz="1400" spc="-12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— </a:t>
            </a:r>
            <a: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одернизация / расширение </a:t>
            </a:r>
            <a:r>
              <a:rPr lang="ru-RU" sz="1400" spc="-12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ействующего производства или реализация инвестпроекта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274722" y="3998550"/>
            <a:ext cx="3394175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ланируемая сумма кредита</a:t>
            </a:r>
            <a:endParaRPr lang="ru-RU" sz="28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274722" y="5407678"/>
            <a:ext cx="3131241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цель кредита</a:t>
            </a:r>
            <a:endParaRPr lang="ru-RU" sz="11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7365076" y="4192449"/>
            <a:ext cx="4418938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800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мощь в структурировании </a:t>
            </a:r>
            <a:b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инвестиционных проектов</a:t>
            </a:r>
          </a:p>
          <a:p>
            <a:pPr marL="285750" indent="-285750">
              <a:spcAft>
                <a:spcPts val="1800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ддержка при направлении инвестиционного проекта в банк и помощь в коммуникации </a:t>
            </a:r>
            <a:b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 ним</a:t>
            </a:r>
          </a:p>
          <a:p>
            <a:pPr marL="285750" indent="-285750">
              <a:spcAft>
                <a:spcPts val="1800"/>
              </a:spcAft>
              <a:buClr>
                <a:srgbClr val="84E0F7"/>
              </a:buClr>
              <a:buFont typeface="Wingdings" panose="05000000000000000000" pitchFamily="2" charset="2"/>
              <a:buChar char="§"/>
            </a:pPr>
            <a:r>
              <a:rPr lang="ru-RU" sz="1400" spc="-12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онсультирование предпринимателей по всем государственным программам кредитования</a:t>
            </a:r>
            <a:endParaRPr lang="ru-RU" sz="1400" spc="-12" dirty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7627802" y="2975029"/>
            <a:ext cx="3751103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28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аправления </a:t>
            </a:r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работы </a:t>
            </a:r>
            <a:r>
              <a:rPr lang="ru-RU" sz="28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центра</a:t>
            </a: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7229475" y="3095625"/>
            <a:ext cx="0" cy="3350988"/>
          </a:xfrm>
          <a:prstGeom prst="line">
            <a:avLst/>
          </a:prstGeom>
          <a:ln w="28575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0087" y="3336558"/>
            <a:ext cx="1360135" cy="1149410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2879" y="377111"/>
            <a:ext cx="2111389" cy="409703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233877" y="385446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279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>
          <a:xfrm>
            <a:off x="-25133" y="0"/>
            <a:ext cx="5548552" cy="6858000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130882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11330865" y="306998"/>
            <a:ext cx="595388" cy="307659"/>
          </a:xfrm>
          <a:prstGeom prst="rect">
            <a:avLst/>
          </a:prstGeom>
        </p:spPr>
      </p:pic>
      <p:sp>
        <p:nvSpPr>
          <p:cNvPr id="13" name="Номер слайда 1"/>
          <p:cNvSpPr txBox="1">
            <a:spLocks/>
          </p:cNvSpPr>
          <p:nvPr/>
        </p:nvSpPr>
        <p:spPr>
          <a:xfrm>
            <a:off x="11140884" y="6446613"/>
            <a:ext cx="48767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46235" y="3396810"/>
            <a:ext cx="4537738" cy="29033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marR="2786" lvl="0" indent="-285750" defTabSz="457200">
              <a:spcBef>
                <a:spcPts val="361"/>
              </a:spcBef>
              <a:spcAft>
                <a:spcPts val="657"/>
              </a:spcAft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Упрощенный способ получить кредит, </a:t>
            </a:r>
            <a:r>
              <a:rPr lang="en-US" sz="16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16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если </a:t>
            </a: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у вас не хватает </a:t>
            </a:r>
            <a:r>
              <a:rPr lang="ru-RU" sz="16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залога</a:t>
            </a:r>
          </a:p>
          <a:p>
            <a:pPr marL="285750" marR="2786" indent="-285750" defTabSz="457200">
              <a:spcBef>
                <a:spcPts val="361"/>
              </a:spcBef>
              <a:spcAft>
                <a:spcPts val="657"/>
              </a:spcAft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Поручительство по кредиту предоставляется в банке</a:t>
            </a:r>
          </a:p>
          <a:p>
            <a:pPr marL="285750" marR="2786" indent="-285750" defTabSz="457200">
              <a:spcBef>
                <a:spcPts val="361"/>
              </a:spcBef>
              <a:spcAft>
                <a:spcPts val="657"/>
              </a:spcAft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Бесплатно — комиссию за поручительство платит банк, а не предприниматель</a:t>
            </a:r>
          </a:p>
          <a:p>
            <a:pPr marL="285750" marR="2786" lvl="0" indent="-285750" defTabSz="457200">
              <a:spcBef>
                <a:spcPts val="361"/>
              </a:spcBef>
              <a:spcAft>
                <a:spcPts val="657"/>
              </a:spcAft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Сумма поручительства —</a:t>
            </a:r>
            <a:r>
              <a:rPr lang="ru-RU" sz="16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до </a:t>
            </a:r>
            <a:r>
              <a:rPr lang="ru-RU" sz="2000" spc="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</a:t>
            </a:r>
            <a:r>
              <a:rPr lang="ru-RU" sz="1400" spc="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млрд руб.</a:t>
            </a:r>
          </a:p>
          <a:p>
            <a:pPr marL="285750" marR="2786" lvl="0" indent="-285750" defTabSz="457200">
              <a:spcBef>
                <a:spcPts val="361"/>
              </a:spcBef>
              <a:spcAft>
                <a:spcPts val="657"/>
              </a:spcAft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Гарантийное покрытие —</a:t>
            </a:r>
            <a:r>
              <a:rPr lang="ru-RU" sz="16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до </a:t>
            </a:r>
            <a:r>
              <a:rPr lang="ru-RU" spc="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50%</a:t>
            </a:r>
            <a:r>
              <a:rPr lang="ru-RU" sz="20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spc="7" dirty="0">
                <a:latin typeface="Segoe UI" panose="020B0502040204020203" pitchFamily="34" charset="0"/>
                <a:cs typeface="Segoe UI" panose="020B0502040204020203" pitchFamily="34" charset="0"/>
              </a:rPr>
              <a:t>от суммы кредита 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C2AF978C-F368-C14F-AD1E-466D4FF011CB}"/>
              </a:ext>
            </a:extLst>
          </p:cNvPr>
          <p:cNvSpPr/>
          <p:nvPr/>
        </p:nvSpPr>
        <p:spPr>
          <a:xfrm>
            <a:off x="5944364" y="824575"/>
            <a:ext cx="363687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5</a:t>
            </a:r>
            <a:r>
              <a:rPr lang="ru-RU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банков-участников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6030006" y="6435425"/>
            <a:ext cx="1976054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1746" lvl="0" indent="0" algn="l" defTabSz="914400" rtl="0" eaLnBrk="1" fontAlgn="auto" latinLnBrk="0" hangingPunct="1">
              <a:lnSpc>
                <a:spcPct val="100000"/>
              </a:lnSpc>
              <a:spcBef>
                <a:spcPts val="226"/>
              </a:spcBef>
              <a:spcAft>
                <a:spcPts val="412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3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о состоянию на </a:t>
            </a:r>
            <a:r>
              <a:rPr lang="ru-RU" sz="1200" spc="3" dirty="0" smtClean="0">
                <a:solidFill>
                  <a:schemeClr val="bg1">
                    <a:lumMod val="6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9</a:t>
            </a:r>
            <a:r>
              <a:rPr kumimoji="0" lang="ru-RU" sz="1200" b="0" i="0" u="none" strike="noStrike" kern="1200" cap="none" spc="3" normalizeH="0" baseline="0" noProof="0" dirty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.02.2023</a:t>
            </a:r>
            <a:endParaRPr kumimoji="0" lang="ru-RU" sz="1200" b="0" i="0" u="none" strike="noStrike" kern="1200" cap="none" spc="3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xmlns="" id="{4F93827C-2093-8D42-809E-5869A0388E9F}"/>
              </a:ext>
            </a:extLst>
          </p:cNvPr>
          <p:cNvSpPr/>
          <p:nvPr/>
        </p:nvSpPr>
        <p:spPr>
          <a:xfrm>
            <a:off x="5986876" y="3548081"/>
            <a:ext cx="5213942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оступно предпринимателям со всех регионов</a:t>
            </a: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5986876" y="5052458"/>
            <a:ext cx="4060626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24</a:t>
            </a:r>
            <a:r>
              <a:rPr lang="ru-RU" sz="3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6</a:t>
            </a:r>
            <a:r>
              <a:rPr lang="ru-RU" sz="32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kern="0" spc="-5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млрд</a:t>
            </a:r>
            <a:r>
              <a:rPr lang="en-US" sz="14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рублей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5986877" y="5723540"/>
            <a:ext cx="5222754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R="2786">
              <a:spcAft>
                <a:spcPts val="400"/>
              </a:spcAft>
            </a:pPr>
            <a:r>
              <a:rPr lang="ru-RU" sz="14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объем </a:t>
            </a: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кредитов с применением </a:t>
            </a:r>
            <a:r>
              <a:rPr lang="ru-RU" sz="14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«зонтичного» механизма </a:t>
            </a:r>
            <a:endParaRPr lang="ru-RU" sz="14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8" name="Picture 4" descr="СОВКОМБАНК в Санкт-Петербурге - кредитные карты, отзывы, реквизиты,  конакты, банкоматы и отделения - Banklab.ru">
            <a:extLst>
              <a:ext uri="{FF2B5EF4-FFF2-40B4-BE49-F238E27FC236}">
                <a16:creationId xmlns:a16="http://schemas.microsoft.com/office/drawing/2014/main" xmlns="" id="{139D6BE1-CE67-0B41-911F-6E710F7508A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692" b="35183"/>
          <a:stretch/>
        </p:blipFill>
        <p:spPr bwMode="auto">
          <a:xfrm>
            <a:off x="7868814" y="2976233"/>
            <a:ext cx="1021597" cy="176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6" descr="Ак Барс (банк) — Википедия">
            <a:extLst>
              <a:ext uri="{FF2B5EF4-FFF2-40B4-BE49-F238E27FC236}">
                <a16:creationId xmlns:a16="http://schemas.microsoft.com/office/drawing/2014/main" xmlns="" id="{A9B557FF-DDE7-2B4E-AD4F-F575CF5FCB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3974" y="2896163"/>
            <a:ext cx="450471" cy="308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6" descr="Файл:Otkritie logo 2017.png — Википедия">
            <a:extLst>
              <a:ext uri="{FF2B5EF4-FFF2-40B4-BE49-F238E27FC236}">
                <a16:creationId xmlns:a16="http://schemas.microsoft.com/office/drawing/2014/main" xmlns="" id="{CF0367E9-A663-ED43-81E6-1BAC88369C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086" b="11992"/>
          <a:stretch/>
        </p:blipFill>
        <p:spPr bwMode="auto">
          <a:xfrm>
            <a:off x="5956253" y="1655942"/>
            <a:ext cx="943267" cy="273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Российский национальный коммерческий банк — Википедия">
            <a:extLst>
              <a:ext uri="{FF2B5EF4-FFF2-40B4-BE49-F238E27FC236}">
                <a16:creationId xmlns:a16="http://schemas.microsoft.com/office/drawing/2014/main" xmlns="" id="{3B504ECB-8262-A146-9295-50B6CD04A2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1192" y="1642185"/>
            <a:ext cx="478640" cy="298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" descr="Файл:VTB Logo 2018.svg — Википедия">
            <a:extLst>
              <a:ext uri="{FF2B5EF4-FFF2-40B4-BE49-F238E27FC236}">
                <a16:creationId xmlns:a16="http://schemas.microsoft.com/office/drawing/2014/main" xmlns="" id="{489356B7-0643-DB41-92CA-85E09EEB50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0169" y="1682015"/>
            <a:ext cx="565850" cy="202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новый логотип сбербанка 2020 на прозрачном фоне (пнг)– новый логотип  сбербанка 2020 png">
            <a:extLst>
              <a:ext uri="{FF2B5EF4-FFF2-40B4-BE49-F238E27FC236}">
                <a16:creationId xmlns:a16="http://schemas.microsoft.com/office/drawing/2014/main" xmlns="" id="{2D08F332-50E1-7D4A-8629-94C31F4061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7067" y="1707438"/>
            <a:ext cx="672982" cy="188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Зенит (банк) — Википедия">
            <a:extLst>
              <a:ext uri="{FF2B5EF4-FFF2-40B4-BE49-F238E27FC236}">
                <a16:creationId xmlns:a16="http://schemas.microsoft.com/office/drawing/2014/main" xmlns="" id="{894EF2DE-8B6A-384E-A725-E7C8FF2143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4218" y="2887178"/>
            <a:ext cx="528794" cy="294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Скругленный прямоугольник 38"/>
          <p:cNvSpPr/>
          <p:nvPr/>
        </p:nvSpPr>
        <p:spPr>
          <a:xfrm>
            <a:off x="5944364" y="1569376"/>
            <a:ext cx="1031136" cy="467434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7047477" y="1569376"/>
            <a:ext cx="902585" cy="467436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8031175" y="1569376"/>
            <a:ext cx="827671" cy="467434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7766885" y="2817844"/>
            <a:ext cx="1236197" cy="466170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5955810" y="2817844"/>
            <a:ext cx="849740" cy="466171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Полилиния 64"/>
          <p:cNvSpPr/>
          <p:nvPr/>
        </p:nvSpPr>
        <p:spPr>
          <a:xfrm>
            <a:off x="6878173" y="2817843"/>
            <a:ext cx="834590" cy="466171"/>
          </a:xfrm>
          <a:custGeom>
            <a:avLst/>
            <a:gdLst>
              <a:gd name="connsiteX0" fmla="*/ 231426 w 858653"/>
              <a:gd name="connsiteY0" fmla="*/ 0 h 462852"/>
              <a:gd name="connsiteX1" fmla="*/ 627227 w 858653"/>
              <a:gd name="connsiteY1" fmla="*/ 0 h 462852"/>
              <a:gd name="connsiteX2" fmla="*/ 858653 w 858653"/>
              <a:gd name="connsiteY2" fmla="*/ 231426 h 462852"/>
              <a:gd name="connsiteX3" fmla="*/ 627227 w 858653"/>
              <a:gd name="connsiteY3" fmla="*/ 462852 h 462852"/>
              <a:gd name="connsiteX4" fmla="*/ 231426 w 858653"/>
              <a:gd name="connsiteY4" fmla="*/ 462852 h 462852"/>
              <a:gd name="connsiteX5" fmla="*/ 0 w 858653"/>
              <a:gd name="connsiteY5" fmla="*/ 231426 h 462852"/>
              <a:gd name="connsiteX6" fmla="*/ 231426 w 858653"/>
              <a:gd name="connsiteY6" fmla="*/ 0 h 462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8653" h="462852">
                <a:moveTo>
                  <a:pt x="231426" y="0"/>
                </a:moveTo>
                <a:lnTo>
                  <a:pt x="627227" y="0"/>
                </a:lnTo>
                <a:cubicBezTo>
                  <a:pt x="755040" y="0"/>
                  <a:pt x="858653" y="103613"/>
                  <a:pt x="858653" y="231426"/>
                </a:cubicBezTo>
                <a:cubicBezTo>
                  <a:pt x="858653" y="359239"/>
                  <a:pt x="755040" y="462852"/>
                  <a:pt x="627227" y="462852"/>
                </a:cubicBezTo>
                <a:lnTo>
                  <a:pt x="231426" y="462852"/>
                </a:lnTo>
                <a:cubicBezTo>
                  <a:pt x="103613" y="462852"/>
                  <a:pt x="0" y="359239"/>
                  <a:pt x="0" y="231426"/>
                </a:cubicBezTo>
                <a:cubicBezTo>
                  <a:pt x="0" y="103613"/>
                  <a:pt x="103613" y="0"/>
                  <a:pt x="231426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71" name="Полилиния 70"/>
          <p:cNvSpPr/>
          <p:nvPr/>
        </p:nvSpPr>
        <p:spPr>
          <a:xfrm>
            <a:off x="8927161" y="1572686"/>
            <a:ext cx="851594" cy="466170"/>
          </a:xfrm>
          <a:custGeom>
            <a:avLst/>
            <a:gdLst>
              <a:gd name="connsiteX0" fmla="*/ 231426 w 930087"/>
              <a:gd name="connsiteY0" fmla="*/ 0 h 462852"/>
              <a:gd name="connsiteX1" fmla="*/ 698661 w 930087"/>
              <a:gd name="connsiteY1" fmla="*/ 0 h 462852"/>
              <a:gd name="connsiteX2" fmla="*/ 930087 w 930087"/>
              <a:gd name="connsiteY2" fmla="*/ 231426 h 462852"/>
              <a:gd name="connsiteX3" fmla="*/ 698661 w 930087"/>
              <a:gd name="connsiteY3" fmla="*/ 462852 h 462852"/>
              <a:gd name="connsiteX4" fmla="*/ 231426 w 930087"/>
              <a:gd name="connsiteY4" fmla="*/ 462852 h 462852"/>
              <a:gd name="connsiteX5" fmla="*/ 0 w 930087"/>
              <a:gd name="connsiteY5" fmla="*/ 231426 h 462852"/>
              <a:gd name="connsiteX6" fmla="*/ 231426 w 930087"/>
              <a:gd name="connsiteY6" fmla="*/ 0 h 462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30087" h="462852">
                <a:moveTo>
                  <a:pt x="231426" y="0"/>
                </a:moveTo>
                <a:lnTo>
                  <a:pt x="698661" y="0"/>
                </a:lnTo>
                <a:cubicBezTo>
                  <a:pt x="826474" y="0"/>
                  <a:pt x="930087" y="103613"/>
                  <a:pt x="930087" y="231426"/>
                </a:cubicBezTo>
                <a:cubicBezTo>
                  <a:pt x="930087" y="359239"/>
                  <a:pt x="826474" y="462852"/>
                  <a:pt x="698661" y="462852"/>
                </a:cubicBezTo>
                <a:lnTo>
                  <a:pt x="231426" y="462852"/>
                </a:lnTo>
                <a:cubicBezTo>
                  <a:pt x="103613" y="462852"/>
                  <a:pt x="0" y="359239"/>
                  <a:pt x="0" y="231426"/>
                </a:cubicBezTo>
                <a:cubicBezTo>
                  <a:pt x="0" y="103613"/>
                  <a:pt x="103613" y="0"/>
                  <a:pt x="231426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62" name="Полилиния 61"/>
          <p:cNvSpPr/>
          <p:nvPr/>
        </p:nvSpPr>
        <p:spPr>
          <a:xfrm>
            <a:off x="9849683" y="1569376"/>
            <a:ext cx="1351135" cy="467434"/>
          </a:xfrm>
          <a:custGeom>
            <a:avLst/>
            <a:gdLst>
              <a:gd name="connsiteX0" fmla="*/ 233717 w 1351135"/>
              <a:gd name="connsiteY0" fmla="*/ 0 h 467434"/>
              <a:gd name="connsiteX1" fmla="*/ 553716 w 1351135"/>
              <a:gd name="connsiteY1" fmla="*/ 0 h 467434"/>
              <a:gd name="connsiteX2" fmla="*/ 797419 w 1351135"/>
              <a:gd name="connsiteY2" fmla="*/ 0 h 467434"/>
              <a:gd name="connsiteX3" fmla="*/ 1117418 w 1351135"/>
              <a:gd name="connsiteY3" fmla="*/ 0 h 467434"/>
              <a:gd name="connsiteX4" fmla="*/ 1351135 w 1351135"/>
              <a:gd name="connsiteY4" fmla="*/ 233717 h 467434"/>
              <a:gd name="connsiteX5" fmla="*/ 1117418 w 1351135"/>
              <a:gd name="connsiteY5" fmla="*/ 467434 h 467434"/>
              <a:gd name="connsiteX6" fmla="*/ 797419 w 1351135"/>
              <a:gd name="connsiteY6" fmla="*/ 467434 h 467434"/>
              <a:gd name="connsiteX7" fmla="*/ 553716 w 1351135"/>
              <a:gd name="connsiteY7" fmla="*/ 467434 h 467434"/>
              <a:gd name="connsiteX8" fmla="*/ 233717 w 1351135"/>
              <a:gd name="connsiteY8" fmla="*/ 467434 h 467434"/>
              <a:gd name="connsiteX9" fmla="*/ 0 w 1351135"/>
              <a:gd name="connsiteY9" fmla="*/ 233717 h 467434"/>
              <a:gd name="connsiteX10" fmla="*/ 233717 w 1351135"/>
              <a:gd name="connsiteY10" fmla="*/ 0 h 467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351135" h="467434">
                <a:moveTo>
                  <a:pt x="233717" y="0"/>
                </a:moveTo>
                <a:lnTo>
                  <a:pt x="553716" y="0"/>
                </a:lnTo>
                <a:lnTo>
                  <a:pt x="797419" y="0"/>
                </a:lnTo>
                <a:lnTo>
                  <a:pt x="1117418" y="0"/>
                </a:lnTo>
                <a:cubicBezTo>
                  <a:pt x="1246496" y="0"/>
                  <a:pt x="1351135" y="104639"/>
                  <a:pt x="1351135" y="233717"/>
                </a:cubicBezTo>
                <a:cubicBezTo>
                  <a:pt x="1351135" y="362795"/>
                  <a:pt x="1246496" y="467434"/>
                  <a:pt x="1117418" y="467434"/>
                </a:cubicBezTo>
                <a:lnTo>
                  <a:pt x="797419" y="467434"/>
                </a:lnTo>
                <a:lnTo>
                  <a:pt x="553716" y="467434"/>
                </a:lnTo>
                <a:lnTo>
                  <a:pt x="233717" y="467434"/>
                </a:lnTo>
                <a:cubicBezTo>
                  <a:pt x="104639" y="467434"/>
                  <a:pt x="0" y="362795"/>
                  <a:pt x="0" y="233717"/>
                </a:cubicBezTo>
                <a:cubicBezTo>
                  <a:pt x="0" y="104639"/>
                  <a:pt x="104639" y="0"/>
                  <a:pt x="233717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0" name="Группа 9"/>
          <p:cNvGrpSpPr/>
          <p:nvPr/>
        </p:nvGrpSpPr>
        <p:grpSpPr>
          <a:xfrm>
            <a:off x="371475" y="282770"/>
            <a:ext cx="2573191" cy="276999"/>
            <a:chOff x="9353062" y="5079459"/>
            <a:chExt cx="2573191" cy="276999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9450678" y="5079459"/>
              <a:ext cx="237795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ф</a:t>
              </a:r>
              <a:r>
                <a:rPr lang="ru-RU" sz="1200" spc="-12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инансовые </a:t>
              </a:r>
              <a:r>
                <a:rPr lang="ru-RU" sz="1200" spc="-12" dirty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меры поддержки</a:t>
              </a:r>
            </a:p>
          </p:txBody>
        </p:sp>
      </p:grpSp>
      <p:sp>
        <p:nvSpPr>
          <p:cNvPr id="56" name="Прямоугольник 55"/>
          <p:cNvSpPr/>
          <p:nvPr/>
        </p:nvSpPr>
        <p:spPr>
          <a:xfrm>
            <a:off x="278269" y="852092"/>
            <a:ext cx="3422463" cy="43181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363893" y="835199"/>
            <a:ext cx="5027376" cy="14619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 indent="0" fontAlgn="auto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«Зонтичный» </a:t>
            </a:r>
          </a:p>
          <a:p>
            <a:pPr marR="2786" lvl="0" indent="0" fontAlgn="auto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еханизм </a:t>
            </a:r>
          </a:p>
          <a:p>
            <a:pPr marR="2786" lvl="0" indent="0" fontAlgn="auto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ручительств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5967378" y="4768765"/>
            <a:ext cx="5209701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4284" y="1639645"/>
            <a:ext cx="1122214" cy="333458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253" y="2099247"/>
            <a:ext cx="1013328" cy="621815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9432" y="2631259"/>
            <a:ext cx="1189095" cy="792729"/>
          </a:xfrm>
          <a:prstGeom prst="rect">
            <a:avLst/>
          </a:prstGeom>
        </p:spPr>
      </p:pic>
      <p:pic>
        <p:nvPicPr>
          <p:cNvPr id="50" name="Picture 10" descr="Логотип Промсвязьбанк (ПСБ) / Банки и финансы / TopLogos.ru">
            <a:extLst>
              <a:ext uri="{FF2B5EF4-FFF2-40B4-BE49-F238E27FC236}">
                <a16:creationId xmlns:a16="http://schemas.microsoft.com/office/drawing/2014/main" xmlns="" id="{E0639608-D003-294F-BF1C-6FBA5C50CD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0718" y="2172772"/>
            <a:ext cx="708860" cy="503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Полилиния 50"/>
          <p:cNvSpPr/>
          <p:nvPr/>
        </p:nvSpPr>
        <p:spPr>
          <a:xfrm>
            <a:off x="5955810" y="2197722"/>
            <a:ext cx="777499" cy="451217"/>
          </a:xfrm>
          <a:custGeom>
            <a:avLst/>
            <a:gdLst>
              <a:gd name="connsiteX0" fmla="*/ 0 w 1076399"/>
              <a:gd name="connsiteY0" fmla="*/ 263994 h 527990"/>
              <a:gd name="connsiteX1" fmla="*/ 0 w 1076399"/>
              <a:gd name="connsiteY1" fmla="*/ 263995 h 527990"/>
              <a:gd name="connsiteX2" fmla="*/ 0 w 1076399"/>
              <a:gd name="connsiteY2" fmla="*/ 263995 h 527990"/>
              <a:gd name="connsiteX3" fmla="*/ 263995 w 1076399"/>
              <a:gd name="connsiteY3" fmla="*/ 0 h 527990"/>
              <a:gd name="connsiteX4" fmla="*/ 812404 w 1076399"/>
              <a:gd name="connsiteY4" fmla="*/ 0 h 527990"/>
              <a:gd name="connsiteX5" fmla="*/ 1076399 w 1076399"/>
              <a:gd name="connsiteY5" fmla="*/ 263995 h 527990"/>
              <a:gd name="connsiteX6" fmla="*/ 1076398 w 1076399"/>
              <a:gd name="connsiteY6" fmla="*/ 263995 h 527990"/>
              <a:gd name="connsiteX7" fmla="*/ 865607 w 1076399"/>
              <a:gd name="connsiteY7" fmla="*/ 522627 h 527990"/>
              <a:gd name="connsiteX8" fmla="*/ 812405 w 1076399"/>
              <a:gd name="connsiteY8" fmla="*/ 527990 h 527990"/>
              <a:gd name="connsiteX9" fmla="*/ 263995 w 1076399"/>
              <a:gd name="connsiteY9" fmla="*/ 527989 h 527990"/>
              <a:gd name="connsiteX10" fmla="*/ 20746 w 1076399"/>
              <a:gd name="connsiteY10" fmla="*/ 366753 h 527990"/>
              <a:gd name="connsiteX11" fmla="*/ 0 w 1076399"/>
              <a:gd name="connsiteY11" fmla="*/ 263995 h 527990"/>
              <a:gd name="connsiteX12" fmla="*/ 20746 w 1076399"/>
              <a:gd name="connsiteY12" fmla="*/ 161237 h 527990"/>
              <a:gd name="connsiteX13" fmla="*/ 263995 w 1076399"/>
              <a:gd name="connsiteY13" fmla="*/ 0 h 527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76399" h="527990">
                <a:moveTo>
                  <a:pt x="0" y="263994"/>
                </a:moveTo>
                <a:lnTo>
                  <a:pt x="0" y="263995"/>
                </a:lnTo>
                <a:lnTo>
                  <a:pt x="0" y="263995"/>
                </a:lnTo>
                <a:close/>
                <a:moveTo>
                  <a:pt x="263995" y="0"/>
                </a:moveTo>
                <a:lnTo>
                  <a:pt x="812404" y="0"/>
                </a:lnTo>
                <a:cubicBezTo>
                  <a:pt x="958204" y="0"/>
                  <a:pt x="1076399" y="118195"/>
                  <a:pt x="1076399" y="263995"/>
                </a:cubicBezTo>
                <a:lnTo>
                  <a:pt x="1076398" y="263995"/>
                </a:lnTo>
                <a:cubicBezTo>
                  <a:pt x="1076398" y="391570"/>
                  <a:pt x="985905" y="498010"/>
                  <a:pt x="865607" y="522627"/>
                </a:cubicBezTo>
                <a:lnTo>
                  <a:pt x="812405" y="527990"/>
                </a:lnTo>
                <a:lnTo>
                  <a:pt x="263995" y="527989"/>
                </a:lnTo>
                <a:cubicBezTo>
                  <a:pt x="154645" y="527989"/>
                  <a:pt x="60823" y="461504"/>
                  <a:pt x="20746" y="366753"/>
                </a:cubicBezTo>
                <a:lnTo>
                  <a:pt x="0" y="263995"/>
                </a:lnTo>
                <a:lnTo>
                  <a:pt x="20746" y="161237"/>
                </a:lnTo>
                <a:cubicBezTo>
                  <a:pt x="60823" y="66485"/>
                  <a:pt x="154645" y="0"/>
                  <a:pt x="263995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54" name="Picture 2" descr="https://xn--32-9kcqjffxnf3b.xn--p1ai/upload/iblock/033/033cfc91b35e479e09206109748af9db.png">
            <a:extLst>
              <a:ext uri="{FF2B5EF4-FFF2-40B4-BE49-F238E27FC236}">
                <a16:creationId xmlns:a16="http://schemas.microsoft.com/office/drawing/2014/main" xmlns="" id="{0EF31431-AA0B-9441-8672-A83A921BB5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7189" y="2345050"/>
            <a:ext cx="781145" cy="164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Скругленный прямоугольник 63"/>
          <p:cNvSpPr/>
          <p:nvPr/>
        </p:nvSpPr>
        <p:spPr>
          <a:xfrm>
            <a:off x="7892290" y="2197720"/>
            <a:ext cx="1034871" cy="442453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7" name="Picture 2" descr="Файл:Альфа-банк Україна.png — Википедия">
            <a:extLst>
              <a:ext uri="{FF2B5EF4-FFF2-40B4-BE49-F238E27FC236}">
                <a16:creationId xmlns:a16="http://schemas.microsoft.com/office/drawing/2014/main" xmlns="" id="{F8DFF89C-5E3C-E448-8135-BDFFDDDB2C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086" y="2286481"/>
            <a:ext cx="787427" cy="275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Полилиния 67"/>
          <p:cNvSpPr/>
          <p:nvPr/>
        </p:nvSpPr>
        <p:spPr>
          <a:xfrm>
            <a:off x="6805550" y="2197529"/>
            <a:ext cx="1014499" cy="448199"/>
          </a:xfrm>
          <a:custGeom>
            <a:avLst/>
            <a:gdLst>
              <a:gd name="connsiteX0" fmla="*/ 263995 w 1267198"/>
              <a:gd name="connsiteY0" fmla="*/ 0 h 527990"/>
              <a:gd name="connsiteX1" fmla="*/ 1003203 w 1267198"/>
              <a:gd name="connsiteY1" fmla="*/ 0 h 527990"/>
              <a:gd name="connsiteX2" fmla="*/ 1267198 w 1267198"/>
              <a:gd name="connsiteY2" fmla="*/ 263995 h 527990"/>
              <a:gd name="connsiteX3" fmla="*/ 1003203 w 1267198"/>
              <a:gd name="connsiteY3" fmla="*/ 527990 h 527990"/>
              <a:gd name="connsiteX4" fmla="*/ 263995 w 1267198"/>
              <a:gd name="connsiteY4" fmla="*/ 527990 h 527990"/>
              <a:gd name="connsiteX5" fmla="*/ 0 w 1267198"/>
              <a:gd name="connsiteY5" fmla="*/ 263995 h 527990"/>
              <a:gd name="connsiteX6" fmla="*/ 263995 w 1267198"/>
              <a:gd name="connsiteY6" fmla="*/ 0 h 527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67198" h="527990">
                <a:moveTo>
                  <a:pt x="263995" y="0"/>
                </a:moveTo>
                <a:lnTo>
                  <a:pt x="1003203" y="0"/>
                </a:lnTo>
                <a:cubicBezTo>
                  <a:pt x="1149003" y="0"/>
                  <a:pt x="1267198" y="118195"/>
                  <a:pt x="1267198" y="263995"/>
                </a:cubicBezTo>
                <a:cubicBezTo>
                  <a:pt x="1267198" y="409795"/>
                  <a:pt x="1149003" y="527990"/>
                  <a:pt x="1003203" y="527990"/>
                </a:cubicBezTo>
                <a:lnTo>
                  <a:pt x="263995" y="527990"/>
                </a:lnTo>
                <a:cubicBezTo>
                  <a:pt x="118195" y="527990"/>
                  <a:pt x="0" y="409795"/>
                  <a:pt x="0" y="263995"/>
                </a:cubicBezTo>
                <a:cubicBezTo>
                  <a:pt x="0" y="118195"/>
                  <a:pt x="118195" y="0"/>
                  <a:pt x="263995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 dirty="0"/>
          </a:p>
        </p:txBody>
      </p:sp>
      <p:pic>
        <p:nvPicPr>
          <p:cNvPr id="69" name="Рисунок 68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5311" y="2303869"/>
            <a:ext cx="863614" cy="274163"/>
          </a:xfrm>
          <a:prstGeom prst="rect">
            <a:avLst/>
          </a:prstGeom>
        </p:spPr>
      </p:pic>
      <p:sp>
        <p:nvSpPr>
          <p:cNvPr id="70" name="Полилиния 69"/>
          <p:cNvSpPr/>
          <p:nvPr/>
        </p:nvSpPr>
        <p:spPr>
          <a:xfrm>
            <a:off x="8995721" y="2213253"/>
            <a:ext cx="1051781" cy="442452"/>
          </a:xfrm>
          <a:custGeom>
            <a:avLst/>
            <a:gdLst>
              <a:gd name="connsiteX0" fmla="*/ 231426 w 1514052"/>
              <a:gd name="connsiteY0" fmla="*/ 0 h 462852"/>
              <a:gd name="connsiteX1" fmla="*/ 358690 w 1514052"/>
              <a:gd name="connsiteY1" fmla="*/ 0 h 462852"/>
              <a:gd name="connsiteX2" fmla="*/ 688127 w 1514052"/>
              <a:gd name="connsiteY2" fmla="*/ 0 h 462852"/>
              <a:gd name="connsiteX3" fmla="*/ 698661 w 1514052"/>
              <a:gd name="connsiteY3" fmla="*/ 0 h 462852"/>
              <a:gd name="connsiteX4" fmla="*/ 815391 w 1514052"/>
              <a:gd name="connsiteY4" fmla="*/ 0 h 462852"/>
              <a:gd name="connsiteX5" fmla="*/ 825925 w 1514052"/>
              <a:gd name="connsiteY5" fmla="*/ 0 h 462852"/>
              <a:gd name="connsiteX6" fmla="*/ 1155362 w 1514052"/>
              <a:gd name="connsiteY6" fmla="*/ 0 h 462852"/>
              <a:gd name="connsiteX7" fmla="*/ 1282626 w 1514052"/>
              <a:gd name="connsiteY7" fmla="*/ 0 h 462852"/>
              <a:gd name="connsiteX8" fmla="*/ 1514052 w 1514052"/>
              <a:gd name="connsiteY8" fmla="*/ 231426 h 462852"/>
              <a:gd name="connsiteX9" fmla="*/ 1282626 w 1514052"/>
              <a:gd name="connsiteY9" fmla="*/ 462852 h 462852"/>
              <a:gd name="connsiteX10" fmla="*/ 1155362 w 1514052"/>
              <a:gd name="connsiteY10" fmla="*/ 462852 h 462852"/>
              <a:gd name="connsiteX11" fmla="*/ 825925 w 1514052"/>
              <a:gd name="connsiteY11" fmla="*/ 462852 h 462852"/>
              <a:gd name="connsiteX12" fmla="*/ 815391 w 1514052"/>
              <a:gd name="connsiteY12" fmla="*/ 462852 h 462852"/>
              <a:gd name="connsiteX13" fmla="*/ 698661 w 1514052"/>
              <a:gd name="connsiteY13" fmla="*/ 462852 h 462852"/>
              <a:gd name="connsiteX14" fmla="*/ 688127 w 1514052"/>
              <a:gd name="connsiteY14" fmla="*/ 462852 h 462852"/>
              <a:gd name="connsiteX15" fmla="*/ 358690 w 1514052"/>
              <a:gd name="connsiteY15" fmla="*/ 462852 h 462852"/>
              <a:gd name="connsiteX16" fmla="*/ 231426 w 1514052"/>
              <a:gd name="connsiteY16" fmla="*/ 462852 h 462852"/>
              <a:gd name="connsiteX17" fmla="*/ 0 w 1514052"/>
              <a:gd name="connsiteY17" fmla="*/ 231426 h 462852"/>
              <a:gd name="connsiteX18" fmla="*/ 231426 w 1514052"/>
              <a:gd name="connsiteY18" fmla="*/ 0 h 462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514052" h="462852">
                <a:moveTo>
                  <a:pt x="231426" y="0"/>
                </a:moveTo>
                <a:lnTo>
                  <a:pt x="358690" y="0"/>
                </a:lnTo>
                <a:lnTo>
                  <a:pt x="688127" y="0"/>
                </a:lnTo>
                <a:lnTo>
                  <a:pt x="698661" y="0"/>
                </a:lnTo>
                <a:lnTo>
                  <a:pt x="815391" y="0"/>
                </a:lnTo>
                <a:lnTo>
                  <a:pt x="825925" y="0"/>
                </a:lnTo>
                <a:lnTo>
                  <a:pt x="1155362" y="0"/>
                </a:lnTo>
                <a:lnTo>
                  <a:pt x="1282626" y="0"/>
                </a:lnTo>
                <a:cubicBezTo>
                  <a:pt x="1410439" y="0"/>
                  <a:pt x="1514052" y="103613"/>
                  <a:pt x="1514052" y="231426"/>
                </a:cubicBezTo>
                <a:cubicBezTo>
                  <a:pt x="1514052" y="359239"/>
                  <a:pt x="1410439" y="462852"/>
                  <a:pt x="1282626" y="462852"/>
                </a:cubicBezTo>
                <a:lnTo>
                  <a:pt x="1155362" y="462852"/>
                </a:lnTo>
                <a:lnTo>
                  <a:pt x="825925" y="462852"/>
                </a:lnTo>
                <a:lnTo>
                  <a:pt x="815391" y="462852"/>
                </a:lnTo>
                <a:lnTo>
                  <a:pt x="698661" y="462852"/>
                </a:lnTo>
                <a:lnTo>
                  <a:pt x="688127" y="462852"/>
                </a:lnTo>
                <a:lnTo>
                  <a:pt x="358690" y="462852"/>
                </a:lnTo>
                <a:lnTo>
                  <a:pt x="231426" y="462852"/>
                </a:lnTo>
                <a:cubicBezTo>
                  <a:pt x="103613" y="462852"/>
                  <a:pt x="0" y="359239"/>
                  <a:pt x="0" y="231426"/>
                </a:cubicBezTo>
                <a:cubicBezTo>
                  <a:pt x="0" y="103613"/>
                  <a:pt x="103613" y="0"/>
                  <a:pt x="231426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72" name="Полилиния 71"/>
          <p:cNvSpPr/>
          <p:nvPr/>
        </p:nvSpPr>
        <p:spPr>
          <a:xfrm>
            <a:off x="10118027" y="2197720"/>
            <a:ext cx="1051781" cy="442452"/>
          </a:xfrm>
          <a:custGeom>
            <a:avLst/>
            <a:gdLst>
              <a:gd name="connsiteX0" fmla="*/ 231426 w 1514052"/>
              <a:gd name="connsiteY0" fmla="*/ 0 h 462852"/>
              <a:gd name="connsiteX1" fmla="*/ 358690 w 1514052"/>
              <a:gd name="connsiteY1" fmla="*/ 0 h 462852"/>
              <a:gd name="connsiteX2" fmla="*/ 688127 w 1514052"/>
              <a:gd name="connsiteY2" fmla="*/ 0 h 462852"/>
              <a:gd name="connsiteX3" fmla="*/ 698661 w 1514052"/>
              <a:gd name="connsiteY3" fmla="*/ 0 h 462852"/>
              <a:gd name="connsiteX4" fmla="*/ 815391 w 1514052"/>
              <a:gd name="connsiteY4" fmla="*/ 0 h 462852"/>
              <a:gd name="connsiteX5" fmla="*/ 825925 w 1514052"/>
              <a:gd name="connsiteY5" fmla="*/ 0 h 462852"/>
              <a:gd name="connsiteX6" fmla="*/ 1155362 w 1514052"/>
              <a:gd name="connsiteY6" fmla="*/ 0 h 462852"/>
              <a:gd name="connsiteX7" fmla="*/ 1282626 w 1514052"/>
              <a:gd name="connsiteY7" fmla="*/ 0 h 462852"/>
              <a:gd name="connsiteX8" fmla="*/ 1514052 w 1514052"/>
              <a:gd name="connsiteY8" fmla="*/ 231426 h 462852"/>
              <a:gd name="connsiteX9" fmla="*/ 1282626 w 1514052"/>
              <a:gd name="connsiteY9" fmla="*/ 462852 h 462852"/>
              <a:gd name="connsiteX10" fmla="*/ 1155362 w 1514052"/>
              <a:gd name="connsiteY10" fmla="*/ 462852 h 462852"/>
              <a:gd name="connsiteX11" fmla="*/ 825925 w 1514052"/>
              <a:gd name="connsiteY11" fmla="*/ 462852 h 462852"/>
              <a:gd name="connsiteX12" fmla="*/ 815391 w 1514052"/>
              <a:gd name="connsiteY12" fmla="*/ 462852 h 462852"/>
              <a:gd name="connsiteX13" fmla="*/ 698661 w 1514052"/>
              <a:gd name="connsiteY13" fmla="*/ 462852 h 462852"/>
              <a:gd name="connsiteX14" fmla="*/ 688127 w 1514052"/>
              <a:gd name="connsiteY14" fmla="*/ 462852 h 462852"/>
              <a:gd name="connsiteX15" fmla="*/ 358690 w 1514052"/>
              <a:gd name="connsiteY15" fmla="*/ 462852 h 462852"/>
              <a:gd name="connsiteX16" fmla="*/ 231426 w 1514052"/>
              <a:gd name="connsiteY16" fmla="*/ 462852 h 462852"/>
              <a:gd name="connsiteX17" fmla="*/ 0 w 1514052"/>
              <a:gd name="connsiteY17" fmla="*/ 231426 h 462852"/>
              <a:gd name="connsiteX18" fmla="*/ 231426 w 1514052"/>
              <a:gd name="connsiteY18" fmla="*/ 0 h 462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514052" h="462852">
                <a:moveTo>
                  <a:pt x="231426" y="0"/>
                </a:moveTo>
                <a:lnTo>
                  <a:pt x="358690" y="0"/>
                </a:lnTo>
                <a:lnTo>
                  <a:pt x="688127" y="0"/>
                </a:lnTo>
                <a:lnTo>
                  <a:pt x="698661" y="0"/>
                </a:lnTo>
                <a:lnTo>
                  <a:pt x="815391" y="0"/>
                </a:lnTo>
                <a:lnTo>
                  <a:pt x="825925" y="0"/>
                </a:lnTo>
                <a:lnTo>
                  <a:pt x="1155362" y="0"/>
                </a:lnTo>
                <a:lnTo>
                  <a:pt x="1282626" y="0"/>
                </a:lnTo>
                <a:cubicBezTo>
                  <a:pt x="1410439" y="0"/>
                  <a:pt x="1514052" y="103613"/>
                  <a:pt x="1514052" y="231426"/>
                </a:cubicBezTo>
                <a:cubicBezTo>
                  <a:pt x="1514052" y="359239"/>
                  <a:pt x="1410439" y="462852"/>
                  <a:pt x="1282626" y="462852"/>
                </a:cubicBezTo>
                <a:lnTo>
                  <a:pt x="1155362" y="462852"/>
                </a:lnTo>
                <a:lnTo>
                  <a:pt x="825925" y="462852"/>
                </a:lnTo>
                <a:lnTo>
                  <a:pt x="815391" y="462852"/>
                </a:lnTo>
                <a:lnTo>
                  <a:pt x="698661" y="462852"/>
                </a:lnTo>
                <a:lnTo>
                  <a:pt x="688127" y="462852"/>
                </a:lnTo>
                <a:lnTo>
                  <a:pt x="358690" y="462852"/>
                </a:lnTo>
                <a:lnTo>
                  <a:pt x="231426" y="462852"/>
                </a:lnTo>
                <a:cubicBezTo>
                  <a:pt x="103613" y="462852"/>
                  <a:pt x="0" y="359239"/>
                  <a:pt x="0" y="231426"/>
                </a:cubicBezTo>
                <a:cubicBezTo>
                  <a:pt x="0" y="103613"/>
                  <a:pt x="103613" y="0"/>
                  <a:pt x="231426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73" name="Полилиния 72"/>
          <p:cNvSpPr/>
          <p:nvPr/>
        </p:nvSpPr>
        <p:spPr>
          <a:xfrm>
            <a:off x="9075794" y="2813376"/>
            <a:ext cx="1051781" cy="442452"/>
          </a:xfrm>
          <a:custGeom>
            <a:avLst/>
            <a:gdLst>
              <a:gd name="connsiteX0" fmla="*/ 231426 w 1514052"/>
              <a:gd name="connsiteY0" fmla="*/ 0 h 462852"/>
              <a:gd name="connsiteX1" fmla="*/ 358690 w 1514052"/>
              <a:gd name="connsiteY1" fmla="*/ 0 h 462852"/>
              <a:gd name="connsiteX2" fmla="*/ 688127 w 1514052"/>
              <a:gd name="connsiteY2" fmla="*/ 0 h 462852"/>
              <a:gd name="connsiteX3" fmla="*/ 698661 w 1514052"/>
              <a:gd name="connsiteY3" fmla="*/ 0 h 462852"/>
              <a:gd name="connsiteX4" fmla="*/ 815391 w 1514052"/>
              <a:gd name="connsiteY4" fmla="*/ 0 h 462852"/>
              <a:gd name="connsiteX5" fmla="*/ 825925 w 1514052"/>
              <a:gd name="connsiteY5" fmla="*/ 0 h 462852"/>
              <a:gd name="connsiteX6" fmla="*/ 1155362 w 1514052"/>
              <a:gd name="connsiteY6" fmla="*/ 0 h 462852"/>
              <a:gd name="connsiteX7" fmla="*/ 1282626 w 1514052"/>
              <a:gd name="connsiteY7" fmla="*/ 0 h 462852"/>
              <a:gd name="connsiteX8" fmla="*/ 1514052 w 1514052"/>
              <a:gd name="connsiteY8" fmla="*/ 231426 h 462852"/>
              <a:gd name="connsiteX9" fmla="*/ 1282626 w 1514052"/>
              <a:gd name="connsiteY9" fmla="*/ 462852 h 462852"/>
              <a:gd name="connsiteX10" fmla="*/ 1155362 w 1514052"/>
              <a:gd name="connsiteY10" fmla="*/ 462852 h 462852"/>
              <a:gd name="connsiteX11" fmla="*/ 825925 w 1514052"/>
              <a:gd name="connsiteY11" fmla="*/ 462852 h 462852"/>
              <a:gd name="connsiteX12" fmla="*/ 815391 w 1514052"/>
              <a:gd name="connsiteY12" fmla="*/ 462852 h 462852"/>
              <a:gd name="connsiteX13" fmla="*/ 698661 w 1514052"/>
              <a:gd name="connsiteY13" fmla="*/ 462852 h 462852"/>
              <a:gd name="connsiteX14" fmla="*/ 688127 w 1514052"/>
              <a:gd name="connsiteY14" fmla="*/ 462852 h 462852"/>
              <a:gd name="connsiteX15" fmla="*/ 358690 w 1514052"/>
              <a:gd name="connsiteY15" fmla="*/ 462852 h 462852"/>
              <a:gd name="connsiteX16" fmla="*/ 231426 w 1514052"/>
              <a:gd name="connsiteY16" fmla="*/ 462852 h 462852"/>
              <a:gd name="connsiteX17" fmla="*/ 0 w 1514052"/>
              <a:gd name="connsiteY17" fmla="*/ 231426 h 462852"/>
              <a:gd name="connsiteX18" fmla="*/ 231426 w 1514052"/>
              <a:gd name="connsiteY18" fmla="*/ 0 h 462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514052" h="462852">
                <a:moveTo>
                  <a:pt x="231426" y="0"/>
                </a:moveTo>
                <a:lnTo>
                  <a:pt x="358690" y="0"/>
                </a:lnTo>
                <a:lnTo>
                  <a:pt x="688127" y="0"/>
                </a:lnTo>
                <a:lnTo>
                  <a:pt x="698661" y="0"/>
                </a:lnTo>
                <a:lnTo>
                  <a:pt x="815391" y="0"/>
                </a:lnTo>
                <a:lnTo>
                  <a:pt x="825925" y="0"/>
                </a:lnTo>
                <a:lnTo>
                  <a:pt x="1155362" y="0"/>
                </a:lnTo>
                <a:lnTo>
                  <a:pt x="1282626" y="0"/>
                </a:lnTo>
                <a:cubicBezTo>
                  <a:pt x="1410439" y="0"/>
                  <a:pt x="1514052" y="103613"/>
                  <a:pt x="1514052" y="231426"/>
                </a:cubicBezTo>
                <a:cubicBezTo>
                  <a:pt x="1514052" y="359239"/>
                  <a:pt x="1410439" y="462852"/>
                  <a:pt x="1282626" y="462852"/>
                </a:cubicBezTo>
                <a:lnTo>
                  <a:pt x="1155362" y="462852"/>
                </a:lnTo>
                <a:lnTo>
                  <a:pt x="825925" y="462852"/>
                </a:lnTo>
                <a:lnTo>
                  <a:pt x="815391" y="462852"/>
                </a:lnTo>
                <a:lnTo>
                  <a:pt x="698661" y="462852"/>
                </a:lnTo>
                <a:lnTo>
                  <a:pt x="688127" y="462852"/>
                </a:lnTo>
                <a:lnTo>
                  <a:pt x="358690" y="462852"/>
                </a:lnTo>
                <a:lnTo>
                  <a:pt x="231426" y="462852"/>
                </a:lnTo>
                <a:cubicBezTo>
                  <a:pt x="103613" y="462852"/>
                  <a:pt x="0" y="359239"/>
                  <a:pt x="0" y="231426"/>
                </a:cubicBezTo>
                <a:cubicBezTo>
                  <a:pt x="0" y="103613"/>
                  <a:pt x="103613" y="0"/>
                  <a:pt x="231426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74" name="Полилиния 73"/>
          <p:cNvSpPr/>
          <p:nvPr/>
        </p:nvSpPr>
        <p:spPr>
          <a:xfrm>
            <a:off x="10210272" y="2809497"/>
            <a:ext cx="1280334" cy="442452"/>
          </a:xfrm>
          <a:custGeom>
            <a:avLst/>
            <a:gdLst>
              <a:gd name="connsiteX0" fmla="*/ 231426 w 1514052"/>
              <a:gd name="connsiteY0" fmla="*/ 0 h 462852"/>
              <a:gd name="connsiteX1" fmla="*/ 358690 w 1514052"/>
              <a:gd name="connsiteY1" fmla="*/ 0 h 462852"/>
              <a:gd name="connsiteX2" fmla="*/ 688127 w 1514052"/>
              <a:gd name="connsiteY2" fmla="*/ 0 h 462852"/>
              <a:gd name="connsiteX3" fmla="*/ 698661 w 1514052"/>
              <a:gd name="connsiteY3" fmla="*/ 0 h 462852"/>
              <a:gd name="connsiteX4" fmla="*/ 815391 w 1514052"/>
              <a:gd name="connsiteY4" fmla="*/ 0 h 462852"/>
              <a:gd name="connsiteX5" fmla="*/ 825925 w 1514052"/>
              <a:gd name="connsiteY5" fmla="*/ 0 h 462852"/>
              <a:gd name="connsiteX6" fmla="*/ 1155362 w 1514052"/>
              <a:gd name="connsiteY6" fmla="*/ 0 h 462852"/>
              <a:gd name="connsiteX7" fmla="*/ 1282626 w 1514052"/>
              <a:gd name="connsiteY7" fmla="*/ 0 h 462852"/>
              <a:gd name="connsiteX8" fmla="*/ 1514052 w 1514052"/>
              <a:gd name="connsiteY8" fmla="*/ 231426 h 462852"/>
              <a:gd name="connsiteX9" fmla="*/ 1282626 w 1514052"/>
              <a:gd name="connsiteY9" fmla="*/ 462852 h 462852"/>
              <a:gd name="connsiteX10" fmla="*/ 1155362 w 1514052"/>
              <a:gd name="connsiteY10" fmla="*/ 462852 h 462852"/>
              <a:gd name="connsiteX11" fmla="*/ 825925 w 1514052"/>
              <a:gd name="connsiteY11" fmla="*/ 462852 h 462852"/>
              <a:gd name="connsiteX12" fmla="*/ 815391 w 1514052"/>
              <a:gd name="connsiteY12" fmla="*/ 462852 h 462852"/>
              <a:gd name="connsiteX13" fmla="*/ 698661 w 1514052"/>
              <a:gd name="connsiteY13" fmla="*/ 462852 h 462852"/>
              <a:gd name="connsiteX14" fmla="*/ 688127 w 1514052"/>
              <a:gd name="connsiteY14" fmla="*/ 462852 h 462852"/>
              <a:gd name="connsiteX15" fmla="*/ 358690 w 1514052"/>
              <a:gd name="connsiteY15" fmla="*/ 462852 h 462852"/>
              <a:gd name="connsiteX16" fmla="*/ 231426 w 1514052"/>
              <a:gd name="connsiteY16" fmla="*/ 462852 h 462852"/>
              <a:gd name="connsiteX17" fmla="*/ 0 w 1514052"/>
              <a:gd name="connsiteY17" fmla="*/ 231426 h 462852"/>
              <a:gd name="connsiteX18" fmla="*/ 231426 w 1514052"/>
              <a:gd name="connsiteY18" fmla="*/ 0 h 4628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514052" h="462852">
                <a:moveTo>
                  <a:pt x="231426" y="0"/>
                </a:moveTo>
                <a:lnTo>
                  <a:pt x="358690" y="0"/>
                </a:lnTo>
                <a:lnTo>
                  <a:pt x="688127" y="0"/>
                </a:lnTo>
                <a:lnTo>
                  <a:pt x="698661" y="0"/>
                </a:lnTo>
                <a:lnTo>
                  <a:pt x="815391" y="0"/>
                </a:lnTo>
                <a:lnTo>
                  <a:pt x="825925" y="0"/>
                </a:lnTo>
                <a:lnTo>
                  <a:pt x="1155362" y="0"/>
                </a:lnTo>
                <a:lnTo>
                  <a:pt x="1282626" y="0"/>
                </a:lnTo>
                <a:cubicBezTo>
                  <a:pt x="1410439" y="0"/>
                  <a:pt x="1514052" y="103613"/>
                  <a:pt x="1514052" y="231426"/>
                </a:cubicBezTo>
                <a:cubicBezTo>
                  <a:pt x="1514052" y="359239"/>
                  <a:pt x="1410439" y="462852"/>
                  <a:pt x="1282626" y="462852"/>
                </a:cubicBezTo>
                <a:lnTo>
                  <a:pt x="1155362" y="462852"/>
                </a:lnTo>
                <a:lnTo>
                  <a:pt x="825925" y="462852"/>
                </a:lnTo>
                <a:lnTo>
                  <a:pt x="815391" y="462852"/>
                </a:lnTo>
                <a:lnTo>
                  <a:pt x="698661" y="462852"/>
                </a:lnTo>
                <a:lnTo>
                  <a:pt x="688127" y="462852"/>
                </a:lnTo>
                <a:lnTo>
                  <a:pt x="358690" y="462852"/>
                </a:lnTo>
                <a:lnTo>
                  <a:pt x="231426" y="462852"/>
                </a:lnTo>
                <a:cubicBezTo>
                  <a:pt x="103613" y="462852"/>
                  <a:pt x="0" y="359239"/>
                  <a:pt x="0" y="231426"/>
                </a:cubicBezTo>
                <a:cubicBezTo>
                  <a:pt x="0" y="103613"/>
                  <a:pt x="103613" y="0"/>
                  <a:pt x="231426" y="0"/>
                </a:cubicBezTo>
                <a:close/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75" name="Рисунок 74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7651" y="2930627"/>
            <a:ext cx="860460" cy="214159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449206"/>
            <a:ext cx="604745" cy="322513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454712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557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/>
        </p:nvSpPr>
        <p:spPr>
          <a:xfrm>
            <a:off x="278269" y="1847173"/>
            <a:ext cx="4026312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 flipH="1">
            <a:off x="5770879" y="8187"/>
            <a:ext cx="647993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2786"/>
            <a:endParaRPr lang="ru-RU" spc="7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115946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6400697" y="1960299"/>
            <a:ext cx="608212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pc="7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оставление </a:t>
            </a:r>
            <a:r>
              <a:rPr lang="ru-RU" spc="7" dirty="0" smtClean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«зонтичного» </a:t>
            </a:r>
            <a:r>
              <a:rPr lang="ru-RU" spc="7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ручительства </a:t>
            </a:r>
            <a:r>
              <a:rPr lang="ru-RU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pc="7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совместно с поручительством РГО 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6400697" y="877769"/>
            <a:ext cx="5952496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lnSpc>
                <a:spcPts val="3000"/>
              </a:lnSpc>
            </a:pPr>
            <a:r>
              <a:rPr lang="ru-RU" sz="280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крытие кредита </a:t>
            </a:r>
            <a:br>
              <a:rPr lang="ru-RU" sz="280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280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едпринимателю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425540" y="3924732"/>
            <a:ext cx="2282651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начинающих </a:t>
            </a:r>
            <a:r>
              <a:rPr lang="ru-RU" sz="14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4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лодых предпринимателей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65819" y="3952522"/>
            <a:ext cx="227881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</a:t>
            </a:r>
            <a:r>
              <a:rPr lang="ru-RU" sz="1400" spc="7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spc="7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сех </a:t>
            </a: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раслей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6400697" y="3343730"/>
            <a:ext cx="1811569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90%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9236011" y="3343610"/>
            <a:ext cx="1811569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70%</a:t>
            </a:r>
            <a:endParaRPr lang="ru-RU" sz="3600" kern="0" spc="-5" dirty="0">
              <a:solidFill>
                <a:srgbClr val="84E0F7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400697" y="5308043"/>
            <a:ext cx="5638147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 algn="l" defTabSz="457200" rtl="0" eaLnBrk="1" fontAlgn="auto" latinLnBrk="0" hangingPunct="1">
              <a:lnSpc>
                <a:spcPct val="100000"/>
              </a:lnSpc>
              <a:spcBef>
                <a:spcPts val="361"/>
              </a:spcBef>
              <a:spcAft>
                <a:spcPts val="657"/>
              </a:spcAft>
              <a:buClr>
                <a:schemeClr val="accent2"/>
              </a:buClr>
              <a:buSzPct val="150000"/>
              <a:tabLst/>
              <a:defRPr/>
            </a:pP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ручительство по кредиту предоставляется 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/>
            </a:r>
            <a:b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в 15 банках-участниках </a:t>
            </a: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ри выдаче 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кредита</a:t>
            </a:r>
            <a:endParaRPr kumimoji="0" lang="ru-RU" sz="1600" b="0" i="0" u="none" strike="noStrike" kern="1200" cap="none" spc="7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371475" y="282770"/>
            <a:ext cx="2573191" cy="276999"/>
            <a:chOff x="9353062" y="5079459"/>
            <a:chExt cx="2573191" cy="276999"/>
          </a:xfrm>
        </p:grpSpPr>
        <p:sp>
          <p:nvSpPr>
            <p:cNvPr id="16" name="Скругленный прямоугольник 15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450678" y="5079459"/>
              <a:ext cx="237795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ф</a:t>
              </a:r>
              <a:r>
                <a:rPr lang="ru-RU" sz="1200" spc="-12" dirty="0" smtClean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инансовые </a:t>
              </a:r>
              <a:r>
                <a:rPr lang="ru-RU" sz="1200" spc="-12" dirty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меры поддержки</a:t>
              </a:r>
            </a:p>
          </p:txBody>
        </p:sp>
      </p:grpSp>
      <p:sp>
        <p:nvSpPr>
          <p:cNvPr id="20" name="Прямоугольник 19"/>
          <p:cNvSpPr/>
          <p:nvPr/>
        </p:nvSpPr>
        <p:spPr>
          <a:xfrm>
            <a:off x="278269" y="852092"/>
            <a:ext cx="3422463" cy="431818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363893" y="835199"/>
            <a:ext cx="5027376" cy="19492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 indent="0" fontAlgn="auto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«Зонтичный» механизм + поручительство </a:t>
            </a: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/>
            </a:r>
            <a:b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 РГО</a:t>
            </a:r>
            <a:endParaRPr lang="ru-RU" sz="3500" i="1" u="sng" dirty="0">
              <a:solidFill>
                <a:srgbClr val="FFC000"/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2879" y="377111"/>
            <a:ext cx="2111389" cy="409703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233877" y="385446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019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41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-20848" y="0"/>
            <a:ext cx="12212848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Номер слайда 1"/>
          <p:cNvSpPr txBox="1">
            <a:spLocks/>
          </p:cNvSpPr>
          <p:nvPr/>
        </p:nvSpPr>
        <p:spPr>
          <a:xfrm>
            <a:off x="11100911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71476" y="2815242"/>
            <a:ext cx="1053677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80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ртрет заемщика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5143" y="283635"/>
            <a:ext cx="1607729" cy="40148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9207" y="376111"/>
            <a:ext cx="1187511" cy="292115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371475" y="773768"/>
            <a:ext cx="1111200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Льготное кредитование </a:t>
            </a:r>
            <a:r>
              <a:rPr lang="en-US" sz="3600" spc="-10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/>
            </a:r>
            <a:br>
              <a:rPr lang="en-US" sz="3600" spc="-10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</a:br>
            <a:r>
              <a:rPr lang="ru-RU" sz="2000" spc="-1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ехнологических компаний в МСП Банке при участии Корпорации МСП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371475" y="1853163"/>
            <a:ext cx="10702359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200" spc="7" dirty="0" smtClean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рамках реализации стратегической инициативы «Взлет </a:t>
            </a:r>
            <a:r>
              <a:rPr lang="ru-RU" sz="2200" spc="7" dirty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— </a:t>
            </a:r>
            <a:r>
              <a:rPr lang="ru-RU" sz="2200" spc="7" dirty="0" smtClean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 стартапа до </a:t>
            </a:r>
            <a:r>
              <a:rPr lang="en-US" sz="2200" spc="7" dirty="0" smtClean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PO</a:t>
            </a:r>
            <a:r>
              <a:rPr lang="ru-RU" sz="2200" spc="7" dirty="0" smtClean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»</a:t>
            </a:r>
            <a:endParaRPr lang="ru-RU" sz="2200" b="1" spc="7" dirty="0">
              <a:solidFill>
                <a:schemeClr val="bg1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031531" y="3621668"/>
            <a:ext cx="25251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убъект МСП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232983" y="3621668"/>
            <a:ext cx="272389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ыручка </a:t>
            </a:r>
            <a:r>
              <a:rPr lang="ru-RU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 </a:t>
            </a:r>
            <a:r>
              <a:rPr lang="ru-RU" spc="5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00</a:t>
            </a:r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400" spc="5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лн рублей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31531" y="4253464"/>
            <a:ext cx="3047738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темп роста выручки </a:t>
            </a:r>
            <a:r>
              <a:rPr lang="ru-RU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за </a:t>
            </a:r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3 </a:t>
            </a:r>
            <a:r>
              <a:rPr lang="ru-RU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года более </a:t>
            </a:r>
            <a:r>
              <a:rPr lang="ru-RU" spc="5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12%</a:t>
            </a: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8918305" y="3653052"/>
            <a:ext cx="0" cy="2163508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031530" y="5177616"/>
            <a:ext cx="3764757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ид </a:t>
            </a:r>
            <a:r>
              <a:rPr lang="ru-RU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экономической</a:t>
            </a:r>
            <a:r>
              <a:rPr lang="en-US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еятельности относится к </a:t>
            </a:r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иоритетным, </a:t>
            </a:r>
            <a:r>
              <a:rPr lang="ru-RU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одукция является</a:t>
            </a:r>
            <a:r>
              <a:rPr lang="en-US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ысокотехнологичной  </a:t>
            </a:r>
            <a:br>
              <a:rPr lang="ru-RU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и инновационной</a:t>
            </a:r>
            <a:endParaRPr lang="ru-RU" sz="1600" kern="0" spc="-5" dirty="0">
              <a:solidFill>
                <a:schemeClr val="bg1"/>
              </a:solidFill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5232982" y="4253464"/>
            <a:ext cx="310746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наличие права </a:t>
            </a:r>
            <a:r>
              <a:rPr lang="ru-RU" sz="1600" kern="0" spc="-5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на результаты интеллектуальной деятельности </a:t>
            </a:r>
            <a:r>
              <a:rPr lang="ru-RU" sz="1600" kern="0" spc="-5" dirty="0">
                <a:solidFill>
                  <a:schemeClr val="bg1"/>
                </a:solidFill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(патент)</a:t>
            </a: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9550433" y="3544284"/>
            <a:ext cx="143158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%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574514" y="4087237"/>
            <a:ext cx="17439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нечная ставка </a:t>
            </a:r>
            <a:b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заемщика</a:t>
            </a: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9550433" y="4836679"/>
            <a:ext cx="143158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kern="0" spc="-5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3</a:t>
            </a: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ода</a:t>
            </a:r>
            <a:endParaRPr lang="ru-RU" sz="1400" spc="7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9550434" y="5385673"/>
            <a:ext cx="14315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ксимальный </a:t>
            </a:r>
            <a:b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рок кредита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8462513" y="6167701"/>
            <a:ext cx="2936335" cy="273526"/>
            <a:chOff x="8453887" y="6223794"/>
            <a:chExt cx="2936335" cy="273526"/>
          </a:xfrm>
        </p:grpSpPr>
        <p:sp>
          <p:nvSpPr>
            <p:cNvPr id="30" name="Полилиния 29" descr="Прямоугольник">
              <a:extLst>
                <a:ext uri="{FF2B5EF4-FFF2-40B4-BE49-F238E27FC236}">
                  <a16:creationId xmlns:a16="http://schemas.microsoft.com/office/drawing/2014/main" xmlns="" id="{0D1EF200-FCF1-C349-8B28-88F1D2410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3887" y="6234467"/>
              <a:ext cx="1074825" cy="262853"/>
            </a:xfrm>
            <a:custGeom>
              <a:avLst/>
              <a:gdLst>
                <a:gd name="connsiteX0" fmla="*/ 211524 w 1658755"/>
                <a:gd name="connsiteY0" fmla="*/ 0 h 432048"/>
                <a:gd name="connsiteX1" fmla="*/ 534967 w 1658755"/>
                <a:gd name="connsiteY1" fmla="*/ 0 h 432048"/>
                <a:gd name="connsiteX2" fmla="*/ 581746 w 1658755"/>
                <a:gd name="connsiteY2" fmla="*/ 0 h 432048"/>
                <a:gd name="connsiteX3" fmla="*/ 780497 w 1658755"/>
                <a:gd name="connsiteY3" fmla="*/ 0 h 432048"/>
                <a:gd name="connsiteX4" fmla="*/ 780539 w 1658755"/>
                <a:gd name="connsiteY4" fmla="*/ 0 h 432048"/>
                <a:gd name="connsiteX5" fmla="*/ 825351 w 1658755"/>
                <a:gd name="connsiteY5" fmla="*/ 0 h 432048"/>
                <a:gd name="connsiteX6" fmla="*/ 833404 w 1658755"/>
                <a:gd name="connsiteY6" fmla="*/ 0 h 432048"/>
                <a:gd name="connsiteX7" fmla="*/ 878216 w 1658755"/>
                <a:gd name="connsiteY7" fmla="*/ 0 h 432048"/>
                <a:gd name="connsiteX8" fmla="*/ 878258 w 1658755"/>
                <a:gd name="connsiteY8" fmla="*/ 0 h 432048"/>
                <a:gd name="connsiteX9" fmla="*/ 1077009 w 1658755"/>
                <a:gd name="connsiteY9" fmla="*/ 0 h 432048"/>
                <a:gd name="connsiteX10" fmla="*/ 1123789 w 1658755"/>
                <a:gd name="connsiteY10" fmla="*/ 0 h 432048"/>
                <a:gd name="connsiteX11" fmla="*/ 1447231 w 1658755"/>
                <a:gd name="connsiteY11" fmla="*/ 0 h 432048"/>
                <a:gd name="connsiteX12" fmla="*/ 1658755 w 1658755"/>
                <a:gd name="connsiteY12" fmla="*/ 216024 h 432048"/>
                <a:gd name="connsiteX13" fmla="*/ 1658753 w 1658755"/>
                <a:gd name="connsiteY13" fmla="*/ 216024 h 432048"/>
                <a:gd name="connsiteX14" fmla="*/ 1447229 w 1658755"/>
                <a:gd name="connsiteY14" fmla="*/ 432048 h 432048"/>
                <a:gd name="connsiteX15" fmla="*/ 825359 w 1658755"/>
                <a:gd name="connsiteY15" fmla="*/ 432046 h 432048"/>
                <a:gd name="connsiteX16" fmla="*/ 825352 w 1658755"/>
                <a:gd name="connsiteY16" fmla="*/ 432048 h 432048"/>
                <a:gd name="connsiteX17" fmla="*/ 211524 w 1658755"/>
                <a:gd name="connsiteY17" fmla="*/ 432046 h 432048"/>
                <a:gd name="connsiteX18" fmla="*/ 16621 w 1658755"/>
                <a:gd name="connsiteY18" fmla="*/ 300110 h 432048"/>
                <a:gd name="connsiteX19" fmla="*/ 0 w 1658755"/>
                <a:gd name="connsiteY19" fmla="*/ 216024 h 432048"/>
                <a:gd name="connsiteX20" fmla="*/ 16621 w 1658755"/>
                <a:gd name="connsiteY20" fmla="*/ 131939 h 432048"/>
                <a:gd name="connsiteX21" fmla="*/ 211524 w 1658755"/>
                <a:gd name="connsiteY21" fmla="*/ 0 h 432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658755" h="432048">
                  <a:moveTo>
                    <a:pt x="211524" y="0"/>
                  </a:moveTo>
                  <a:lnTo>
                    <a:pt x="534967" y="0"/>
                  </a:lnTo>
                  <a:lnTo>
                    <a:pt x="581746" y="0"/>
                  </a:lnTo>
                  <a:lnTo>
                    <a:pt x="780497" y="0"/>
                  </a:lnTo>
                  <a:lnTo>
                    <a:pt x="780539" y="0"/>
                  </a:lnTo>
                  <a:lnTo>
                    <a:pt x="825351" y="0"/>
                  </a:lnTo>
                  <a:lnTo>
                    <a:pt x="833404" y="0"/>
                  </a:lnTo>
                  <a:lnTo>
                    <a:pt x="878216" y="0"/>
                  </a:lnTo>
                  <a:lnTo>
                    <a:pt x="878258" y="0"/>
                  </a:lnTo>
                  <a:lnTo>
                    <a:pt x="1077009" y="0"/>
                  </a:lnTo>
                  <a:lnTo>
                    <a:pt x="1123789" y="0"/>
                  </a:lnTo>
                  <a:lnTo>
                    <a:pt x="1447231" y="0"/>
                  </a:lnTo>
                  <a:cubicBezTo>
                    <a:pt x="1564053" y="0"/>
                    <a:pt x="1658755" y="96717"/>
                    <a:pt x="1658755" y="216024"/>
                  </a:cubicBezTo>
                  <a:lnTo>
                    <a:pt x="1658753" y="216024"/>
                  </a:lnTo>
                  <a:cubicBezTo>
                    <a:pt x="1658753" y="335332"/>
                    <a:pt x="1564051" y="432048"/>
                    <a:pt x="1447229" y="432048"/>
                  </a:cubicBezTo>
                  <a:lnTo>
                    <a:pt x="825359" y="432046"/>
                  </a:lnTo>
                  <a:lnTo>
                    <a:pt x="825352" y="432048"/>
                  </a:lnTo>
                  <a:lnTo>
                    <a:pt x="211524" y="432046"/>
                  </a:lnTo>
                  <a:cubicBezTo>
                    <a:pt x="123907" y="432046"/>
                    <a:pt x="48733" y="377643"/>
                    <a:pt x="16621" y="300110"/>
                  </a:cubicBezTo>
                  <a:lnTo>
                    <a:pt x="0" y="216024"/>
                  </a:lnTo>
                  <a:lnTo>
                    <a:pt x="16621" y="131939"/>
                  </a:lnTo>
                  <a:cubicBezTo>
                    <a:pt x="48733" y="54404"/>
                    <a:pt x="123907" y="0"/>
                    <a:pt x="211524" y="0"/>
                  </a:cubicBezTo>
                  <a:close/>
                </a:path>
              </a:pathLst>
            </a:custGeom>
            <a:solidFill>
              <a:srgbClr val="84E0F7"/>
            </a:solidFill>
            <a:ln>
              <a:noFill/>
            </a:ln>
          </p:spPr>
          <p:txBody>
            <a:bodyPr wrap="square" lIns="0" tIns="0" rIns="0" bIns="36000" anchor="ctr">
              <a:noAutofit/>
            </a:bodyPr>
            <a:lstStyle>
              <a:lvl1pPr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1pPr>
              <a:lvl2pPr marL="742950" indent="-28575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2pPr>
              <a:lvl3pPr marL="1143000" indent="-22860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3pPr>
              <a:lvl4pPr marL="1600200" indent="-22860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4pPr>
              <a:lvl5pPr marL="2057400" indent="-228600"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5pPr>
              <a:lvl6pPr marL="25146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6pPr>
              <a:lvl7pPr marL="29718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7pPr>
              <a:lvl8pPr marL="34290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8pPr>
              <a:lvl9pPr marL="3886200" indent="-228600" defTabSz="2436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rgbClr val="5E5E5E"/>
                  </a:solidFill>
                  <a:latin typeface="Helvetica Neue" panose="02000503000000020004" pitchFamily="2" charset="0"/>
                  <a:cs typeface="Helvetica Neue" panose="02000503000000020004" pitchFamily="2" charset="0"/>
                  <a:sym typeface="Helvetica Neue" panose="02000503000000020004" pitchFamily="2" charset="0"/>
                </a:defRPr>
              </a:lvl9pPr>
            </a:lstStyle>
            <a:p>
              <a:pPr algn="ctr" defTabSz="121840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1200" spc="-12" dirty="0" smtClean="0">
                  <a:solidFill>
                    <a:schemeClr val="tx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</a:rPr>
                <a:t>получить на</a:t>
              </a:r>
              <a:endParaRPr lang="ru-RU" altLang="ru-RU" sz="1200" spc="-12" dirty="0">
                <a:solidFill>
                  <a:schemeClr val="tx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endParaRPr>
            </a:p>
          </p:txBody>
        </p:sp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67511" y="6223794"/>
              <a:ext cx="1722711" cy="247535"/>
            </a:xfrm>
            <a:prstGeom prst="rect">
              <a:avLst/>
            </a:prstGeom>
          </p:spPr>
        </p:pic>
      </p:grpSp>
      <p:sp>
        <p:nvSpPr>
          <p:cNvPr id="7" name="Овал 6"/>
          <p:cNvSpPr/>
          <p:nvPr/>
        </p:nvSpPr>
        <p:spPr>
          <a:xfrm>
            <a:off x="371475" y="3527032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Овал 37"/>
          <p:cNvSpPr/>
          <p:nvPr/>
        </p:nvSpPr>
        <p:spPr>
          <a:xfrm>
            <a:off x="371475" y="4273804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Овал 38"/>
          <p:cNvSpPr/>
          <p:nvPr/>
        </p:nvSpPr>
        <p:spPr>
          <a:xfrm>
            <a:off x="371475" y="5214509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Овал 40"/>
          <p:cNvSpPr/>
          <p:nvPr/>
        </p:nvSpPr>
        <p:spPr>
          <a:xfrm>
            <a:off x="4621774" y="3527032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Овал 41"/>
          <p:cNvSpPr/>
          <p:nvPr/>
        </p:nvSpPr>
        <p:spPr>
          <a:xfrm>
            <a:off x="4621774" y="4273804"/>
            <a:ext cx="482540" cy="482540"/>
          </a:xfrm>
          <a:prstGeom prst="ellipse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333" y="3589427"/>
            <a:ext cx="327955" cy="32795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812" y="4319586"/>
            <a:ext cx="338132" cy="33813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812" y="5269461"/>
            <a:ext cx="338132" cy="338132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9842" y="3584595"/>
            <a:ext cx="338132" cy="338132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4925" y="4346008"/>
            <a:ext cx="338132" cy="338132"/>
          </a:xfrm>
          <a:prstGeom prst="rect">
            <a:avLst/>
          </a:prstGeom>
        </p:spPr>
      </p:pic>
      <p:pic>
        <p:nvPicPr>
          <p:cNvPr id="46128" name="Picture 48" descr="http://qrcoder.ru/code/?https%3A%2F%2Fxn--l1agf.xn--p1ai%2Fhightech.new%2Fpromo%2F&amp;4&amp;0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0160" y="5908689"/>
            <a:ext cx="802222" cy="802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2879" y="377111"/>
            <a:ext cx="2111389" cy="409703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233877" y="385446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620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/>
          <p:cNvSpPr/>
          <p:nvPr/>
        </p:nvSpPr>
        <p:spPr>
          <a:xfrm>
            <a:off x="-25133" y="0"/>
            <a:ext cx="5360460" cy="6858000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371475" y="282770"/>
            <a:ext cx="2573191" cy="276999"/>
            <a:chOff x="9353062" y="5079459"/>
            <a:chExt cx="2573191" cy="276999"/>
          </a:xfrm>
        </p:grpSpPr>
        <p:sp>
          <p:nvSpPr>
            <p:cNvPr id="16" name="Скругленный прямоугольник 15"/>
            <p:cNvSpPr/>
            <p:nvPr/>
          </p:nvSpPr>
          <p:spPr>
            <a:xfrm>
              <a:off x="9353062" y="5090482"/>
              <a:ext cx="2573191" cy="262081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450678" y="5079459"/>
              <a:ext cx="2377959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200" spc="-12" dirty="0">
                  <a:solidFill>
                    <a:schemeClr val="bg1"/>
                  </a:solidFill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  <a:sym typeface="Helvetica Neue" panose="02000503000000020004" pitchFamily="2" charset="0"/>
                </a:rPr>
                <a:t>финансовые меры поддержки</a:t>
              </a:r>
            </a:p>
          </p:txBody>
        </p:sp>
      </p:grpSp>
      <p:sp>
        <p:nvSpPr>
          <p:cNvPr id="20" name="Прямоугольник 19"/>
          <p:cNvSpPr/>
          <p:nvPr/>
        </p:nvSpPr>
        <p:spPr>
          <a:xfrm>
            <a:off x="278269" y="941256"/>
            <a:ext cx="4289381" cy="43181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363893" y="924363"/>
            <a:ext cx="5027376" cy="19492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 indent="0" fontAlgn="auto">
              <a:lnSpc>
                <a:spcPts val="3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Льготный лизинг </a:t>
            </a: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борудования </a:t>
            </a:r>
            <a:b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субъектов </a:t>
            </a:r>
            <a:b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36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СП</a:t>
            </a:r>
            <a:endParaRPr lang="ru-RU" sz="3500" i="1" u="sng" dirty="0">
              <a:solidFill>
                <a:srgbClr val="FFC000"/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5799038" y="797425"/>
            <a:ext cx="5952496" cy="76944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lnSpc>
                <a:spcPts val="3000"/>
              </a:lnSpc>
            </a:pPr>
            <a:r>
              <a:rPr lang="ru-RU" sz="28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охраняются </a:t>
            </a:r>
            <a:endParaRPr lang="ru-RU" sz="2800" dirty="0" smtClean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 marR="2786">
              <a:lnSpc>
                <a:spcPts val="3000"/>
              </a:lnSpc>
            </a:pPr>
            <a:r>
              <a:rPr lang="ru-RU" sz="28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льготные </a:t>
            </a:r>
            <a:r>
              <a:rPr lang="ru-RU" sz="28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центные ставки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06AB0C2C-7C1D-C7B8-E494-51C356141AC1}"/>
              </a:ext>
            </a:extLst>
          </p:cNvPr>
          <p:cNvSpPr txBox="1"/>
          <p:nvPr/>
        </p:nvSpPr>
        <p:spPr>
          <a:xfrm>
            <a:off x="278269" y="3049925"/>
            <a:ext cx="458819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В 2023 году запланированы </a:t>
            </a:r>
            <a:r>
              <a:rPr lang="ru-RU" b="1" dirty="0">
                <a:latin typeface="Segoe UI" panose="020B0502040204020203" pitchFamily="34" charset="0"/>
                <a:cs typeface="Segoe UI" panose="020B0502040204020203" pitchFamily="34" charset="0"/>
              </a:rPr>
              <a:t>ежеквартальные заявочные </a:t>
            </a:r>
            <a:r>
              <a:rPr lang="ru-RU" b="1" dirty="0" smtClean="0">
                <a:latin typeface="Segoe UI" panose="020B0502040204020203" pitchFamily="34" charset="0"/>
                <a:cs typeface="Segoe UI" panose="020B0502040204020203" pitchFamily="34" charset="0"/>
              </a:rPr>
              <a:t>кампании</a:t>
            </a: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на </a:t>
            </a:r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общую </a:t>
            </a:r>
            <a:r>
              <a:rPr lang="ru-RU" dirty="0" smtClean="0">
                <a:latin typeface="Segoe UI" panose="020B0502040204020203" pitchFamily="34" charset="0"/>
                <a:cs typeface="Segoe UI" panose="020B0502040204020203" pitchFamily="34" charset="0"/>
              </a:rPr>
              <a:t>сумму</a:t>
            </a:r>
            <a:endParaRPr lang="ru-RU" sz="44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06AB0C2C-7C1D-C7B8-E494-51C356141AC1}"/>
              </a:ext>
            </a:extLst>
          </p:cNvPr>
          <p:cNvSpPr txBox="1"/>
          <p:nvPr/>
        </p:nvSpPr>
        <p:spPr>
          <a:xfrm>
            <a:off x="278269" y="4196523"/>
            <a:ext cx="45881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9,5 </a:t>
            </a:r>
            <a:r>
              <a:rPr lang="ru-RU" sz="24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лрд </a:t>
            </a:r>
            <a:r>
              <a:rPr lang="ru-RU" sz="24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рублей</a:t>
            </a:r>
            <a:endParaRPr lang="ru-RU" sz="2800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371475" y="5175567"/>
            <a:ext cx="449499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278269" y="5515791"/>
            <a:ext cx="14120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иоритетный портфель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06AB0C2C-7C1D-C7B8-E494-51C356141AC1}"/>
              </a:ext>
            </a:extLst>
          </p:cNvPr>
          <p:cNvSpPr txBox="1"/>
          <p:nvPr/>
        </p:nvSpPr>
        <p:spPr>
          <a:xfrm>
            <a:off x="1993718" y="5466276"/>
            <a:ext cx="31735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2,4 </a:t>
            </a:r>
            <a:r>
              <a:rPr lang="ru-RU" sz="1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лрд </a:t>
            </a:r>
            <a:r>
              <a:rPr lang="ru-RU" sz="1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рублей</a:t>
            </a:r>
            <a:endParaRPr lang="ru-RU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78269" y="6105379"/>
            <a:ext cx="14120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</a:t>
            </a:r>
            <a:r>
              <a:rPr lang="ru-RU" sz="1200" kern="0" dirty="0" smtClean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андартный портфель</a:t>
            </a:r>
            <a:endParaRPr lang="ru-RU" sz="1200" kern="0" dirty="0">
              <a:solidFill>
                <a:srgbClr val="191919"/>
              </a:solidFill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6AB0C2C-7C1D-C7B8-E494-51C356141AC1}"/>
              </a:ext>
            </a:extLst>
          </p:cNvPr>
          <p:cNvSpPr txBox="1"/>
          <p:nvPr/>
        </p:nvSpPr>
        <p:spPr>
          <a:xfrm>
            <a:off x="1993718" y="6055864"/>
            <a:ext cx="31735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7,1 </a:t>
            </a:r>
            <a:r>
              <a:rPr lang="ru-RU" sz="1600" kern="0" spc="-5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лрд </a:t>
            </a:r>
            <a:r>
              <a:rPr lang="ru-RU" sz="16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рублей</a:t>
            </a:r>
            <a:endParaRPr lang="ru-RU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724353" y="1701804"/>
            <a:ext cx="3171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pc="-1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иоритетный портфель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726440" y="2223246"/>
            <a:ext cx="20802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российского оборудования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8433677" y="2223246"/>
            <a:ext cx="20066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ля иностранного оборудования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435245" y="2886407"/>
            <a:ext cx="226696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ru-RU" sz="1400" kern="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алый и микробизнес</a:t>
            </a:r>
            <a:endParaRPr lang="ru-RU" sz="1400" kern="0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726440" y="2911689"/>
            <a:ext cx="102944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лучател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726440" y="3308040"/>
            <a:ext cx="80823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трасли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8435245" y="3272121"/>
            <a:ext cx="359019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kern="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обрабатывающие производства</a:t>
            </a:r>
            <a:endParaRPr lang="ru-RU" sz="1400" kern="0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06AB0C2C-7C1D-C7B8-E494-51C356141AC1}"/>
              </a:ext>
            </a:extLst>
          </p:cNvPr>
          <p:cNvSpPr txBox="1"/>
          <p:nvPr/>
        </p:nvSpPr>
        <p:spPr>
          <a:xfrm>
            <a:off x="7143048" y="2187158"/>
            <a:ext cx="8329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6%</a:t>
            </a:r>
            <a:endParaRPr lang="ru-RU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06AB0C2C-7C1D-C7B8-E494-51C356141AC1}"/>
              </a:ext>
            </a:extLst>
          </p:cNvPr>
          <p:cNvSpPr txBox="1"/>
          <p:nvPr/>
        </p:nvSpPr>
        <p:spPr>
          <a:xfrm>
            <a:off x="9975458" y="2188024"/>
            <a:ext cx="8329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8%</a:t>
            </a:r>
            <a:endParaRPr lang="ru-RU" kern="0" spc="-5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5724353" y="3764261"/>
            <a:ext cx="29706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pc="-10" dirty="0" smtClean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тандартный </a:t>
            </a:r>
            <a:r>
              <a:rPr lang="ru-RU" spc="-10" dirty="0">
                <a:solidFill>
                  <a:srgbClr val="84E0F7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ртфель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5726440" y="4166873"/>
            <a:ext cx="251195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200" kern="0" dirty="0" smtClean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лючевая </a:t>
            </a: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тавка ЦБ + </a:t>
            </a:r>
            <a:r>
              <a:rPr lang="ru-RU" sz="28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6</a:t>
            </a:r>
            <a:r>
              <a:rPr lang="en-US" sz="28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%</a:t>
            </a:r>
            <a:endParaRPr lang="ru-RU" sz="1400" kern="0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5726439" y="4619943"/>
            <a:ext cx="27483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200" kern="0" dirty="0" smtClean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лючевая </a:t>
            </a: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тавка ЦБ + </a:t>
            </a:r>
            <a:r>
              <a:rPr lang="ru-RU" sz="28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7</a:t>
            </a:r>
            <a:r>
              <a:rPr lang="en-US" sz="28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%</a:t>
            </a:r>
            <a:endParaRPr lang="ru-RU" sz="1400" kern="0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8435245" y="5164608"/>
            <a:ext cx="144142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96854"/>
            <a:r>
              <a:rPr lang="ru-RU" sz="1400" kern="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икробизнес</a:t>
            </a:r>
            <a:endParaRPr lang="ru-RU" sz="1400" kern="0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5726440" y="5047136"/>
            <a:ext cx="271741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896854">
              <a:defRPr/>
            </a:pPr>
            <a:r>
              <a:rPr lang="ru-RU" sz="1200" kern="0" dirty="0" smtClean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ключевая </a:t>
            </a:r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тавка ЦБ + </a:t>
            </a:r>
            <a:r>
              <a:rPr lang="en-US" sz="28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7</a:t>
            </a:r>
            <a:r>
              <a:rPr lang="ru-RU" sz="28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,5</a:t>
            </a:r>
            <a:r>
              <a:rPr lang="en-US" sz="28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%</a:t>
            </a:r>
            <a:endParaRPr lang="ru-RU" sz="2800" kern="0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5726440" y="5609523"/>
            <a:ext cx="80823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kern="0" dirty="0">
                <a:solidFill>
                  <a:srgbClr val="191919"/>
                </a:solidFill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трасли 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8435246" y="5573604"/>
            <a:ext cx="35901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896854">
              <a:defRPr/>
            </a:pPr>
            <a:r>
              <a:rPr lang="ru-RU" sz="14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обрабатывающие </a:t>
            </a:r>
            <a:r>
              <a:rPr lang="ru-RU" sz="1400" kern="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пр-ва + туризм + медицина + наука + спорт + ИТ</a:t>
            </a:r>
            <a:endParaRPr lang="ru-RU" sz="1400" kern="0" dirty="0">
              <a:latin typeface="Segoe UI Black" panose="020B0A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06AB0C2C-7C1D-C7B8-E494-51C356141AC1}"/>
              </a:ext>
            </a:extLst>
          </p:cNvPr>
          <p:cNvSpPr txBox="1"/>
          <p:nvPr/>
        </p:nvSpPr>
        <p:spPr>
          <a:xfrm>
            <a:off x="8433677" y="4284783"/>
            <a:ext cx="33178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896854">
              <a:defRPr/>
            </a:pPr>
            <a:r>
              <a:rPr lang="ru-RU" sz="1400" kern="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средний </a:t>
            </a:r>
            <a:r>
              <a:rPr lang="ru-RU" sz="14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бизнес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06AB0C2C-7C1D-C7B8-E494-51C356141AC1}"/>
              </a:ext>
            </a:extLst>
          </p:cNvPr>
          <p:cNvSpPr txBox="1"/>
          <p:nvPr/>
        </p:nvSpPr>
        <p:spPr>
          <a:xfrm>
            <a:off x="8433677" y="4743464"/>
            <a:ext cx="37583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6854"/>
            <a:r>
              <a:rPr lang="ru-RU" sz="1400" kern="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малый </a:t>
            </a:r>
            <a:r>
              <a:rPr lang="ru-RU" sz="1400" kern="0" dirty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бизнес</a:t>
            </a: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>
            <a:off x="5799038" y="2826551"/>
            <a:ext cx="5850770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>
            <a:off x="5799038" y="3272121"/>
            <a:ext cx="5850770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5799038" y="4699504"/>
            <a:ext cx="5850770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5799038" y="5098172"/>
            <a:ext cx="5850770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/>
        </p:nvCxnSpPr>
        <p:spPr>
          <a:xfrm>
            <a:off x="5799038" y="5554059"/>
            <a:ext cx="5850770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Номер слайда 1"/>
          <p:cNvSpPr txBox="1">
            <a:spLocks/>
          </p:cNvSpPr>
          <p:nvPr/>
        </p:nvSpPr>
        <p:spPr>
          <a:xfrm>
            <a:off x="11286017" y="6532506"/>
            <a:ext cx="48767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</a:t>
            </a:r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0580" y="6309021"/>
            <a:ext cx="2131632" cy="642687"/>
          </a:xfrm>
          <a:prstGeom prst="rect">
            <a:avLst/>
          </a:prstGeom>
        </p:spPr>
      </p:pic>
      <p:sp>
        <p:nvSpPr>
          <p:cNvPr id="49" name="Полилиния 48" descr="Прямоугольник">
            <a:extLst>
              <a:ext uri="{FF2B5EF4-FFF2-40B4-BE49-F238E27FC236}">
                <a16:creationId xmlns:a16="http://schemas.microsoft.com/office/drawing/2014/main" xmlns="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5519761" y="6508752"/>
            <a:ext cx="3161668" cy="253977"/>
          </a:xfrm>
          <a:custGeom>
            <a:avLst/>
            <a:gdLst>
              <a:gd name="connsiteX0" fmla="*/ 110705 w 2175171"/>
              <a:gd name="connsiteY0" fmla="*/ 0 h 221410"/>
              <a:gd name="connsiteX1" fmla="*/ 436177 w 2175171"/>
              <a:gd name="connsiteY1" fmla="*/ 0 h 221410"/>
              <a:gd name="connsiteX2" fmla="*/ 459630 w 2175171"/>
              <a:gd name="connsiteY2" fmla="*/ 0 h 221410"/>
              <a:gd name="connsiteX3" fmla="*/ 459652 w 2175171"/>
              <a:gd name="connsiteY3" fmla="*/ 0 h 221410"/>
              <a:gd name="connsiteX4" fmla="*/ 563672 w 2175171"/>
              <a:gd name="connsiteY4" fmla="*/ 0 h 221410"/>
              <a:gd name="connsiteX5" fmla="*/ 588155 w 2175171"/>
              <a:gd name="connsiteY5" fmla="*/ 0 h 221410"/>
              <a:gd name="connsiteX6" fmla="*/ 785102 w 2175171"/>
              <a:gd name="connsiteY6" fmla="*/ 0 h 221410"/>
              <a:gd name="connsiteX7" fmla="*/ 785124 w 2175171"/>
              <a:gd name="connsiteY7" fmla="*/ 0 h 221410"/>
              <a:gd name="connsiteX8" fmla="*/ 808577 w 2175171"/>
              <a:gd name="connsiteY8" fmla="*/ 0 h 221410"/>
              <a:gd name="connsiteX9" fmla="*/ 889144 w 2175171"/>
              <a:gd name="connsiteY9" fmla="*/ 0 h 221410"/>
              <a:gd name="connsiteX10" fmla="*/ 912597 w 2175171"/>
              <a:gd name="connsiteY10" fmla="*/ 0 h 221410"/>
              <a:gd name="connsiteX11" fmla="*/ 912619 w 2175171"/>
              <a:gd name="connsiteY11" fmla="*/ 0 h 221410"/>
              <a:gd name="connsiteX12" fmla="*/ 913627 w 2175171"/>
              <a:gd name="connsiteY12" fmla="*/ 0 h 221410"/>
              <a:gd name="connsiteX13" fmla="*/ 937080 w 2175171"/>
              <a:gd name="connsiteY13" fmla="*/ 0 h 221410"/>
              <a:gd name="connsiteX14" fmla="*/ 937102 w 2175171"/>
              <a:gd name="connsiteY14" fmla="*/ 0 h 221410"/>
              <a:gd name="connsiteX15" fmla="*/ 1041122 w 2175171"/>
              <a:gd name="connsiteY15" fmla="*/ 0 h 221410"/>
              <a:gd name="connsiteX16" fmla="*/ 1134049 w 2175171"/>
              <a:gd name="connsiteY16" fmla="*/ 0 h 221410"/>
              <a:gd name="connsiteX17" fmla="*/ 1238069 w 2175171"/>
              <a:gd name="connsiteY17" fmla="*/ 0 h 221410"/>
              <a:gd name="connsiteX18" fmla="*/ 1238091 w 2175171"/>
              <a:gd name="connsiteY18" fmla="*/ 0 h 221410"/>
              <a:gd name="connsiteX19" fmla="*/ 1261544 w 2175171"/>
              <a:gd name="connsiteY19" fmla="*/ 0 h 221410"/>
              <a:gd name="connsiteX20" fmla="*/ 1262552 w 2175171"/>
              <a:gd name="connsiteY20" fmla="*/ 0 h 221410"/>
              <a:gd name="connsiteX21" fmla="*/ 1262574 w 2175171"/>
              <a:gd name="connsiteY21" fmla="*/ 0 h 221410"/>
              <a:gd name="connsiteX22" fmla="*/ 1286027 w 2175171"/>
              <a:gd name="connsiteY22" fmla="*/ 0 h 221410"/>
              <a:gd name="connsiteX23" fmla="*/ 1366594 w 2175171"/>
              <a:gd name="connsiteY23" fmla="*/ 0 h 221410"/>
              <a:gd name="connsiteX24" fmla="*/ 1390047 w 2175171"/>
              <a:gd name="connsiteY24" fmla="*/ 0 h 221410"/>
              <a:gd name="connsiteX25" fmla="*/ 1390069 w 2175171"/>
              <a:gd name="connsiteY25" fmla="*/ 0 h 221410"/>
              <a:gd name="connsiteX26" fmla="*/ 1587016 w 2175171"/>
              <a:gd name="connsiteY26" fmla="*/ 0 h 221410"/>
              <a:gd name="connsiteX27" fmla="*/ 1611499 w 2175171"/>
              <a:gd name="connsiteY27" fmla="*/ 0 h 221410"/>
              <a:gd name="connsiteX28" fmla="*/ 1715519 w 2175171"/>
              <a:gd name="connsiteY28" fmla="*/ 0 h 221410"/>
              <a:gd name="connsiteX29" fmla="*/ 1715541 w 2175171"/>
              <a:gd name="connsiteY29" fmla="*/ 0 h 221410"/>
              <a:gd name="connsiteX30" fmla="*/ 1738994 w 2175171"/>
              <a:gd name="connsiteY30" fmla="*/ 0 h 221410"/>
              <a:gd name="connsiteX31" fmla="*/ 2064466 w 2175171"/>
              <a:gd name="connsiteY31" fmla="*/ 0 h 221410"/>
              <a:gd name="connsiteX32" fmla="*/ 2175171 w 2175171"/>
              <a:gd name="connsiteY32" fmla="*/ 110705 h 221410"/>
              <a:gd name="connsiteX33" fmla="*/ 2175170 w 2175171"/>
              <a:gd name="connsiteY33" fmla="*/ 110705 h 221410"/>
              <a:gd name="connsiteX34" fmla="*/ 2064465 w 2175171"/>
              <a:gd name="connsiteY34" fmla="*/ 221410 h 221410"/>
              <a:gd name="connsiteX35" fmla="*/ 1738998 w 2175171"/>
              <a:gd name="connsiteY35" fmla="*/ 221409 h 221410"/>
              <a:gd name="connsiteX36" fmla="*/ 1738993 w 2175171"/>
              <a:gd name="connsiteY36" fmla="*/ 221410 h 221410"/>
              <a:gd name="connsiteX37" fmla="*/ 1715540 w 2175171"/>
              <a:gd name="connsiteY37" fmla="*/ 221410 h 221410"/>
              <a:gd name="connsiteX38" fmla="*/ 1715519 w 2175171"/>
              <a:gd name="connsiteY38" fmla="*/ 221410 h 221410"/>
              <a:gd name="connsiteX39" fmla="*/ 1715518 w 2175171"/>
              <a:gd name="connsiteY39" fmla="*/ 221410 h 221410"/>
              <a:gd name="connsiteX40" fmla="*/ 1587015 w 2175171"/>
              <a:gd name="connsiteY40" fmla="*/ 221410 h 221410"/>
              <a:gd name="connsiteX41" fmla="*/ 1390068 w 2175171"/>
              <a:gd name="connsiteY41" fmla="*/ 221410 h 221410"/>
              <a:gd name="connsiteX42" fmla="*/ 1390049 w 2175171"/>
              <a:gd name="connsiteY42" fmla="*/ 221410 h 221410"/>
              <a:gd name="connsiteX43" fmla="*/ 1390046 w 2175171"/>
              <a:gd name="connsiteY43" fmla="*/ 221410 h 221410"/>
              <a:gd name="connsiteX44" fmla="*/ 1366594 w 2175171"/>
              <a:gd name="connsiteY44" fmla="*/ 221410 h 221410"/>
              <a:gd name="connsiteX45" fmla="*/ 1366593 w 2175171"/>
              <a:gd name="connsiteY45" fmla="*/ 221410 h 221410"/>
              <a:gd name="connsiteX46" fmla="*/ 1261543 w 2175171"/>
              <a:gd name="connsiteY46" fmla="*/ 221410 h 221410"/>
              <a:gd name="connsiteX47" fmla="*/ 1238090 w 2175171"/>
              <a:gd name="connsiteY47" fmla="*/ 221410 h 221410"/>
              <a:gd name="connsiteX48" fmla="*/ 1238069 w 2175171"/>
              <a:gd name="connsiteY48" fmla="*/ 221410 h 221410"/>
              <a:gd name="connsiteX49" fmla="*/ 1238068 w 2175171"/>
              <a:gd name="connsiteY49" fmla="*/ 221410 h 221410"/>
              <a:gd name="connsiteX50" fmla="*/ 1041124 w 2175171"/>
              <a:gd name="connsiteY50" fmla="*/ 221410 h 221410"/>
              <a:gd name="connsiteX51" fmla="*/ 1041121 w 2175171"/>
              <a:gd name="connsiteY51" fmla="*/ 221410 h 221410"/>
              <a:gd name="connsiteX52" fmla="*/ 912618 w 2175171"/>
              <a:gd name="connsiteY52" fmla="*/ 221410 h 221410"/>
              <a:gd name="connsiteX53" fmla="*/ 912599 w 2175171"/>
              <a:gd name="connsiteY53" fmla="*/ 221410 h 221410"/>
              <a:gd name="connsiteX54" fmla="*/ 912596 w 2175171"/>
              <a:gd name="connsiteY54" fmla="*/ 221410 h 221410"/>
              <a:gd name="connsiteX55" fmla="*/ 889144 w 2175171"/>
              <a:gd name="connsiteY55" fmla="*/ 221410 h 221410"/>
              <a:gd name="connsiteX56" fmla="*/ 889143 w 2175171"/>
              <a:gd name="connsiteY56" fmla="*/ 221410 h 221410"/>
              <a:gd name="connsiteX57" fmla="*/ 563674 w 2175171"/>
              <a:gd name="connsiteY57" fmla="*/ 221410 h 221410"/>
              <a:gd name="connsiteX58" fmla="*/ 563671 w 2175171"/>
              <a:gd name="connsiteY58" fmla="*/ 221410 h 221410"/>
              <a:gd name="connsiteX59" fmla="*/ 110705 w 2175171"/>
              <a:gd name="connsiteY59" fmla="*/ 221409 h 221410"/>
              <a:gd name="connsiteX60" fmla="*/ 8699 w 2175171"/>
              <a:gd name="connsiteY60" fmla="*/ 153796 h 221410"/>
              <a:gd name="connsiteX61" fmla="*/ 0 w 2175171"/>
              <a:gd name="connsiteY61" fmla="*/ 110705 h 221410"/>
              <a:gd name="connsiteX62" fmla="*/ 8699 w 2175171"/>
              <a:gd name="connsiteY62" fmla="*/ 67614 h 221410"/>
              <a:gd name="connsiteX63" fmla="*/ 110705 w 2175171"/>
              <a:gd name="connsiteY63" fmla="*/ 0 h 221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175171" h="221410">
                <a:moveTo>
                  <a:pt x="110705" y="0"/>
                </a:moveTo>
                <a:lnTo>
                  <a:pt x="436177" y="0"/>
                </a:lnTo>
                <a:lnTo>
                  <a:pt x="459630" y="0"/>
                </a:lnTo>
                <a:lnTo>
                  <a:pt x="459652" y="0"/>
                </a:lnTo>
                <a:lnTo>
                  <a:pt x="563672" y="0"/>
                </a:lnTo>
                <a:lnTo>
                  <a:pt x="588155" y="0"/>
                </a:lnTo>
                <a:lnTo>
                  <a:pt x="785102" y="0"/>
                </a:lnTo>
                <a:lnTo>
                  <a:pt x="785124" y="0"/>
                </a:lnTo>
                <a:lnTo>
                  <a:pt x="808577" y="0"/>
                </a:lnTo>
                <a:lnTo>
                  <a:pt x="889144" y="0"/>
                </a:lnTo>
                <a:lnTo>
                  <a:pt x="912597" y="0"/>
                </a:lnTo>
                <a:lnTo>
                  <a:pt x="912619" y="0"/>
                </a:lnTo>
                <a:lnTo>
                  <a:pt x="913627" y="0"/>
                </a:lnTo>
                <a:lnTo>
                  <a:pt x="937080" y="0"/>
                </a:lnTo>
                <a:lnTo>
                  <a:pt x="937102" y="0"/>
                </a:lnTo>
                <a:lnTo>
                  <a:pt x="1041122" y="0"/>
                </a:lnTo>
                <a:lnTo>
                  <a:pt x="1134049" y="0"/>
                </a:lnTo>
                <a:lnTo>
                  <a:pt x="1238069" y="0"/>
                </a:lnTo>
                <a:lnTo>
                  <a:pt x="1238091" y="0"/>
                </a:lnTo>
                <a:lnTo>
                  <a:pt x="1261544" y="0"/>
                </a:lnTo>
                <a:lnTo>
                  <a:pt x="1262552" y="0"/>
                </a:lnTo>
                <a:lnTo>
                  <a:pt x="1262574" y="0"/>
                </a:lnTo>
                <a:lnTo>
                  <a:pt x="1286027" y="0"/>
                </a:lnTo>
                <a:lnTo>
                  <a:pt x="1366594" y="0"/>
                </a:lnTo>
                <a:lnTo>
                  <a:pt x="1390047" y="0"/>
                </a:lnTo>
                <a:lnTo>
                  <a:pt x="1390069" y="0"/>
                </a:lnTo>
                <a:lnTo>
                  <a:pt x="1587016" y="0"/>
                </a:lnTo>
                <a:lnTo>
                  <a:pt x="1611499" y="0"/>
                </a:lnTo>
                <a:lnTo>
                  <a:pt x="1715519" y="0"/>
                </a:lnTo>
                <a:lnTo>
                  <a:pt x="1715541" y="0"/>
                </a:lnTo>
                <a:lnTo>
                  <a:pt x="1738994" y="0"/>
                </a:lnTo>
                <a:lnTo>
                  <a:pt x="2064466" y="0"/>
                </a:lnTo>
                <a:cubicBezTo>
                  <a:pt x="2125607" y="0"/>
                  <a:pt x="2175171" y="49564"/>
                  <a:pt x="2175171" y="110705"/>
                </a:cubicBezTo>
                <a:lnTo>
                  <a:pt x="2175170" y="110705"/>
                </a:lnTo>
                <a:cubicBezTo>
                  <a:pt x="2175170" y="171846"/>
                  <a:pt x="2125606" y="221410"/>
                  <a:pt x="2064465" y="221410"/>
                </a:cubicBezTo>
                <a:lnTo>
                  <a:pt x="1738998" y="221409"/>
                </a:lnTo>
                <a:lnTo>
                  <a:pt x="1738993" y="221410"/>
                </a:lnTo>
                <a:lnTo>
                  <a:pt x="1715540" y="221410"/>
                </a:lnTo>
                <a:lnTo>
                  <a:pt x="1715519" y="221410"/>
                </a:lnTo>
                <a:lnTo>
                  <a:pt x="1715518" y="221410"/>
                </a:lnTo>
                <a:lnTo>
                  <a:pt x="1587015" y="221410"/>
                </a:lnTo>
                <a:lnTo>
                  <a:pt x="1390068" y="221410"/>
                </a:lnTo>
                <a:lnTo>
                  <a:pt x="1390049" y="221410"/>
                </a:lnTo>
                <a:lnTo>
                  <a:pt x="1390046" y="221410"/>
                </a:lnTo>
                <a:lnTo>
                  <a:pt x="1366594" y="221410"/>
                </a:lnTo>
                <a:lnTo>
                  <a:pt x="1366593" y="221410"/>
                </a:lnTo>
                <a:lnTo>
                  <a:pt x="1261543" y="221410"/>
                </a:lnTo>
                <a:lnTo>
                  <a:pt x="1238090" y="221410"/>
                </a:lnTo>
                <a:lnTo>
                  <a:pt x="1238069" y="221410"/>
                </a:lnTo>
                <a:lnTo>
                  <a:pt x="1238068" y="221410"/>
                </a:lnTo>
                <a:lnTo>
                  <a:pt x="1041124" y="221410"/>
                </a:lnTo>
                <a:lnTo>
                  <a:pt x="1041121" y="221410"/>
                </a:lnTo>
                <a:lnTo>
                  <a:pt x="912618" y="221410"/>
                </a:lnTo>
                <a:lnTo>
                  <a:pt x="912599" y="221410"/>
                </a:lnTo>
                <a:lnTo>
                  <a:pt x="912596" y="221410"/>
                </a:lnTo>
                <a:lnTo>
                  <a:pt x="889144" y="221410"/>
                </a:lnTo>
                <a:lnTo>
                  <a:pt x="889143" y="221410"/>
                </a:lnTo>
                <a:lnTo>
                  <a:pt x="563674" y="221410"/>
                </a:lnTo>
                <a:lnTo>
                  <a:pt x="563671" y="221410"/>
                </a:lnTo>
                <a:lnTo>
                  <a:pt x="110705" y="221409"/>
                </a:lnTo>
                <a:cubicBezTo>
                  <a:pt x="64849" y="221409"/>
                  <a:pt x="25505" y="193529"/>
                  <a:pt x="8699" y="153796"/>
                </a:cubicBezTo>
                <a:lnTo>
                  <a:pt x="0" y="110705"/>
                </a:lnTo>
                <a:lnTo>
                  <a:pt x="8699" y="67614"/>
                </a:lnTo>
                <a:cubicBezTo>
                  <a:pt x="25505" y="27880"/>
                  <a:pt x="64849" y="0"/>
                  <a:pt x="110705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с</a:t>
            </a: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тарт приема заявок - февраль 2023 г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pic>
        <p:nvPicPr>
          <p:cNvPr id="60418" name="Picture 2" descr="http://qrcoder.ru/code/?https%3A%2F%2F%EC%F1%EF.%F0%F4%2Fservices%2Fleasing%2Fpromo%2F&amp;4&amp;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762" y="5739814"/>
            <a:ext cx="1120565" cy="1120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5791" y="429165"/>
            <a:ext cx="772191" cy="326763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9473419" y="449206"/>
            <a:ext cx="604745" cy="322513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9338" y="454712"/>
            <a:ext cx="2021894" cy="3923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362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Прямоугольник 34"/>
          <p:cNvSpPr/>
          <p:nvPr/>
        </p:nvSpPr>
        <p:spPr>
          <a:xfrm>
            <a:off x="6376855" y="787291"/>
            <a:ext cx="5815145" cy="6070709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-20848" y="0"/>
            <a:ext cx="12212848" cy="153427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29" name="Прямоугольник 128"/>
          <p:cNvSpPr/>
          <p:nvPr/>
        </p:nvSpPr>
        <p:spPr>
          <a:xfrm>
            <a:off x="303754" y="267719"/>
            <a:ext cx="2465644" cy="438021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7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Прямоугольник 50"/>
          <p:cNvSpPr/>
          <p:nvPr/>
        </p:nvSpPr>
        <p:spPr>
          <a:xfrm>
            <a:off x="354223" y="1737351"/>
            <a:ext cx="5389352" cy="3847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ts val="3000"/>
              </a:lnSpc>
            </a:pPr>
            <a:r>
              <a:rPr lang="ru-RU" sz="32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инятые меры</a:t>
            </a:r>
            <a:endParaRPr lang="ru-RU" sz="32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91886" y="2393341"/>
            <a:ext cx="5608864" cy="10156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ораторий на </a:t>
            </a:r>
            <a:r>
              <a:rPr lang="ru-RU" sz="14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оверки и переход на риск-ориентированный подход</a:t>
            </a:r>
            <a:endParaRPr lang="ru-RU" sz="14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веден запрет на проведение плановых и внеплановых проверок, за исключением случаев непосредственной угрозы жизни и здоровью, факта 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чинения вреда, объектов чрезвычайно высокого и высокого категорий риска 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391886" y="3615102"/>
            <a:ext cx="4546078" cy="723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истема </a:t>
            </a:r>
            <a:r>
              <a:rPr lang="ru-RU" sz="14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уведомлений </a:t>
            </a:r>
            <a:r>
              <a:rPr lang="ru-RU" sz="14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о предстоящих проверках</a:t>
            </a:r>
          </a:p>
          <a:p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едприниматель может 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лучать </a:t>
            </a: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рез Госуслуги или в личном кабинете на МСП.РФ онлайн-уведомления 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 проведении </a:t>
            </a: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лановых </a:t>
            </a:r>
            <a:b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неплановых проверок 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391886" y="5285282"/>
            <a:ext cx="428362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лощадка реструктуризации долга</a:t>
            </a:r>
            <a:endParaRPr lang="ru-RU" sz="14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работка мер и решений, создание благоприятных условий для реструктуризации задолженности </a:t>
            </a: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допущения банкротства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391887" y="4540729"/>
            <a:ext cx="418011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истема </a:t>
            </a:r>
            <a:r>
              <a:rPr lang="ru-RU" sz="14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досудебного обжалования</a:t>
            </a:r>
            <a:endParaRPr lang="ru-RU" sz="14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едприниматель может через Госуслуги обжаловать решение о проверке или результаты проверки</a:t>
            </a:r>
            <a:endParaRPr lang="ru-RU" sz="11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391886" y="6041632"/>
            <a:ext cx="4580286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Механизм обратной связи Сервис 360°</a:t>
            </a:r>
            <a:endParaRPr lang="ru-RU" sz="14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струмент решения системных и частных проблем бизнеса, агрегирования обратной связи</a:t>
            </a:r>
          </a:p>
        </p:txBody>
      </p:sp>
      <p:pic>
        <p:nvPicPr>
          <p:cNvPr id="43249" name="Picture 241" descr="http://qrcoder.ru/code/?https%3A%2F%2Fknd.gosuslugi.ru%2F&amp;2&amp;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5832" y="4473473"/>
            <a:ext cx="717978" cy="717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251" name="Picture 243" descr="http://qrcoder.ru/code/?https%3A%2F%2F%EC%F1%EF.%F0%F4%2Fservices%2Fantikrizisnye-mery%2Fgosudarstvennye-uvedomleniya-o-predstoyashchikh-proverkakh-biznesa%2F&amp;2&amp;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7036" y="3649110"/>
            <a:ext cx="660311" cy="660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253" name="Picture 245" descr="http://qrcoder.ru/code/?https%3A%2F%2F%EC%F1%EF.%F0%F4%2Fservices%2F360%2F&amp;2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7036" y="5980724"/>
            <a:ext cx="686774" cy="68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256" name="Picture 248" descr="http://qrcoder.ru/code/?https%3A%2F%2F%EC%F1%EF.%F0%F4%2Fservices%2Fnews%2Fdetail%2Fv-rossii-poyavitsya-tsentr-mediatsii-dlya-uregulirovaniya-sporov-mezhdu-kreditorami-i-dolzhnikami%2F&amp;2&amp;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0681" y="5268126"/>
            <a:ext cx="659453" cy="659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Прямоугольник 77"/>
          <p:cNvSpPr/>
          <p:nvPr/>
        </p:nvSpPr>
        <p:spPr>
          <a:xfrm>
            <a:off x="6909315" y="2048834"/>
            <a:ext cx="3570232" cy="64120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ts val="2500"/>
              </a:lnSpc>
            </a:pPr>
            <a:r>
              <a:rPr lang="ru-RU" sz="24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Если Вы столкнулись с проблемой</a:t>
            </a:r>
            <a:endParaRPr lang="ru-RU" sz="24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6764126" y="3106142"/>
            <a:ext cx="2371159" cy="240065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арушены Ваши права при назначении или проведении проверки, предъявляются избыточны </a:t>
            </a: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требования</a:t>
            </a: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ru-RU" sz="1200" dirty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Заказчик задерживает оплату по исполненным договорам, оказывают в приемке работ (услуг)</a:t>
            </a: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ru-RU" sz="1200" dirty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еобоснованный отказ </a:t>
            </a:r>
            <a:b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 получении кредита </a:t>
            </a:r>
            <a:b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и гарантии</a:t>
            </a:r>
          </a:p>
        </p:txBody>
      </p:sp>
      <p:sp>
        <p:nvSpPr>
          <p:cNvPr id="21" name="Номер слайда 1"/>
          <p:cNvSpPr txBox="1">
            <a:spLocks/>
          </p:cNvSpPr>
          <p:nvPr/>
        </p:nvSpPr>
        <p:spPr>
          <a:xfrm>
            <a:off x="11140884" y="6446613"/>
            <a:ext cx="48767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03754" y="821716"/>
            <a:ext cx="3060546" cy="438021"/>
          </a:xfrm>
          <a:prstGeom prst="rect">
            <a:avLst/>
          </a:prstGeom>
          <a:solidFill>
            <a:srgbClr val="84E0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угольник 32"/>
          <p:cNvSpPr/>
          <p:nvPr/>
        </p:nvSpPr>
        <p:spPr>
          <a:xfrm>
            <a:off x="348232" y="186168"/>
            <a:ext cx="10355691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нижение</a:t>
            </a:r>
            <a:r>
              <a:rPr lang="en-US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административной </a:t>
            </a:r>
            <a:r>
              <a:rPr lang="en-US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агрузки</a:t>
            </a:r>
          </a:p>
          <a:p>
            <a:r>
              <a:rPr lang="ru-RU" sz="360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Защита прав </a:t>
            </a:r>
            <a:r>
              <a:rPr lang="ru-RU" sz="3600" dirty="0" smtClean="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едпринимателей</a:t>
            </a:r>
            <a:endParaRPr lang="ru-RU" sz="3600" dirty="0">
              <a:solidFill>
                <a:schemeClr val="bg1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9434705" y="3106142"/>
            <a:ext cx="2314383" cy="240065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еобоснованный отказ </a:t>
            </a:r>
            <a:b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 предоставлении имущества</a:t>
            </a: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ru-RU" sz="1200" dirty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Возникли трудности </a:t>
            </a:r>
            <a:b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ри взаимодействии </a:t>
            </a:r>
            <a:b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с организациями поддержки предпринимательства, институтами развития</a:t>
            </a: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endParaRPr lang="ru-RU" sz="1200" dirty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  <a:p>
            <a:pPr marL="171450" indent="-1714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ужна консультация </a:t>
            </a:r>
            <a:b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</a:br>
            <a:r>
              <a:rPr lang="ru-RU" sz="1200" dirty="0" smtClean="0">
                <a:latin typeface="Segoe UI Semibold" panose="020B07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по мерам поддержки бизнеса</a:t>
            </a:r>
            <a:endParaRPr lang="ru-RU" sz="1200" dirty="0">
              <a:latin typeface="Segoe UI Semibold" panose="020B07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363765" y="3536828"/>
            <a:ext cx="5457915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363765" y="4420133"/>
            <a:ext cx="5457915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363765" y="5214786"/>
            <a:ext cx="5457915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363765" y="5960570"/>
            <a:ext cx="5457915" cy="0"/>
          </a:xfrm>
          <a:prstGeom prst="line">
            <a:avLst/>
          </a:prstGeom>
          <a:ln w="19050">
            <a:solidFill>
              <a:srgbClr val="84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6850358" y="6039988"/>
            <a:ext cx="396775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dirty="0">
                <a:latin typeface="Segoe UI Black" panose="020B0A02040204020203" pitchFamily="34" charset="0"/>
                <a:ea typeface="Segoe UI Black" panose="020B0A02040204020203" pitchFamily="34" charset="0"/>
                <a:cs typeface="Segoe UI Semibold" panose="020B0702040204020203" pitchFamily="34" charset="0"/>
              </a:rPr>
              <a:t>напишите в Сервис 360°</a:t>
            </a:r>
          </a:p>
        </p:txBody>
      </p:sp>
      <p:cxnSp>
        <p:nvCxnSpPr>
          <p:cNvPr id="9" name="Прямая со стрелкой 8"/>
          <p:cNvCxnSpPr/>
          <p:nvPr/>
        </p:nvCxnSpPr>
        <p:spPr>
          <a:xfrm>
            <a:off x="6000750" y="6289870"/>
            <a:ext cx="849608" cy="0"/>
          </a:xfrm>
          <a:prstGeom prst="straightConnector1">
            <a:avLst/>
          </a:prstGeom>
          <a:ln w="19050">
            <a:solidFill>
              <a:schemeClr val="tx1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Рисунок 3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2879" y="776123"/>
            <a:ext cx="2111389" cy="409703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233877" y="784458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525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2">
      <a:dk1>
        <a:srgbClr val="191919"/>
      </a:dk1>
      <a:lt1>
        <a:sysClr val="window" lastClr="FFFFFF"/>
      </a:lt1>
      <a:dk2>
        <a:srgbClr val="006EF0"/>
      </a:dk2>
      <a:lt2>
        <a:srgbClr val="E6D6C7"/>
      </a:lt2>
      <a:accent1>
        <a:srgbClr val="006EF0"/>
      </a:accent1>
      <a:accent2>
        <a:srgbClr val="FF6464"/>
      </a:accent2>
      <a:accent3>
        <a:srgbClr val="FFFFFF"/>
      </a:accent3>
      <a:accent4>
        <a:srgbClr val="191919"/>
      </a:accent4>
      <a:accent5>
        <a:srgbClr val="FFB464"/>
      </a:accent5>
      <a:accent6>
        <a:srgbClr val="7DCDA0"/>
      </a:accent6>
      <a:hlink>
        <a:srgbClr val="006EF0"/>
      </a:hlink>
      <a:folHlink>
        <a:srgbClr val="7F7F7F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78</TotalTime>
  <Words>1378</Words>
  <Application>Microsoft Office PowerPoint</Application>
  <PresentationFormat>Широкоэкранный</PresentationFormat>
  <Paragraphs>348</Paragraphs>
  <Slides>18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31" baseType="lpstr">
      <vt:lpstr>Arial</vt:lpstr>
      <vt:lpstr>Calibri</vt:lpstr>
      <vt:lpstr>Calibri Light</vt:lpstr>
      <vt:lpstr>Helvetica Neue</vt:lpstr>
      <vt:lpstr>Montserrat Medium</vt:lpstr>
      <vt:lpstr>PT Root UI</vt:lpstr>
      <vt:lpstr>PT Root UI Light</vt:lpstr>
      <vt:lpstr>Segoe UI</vt:lpstr>
      <vt:lpstr>Segoe UI Black</vt:lpstr>
      <vt:lpstr>Segoe UI Semibold</vt:lpstr>
      <vt:lpstr>Wingding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брамова Евгения Вадимовна</dc:creator>
  <cp:lastModifiedBy>Середина В.В.</cp:lastModifiedBy>
  <cp:revision>868</cp:revision>
  <cp:lastPrinted>2022-05-17T14:56:52Z</cp:lastPrinted>
  <dcterms:created xsi:type="dcterms:W3CDTF">2022-02-09T17:47:39Z</dcterms:created>
  <dcterms:modified xsi:type="dcterms:W3CDTF">2023-04-24T09:44:16Z</dcterms:modified>
</cp:coreProperties>
</file>